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5.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7.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37.xml" ContentType="application/vnd.openxmlformats-officedocument.presentationml.tags+xml"/>
  <Override PartName="/ppt/tags/tag13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9.xml" ContentType="application/vnd.openxmlformats-officedocument.presentationml.tags+xml"/>
  <Override PartName="/ppt/tags/tag1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9.xml" ContentType="application/vnd.openxmlformats-officedocument.presentationml.tags+xml"/>
  <Override PartName="/ppt/tags/tag150.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tags/tag151.xml" ContentType="application/vnd.openxmlformats-officedocument.presentationml.tags+xml"/>
  <Override PartName="/ppt/tags/tag152.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53.xml" ContentType="application/vnd.openxmlformats-officedocument.presentationml.tags+xml"/>
  <Override PartName="/ppt/tags/tag154.xml" ContentType="application/vnd.openxmlformats-officedocument.presentationml.tags+xml"/>
  <Override PartName="/ppt/notesSlides/notesSlide1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923" r:id="rId5"/>
    <p:sldMasterId id="2147483911" r:id="rId6"/>
    <p:sldMasterId id="2147483899" r:id="rId7"/>
    <p:sldMasterId id="2147483887" r:id="rId8"/>
    <p:sldMasterId id="2147483839" r:id="rId9"/>
  </p:sldMasterIdLst>
  <p:notesMasterIdLst>
    <p:notesMasterId r:id="rId44"/>
  </p:notesMasterIdLst>
  <p:handoutMasterIdLst>
    <p:handoutMasterId r:id="rId45"/>
  </p:handoutMasterIdLst>
  <p:sldIdLst>
    <p:sldId id="1317" r:id="rId10"/>
    <p:sldId id="1960" r:id="rId11"/>
    <p:sldId id="3602" r:id="rId12"/>
    <p:sldId id="3607" r:id="rId13"/>
    <p:sldId id="1968" r:id="rId14"/>
    <p:sldId id="2969" r:id="rId15"/>
    <p:sldId id="952" r:id="rId16"/>
    <p:sldId id="2971" r:id="rId17"/>
    <p:sldId id="2930" r:id="rId18"/>
    <p:sldId id="2972" r:id="rId19"/>
    <p:sldId id="2973" r:id="rId20"/>
    <p:sldId id="2974" r:id="rId21"/>
    <p:sldId id="2975" r:id="rId22"/>
    <p:sldId id="2947" r:id="rId23"/>
    <p:sldId id="320" r:id="rId24"/>
    <p:sldId id="3592" r:id="rId25"/>
    <p:sldId id="3541" r:id="rId26"/>
    <p:sldId id="3543" r:id="rId27"/>
    <p:sldId id="3614" r:id="rId28"/>
    <p:sldId id="707" r:id="rId29"/>
    <p:sldId id="341" r:id="rId30"/>
    <p:sldId id="2911" r:id="rId31"/>
    <p:sldId id="3595" r:id="rId32"/>
    <p:sldId id="3471" r:id="rId33"/>
    <p:sldId id="3613" r:id="rId34"/>
    <p:sldId id="347" r:id="rId35"/>
    <p:sldId id="3612" r:id="rId36"/>
    <p:sldId id="3610" r:id="rId37"/>
    <p:sldId id="3611" r:id="rId38"/>
    <p:sldId id="3600" r:id="rId39"/>
    <p:sldId id="3601" r:id="rId40"/>
    <p:sldId id="710" r:id="rId41"/>
    <p:sldId id="948" r:id="rId42"/>
    <p:sldId id="726"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E865FE3-1BD9-4FD2-840B-627FEB9D1D6D}">
          <p14:sldIdLst>
            <p14:sldId id="1317"/>
            <p14:sldId id="1960"/>
            <p14:sldId id="3602"/>
            <p14:sldId id="3607"/>
            <p14:sldId id="1968"/>
            <p14:sldId id="2969"/>
            <p14:sldId id="952"/>
            <p14:sldId id="2971"/>
            <p14:sldId id="2930"/>
            <p14:sldId id="2972"/>
            <p14:sldId id="2973"/>
            <p14:sldId id="2974"/>
            <p14:sldId id="2975"/>
            <p14:sldId id="2947"/>
            <p14:sldId id="320"/>
            <p14:sldId id="3592"/>
            <p14:sldId id="3541"/>
            <p14:sldId id="3543"/>
            <p14:sldId id="3614"/>
            <p14:sldId id="707"/>
            <p14:sldId id="341"/>
            <p14:sldId id="2911"/>
            <p14:sldId id="3595"/>
            <p14:sldId id="3471"/>
            <p14:sldId id="3613"/>
            <p14:sldId id="347"/>
            <p14:sldId id="3612"/>
            <p14:sldId id="3610"/>
            <p14:sldId id="3611"/>
            <p14:sldId id="3600"/>
            <p14:sldId id="3601"/>
            <p14:sldId id="710"/>
            <p14:sldId id="948"/>
            <p14:sldId id="72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uti Dayal" initials="AD" lastIdx="2" clrIdx="0">
    <p:extLst>
      <p:ext uri="{19B8F6BF-5375-455C-9EA6-DF929625EA0E}">
        <p15:presenceInfo xmlns:p15="http://schemas.microsoft.com/office/powerpoint/2012/main" userId="Anubhuti Dayal" providerId="None"/>
      </p:ext>
    </p:extLst>
  </p:cmAuthor>
  <p:cmAuthor id="2" name="Abhishek Tah" initials="AT" lastIdx="6" clrIdx="1">
    <p:extLst>
      <p:ext uri="{19B8F6BF-5375-455C-9EA6-DF929625EA0E}">
        <p15:presenceInfo xmlns:p15="http://schemas.microsoft.com/office/powerpoint/2012/main" userId="S::abhishek.t@mordorintelligence.com::5347ed80-edc8-4a6c-9de9-46eb96606a02" providerId="AD"/>
      </p:ext>
    </p:extLst>
  </p:cmAuthor>
  <p:cmAuthor id="3" name="Himjyoti Saha" initials="HS" lastIdx="1" clrIdx="2">
    <p:extLst>
      <p:ext uri="{19B8F6BF-5375-455C-9EA6-DF929625EA0E}">
        <p15:presenceInfo xmlns:p15="http://schemas.microsoft.com/office/powerpoint/2012/main" userId="S::Himjyoti@mordorintelligence.com::7869c4dd-719c-4e8c-af94-c0db95673ed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B0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3686" autoAdjust="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58356940509913E-2"/>
          <c:y val="5.0249019501169674E-2"/>
          <c:w val="0.95014164305949012"/>
          <c:h val="0.8237380456626424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General</c:formatCode>
                <c:ptCount val="10"/>
                <c:pt idx="0">
                  <c:v>194.25</c:v>
                </c:pt>
                <c:pt idx="1">
                  <c:v>204.91</c:v>
                </c:pt>
                <c:pt idx="2">
                  <c:v>215.15</c:v>
                </c:pt>
                <c:pt idx="3">
                  <c:v>224.68</c:v>
                </c:pt>
                <c:pt idx="4">
                  <c:v>233.32</c:v>
                </c:pt>
                <c:pt idx="5">
                  <c:v>238</c:v>
                </c:pt>
                <c:pt idx="6">
                  <c:v>242</c:v>
                </c:pt>
                <c:pt idx="7">
                  <c:v>245</c:v>
                </c:pt>
                <c:pt idx="8">
                  <c:v>242</c:v>
                </c:pt>
                <c:pt idx="9">
                  <c:v>245</c:v>
                </c:pt>
              </c:numCache>
            </c:numRef>
          </c:val>
          <c:extLst>
            <c:ext xmlns:c16="http://schemas.microsoft.com/office/drawing/2014/chart" uri="{C3380CC4-5D6E-409C-BE32-E72D297353CC}">
              <c16:uniqueId val="{00000000-9C9D-4CC6-B3D8-4E8332D47D22}"/>
            </c:ext>
          </c:extLst>
        </c:ser>
        <c:dLbls>
          <c:showLegendKey val="0"/>
          <c:showVal val="0"/>
          <c:showCatName val="0"/>
          <c:showSerName val="0"/>
          <c:showPercent val="0"/>
          <c:showBubbleSize val="0"/>
        </c:dLbls>
        <c:gapWidth val="75"/>
        <c:overlap val="100"/>
        <c:axId val="1366418544"/>
        <c:axId val="1366413104"/>
      </c:barChart>
      <c:catAx>
        <c:axId val="1366418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66413104"/>
        <c:crosses val="autoZero"/>
        <c:auto val="1"/>
        <c:lblAlgn val="ctr"/>
        <c:lblOffset val="100"/>
        <c:noMultiLvlLbl val="0"/>
      </c:catAx>
      <c:valAx>
        <c:axId val="1366413104"/>
        <c:scaling>
          <c:orientation val="minMax"/>
        </c:scaling>
        <c:delete val="1"/>
        <c:axPos val="l"/>
        <c:numFmt formatCode="General" sourceLinked="1"/>
        <c:majorTickMark val="none"/>
        <c:minorTickMark val="none"/>
        <c:tickLblPos val="nextTo"/>
        <c:crossAx val="1366418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1</c:f>
              <c:strCache>
                <c:ptCount val="1"/>
                <c:pt idx="0">
                  <c:v>Column1</c:v>
                </c:pt>
              </c:strCache>
            </c:strRef>
          </c:tx>
          <c:spPr>
            <a:solidFill>
              <a:schemeClr val="accent2"/>
            </a:solidFill>
            <a:ln>
              <a:noFill/>
            </a:ln>
            <a:effectLst/>
          </c:spPr>
          <c:invertIfNegative val="0"/>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2.4</c:v>
                </c:pt>
                <c:pt idx="1">
                  <c:v>2.5</c:v>
                </c:pt>
                <c:pt idx="2">
                  <c:v>2.7</c:v>
                </c:pt>
                <c:pt idx="3">
                  <c:v>2.8</c:v>
                </c:pt>
              </c:numCache>
            </c:numRef>
          </c:val>
          <c:extLst>
            <c:ext xmlns:c16="http://schemas.microsoft.com/office/drawing/2014/chart" uri="{C3380CC4-5D6E-409C-BE32-E72D297353CC}">
              <c16:uniqueId val="{00000001-8F7F-459B-AD1B-404B318EC248}"/>
            </c:ext>
          </c:extLst>
        </c:ser>
        <c:dLbls>
          <c:showLegendKey val="0"/>
          <c:showVal val="0"/>
          <c:showCatName val="0"/>
          <c:showSerName val="0"/>
          <c:showPercent val="0"/>
          <c:showBubbleSize val="0"/>
        </c:dLbls>
        <c:gapWidth val="219"/>
        <c:overlap val="-27"/>
        <c:axId val="236863728"/>
        <c:axId val="236877040"/>
      </c:barChart>
      <c:catAx>
        <c:axId val="23686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36877040"/>
        <c:crosses val="autoZero"/>
        <c:auto val="1"/>
        <c:lblAlgn val="ctr"/>
        <c:lblOffset val="100"/>
        <c:noMultiLvlLbl val="0"/>
      </c:catAx>
      <c:valAx>
        <c:axId val="2368770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36863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8836465807723"/>
          <c:y val="4.9672595951316567E-2"/>
          <c:w val="0.72025250698909826"/>
          <c:h val="0.61868997909985635"/>
        </c:manualLayout>
      </c:layout>
      <c:doughnutChart>
        <c:varyColors val="1"/>
        <c:ser>
          <c:idx val="0"/>
          <c:order val="0"/>
          <c:tx>
            <c:strRef>
              <c:f>Sheet1!$B$1</c:f>
              <c:strCache>
                <c:ptCount val="1"/>
                <c:pt idx="0">
                  <c:v>Sales</c:v>
                </c:pt>
              </c:strCache>
            </c:strRef>
          </c:tx>
          <c:dPt>
            <c:idx val="0"/>
            <c:bubble3D val="0"/>
            <c:spPr>
              <a:solidFill>
                <a:srgbClr val="0070C0"/>
              </a:solidFill>
              <a:ln w="19050">
                <a:solidFill>
                  <a:schemeClr val="lt1"/>
                </a:solidFill>
              </a:ln>
              <a:effectLst/>
            </c:spPr>
            <c:extLst>
              <c:ext xmlns:c16="http://schemas.microsoft.com/office/drawing/2014/chart" uri="{C3380CC4-5D6E-409C-BE32-E72D297353CC}">
                <c16:uniqueId val="{00000001-3323-4A28-BE6A-880B832FCB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323-4A28-BE6A-880B832FCBF6}"/>
              </c:ext>
            </c:extLst>
          </c:dPt>
          <c:cat>
            <c:strRef>
              <c:f>Sheet1!$A$2:$A$3</c:f>
              <c:strCache>
                <c:ptCount val="2"/>
                <c:pt idx="0">
                  <c:v>Rigid</c:v>
                </c:pt>
                <c:pt idx="1">
                  <c:v>Flexible</c:v>
                </c:pt>
              </c:strCache>
            </c:strRef>
          </c:cat>
          <c:val>
            <c:numRef>
              <c:f>Sheet1!$B$2:$B$3</c:f>
              <c:numCache>
                <c:formatCode>0%</c:formatCode>
                <c:ptCount val="2"/>
                <c:pt idx="0">
                  <c:v>0.3</c:v>
                </c:pt>
                <c:pt idx="1">
                  <c:v>0.7</c:v>
                </c:pt>
              </c:numCache>
            </c:numRef>
          </c:val>
          <c:extLst>
            <c:ext xmlns:c16="http://schemas.microsoft.com/office/drawing/2014/chart" uri="{C3380CC4-5D6E-409C-BE32-E72D297353CC}">
              <c16:uniqueId val="{00000000-3485-4B74-AC9E-7B2F2BBAF06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1005099334222994"/>
          <c:y val="0.69801039987785252"/>
          <c:w val="0.83394826384618537"/>
          <c:h val="0.2552645209746462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858356940509913E-2"/>
          <c:y val="5.0249019501169674E-2"/>
          <c:w val="0.95014164305949012"/>
          <c:h val="0.82373804566264242"/>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numRef>
              <c:f>Sheet1!$A$2:$A$11</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Sheet1!$B$2:$B$11</c:f>
              <c:numCache>
                <c:formatCode>General</c:formatCode>
                <c:ptCount val="10"/>
                <c:pt idx="0">
                  <c:v>194.25</c:v>
                </c:pt>
                <c:pt idx="1">
                  <c:v>204.91</c:v>
                </c:pt>
                <c:pt idx="2">
                  <c:v>215.15</c:v>
                </c:pt>
                <c:pt idx="3">
                  <c:v>224.68</c:v>
                </c:pt>
                <c:pt idx="4">
                  <c:v>233.32</c:v>
                </c:pt>
                <c:pt idx="5">
                  <c:v>238</c:v>
                </c:pt>
                <c:pt idx="6">
                  <c:v>242</c:v>
                </c:pt>
                <c:pt idx="7">
                  <c:v>245</c:v>
                </c:pt>
                <c:pt idx="8">
                  <c:v>242</c:v>
                </c:pt>
                <c:pt idx="9">
                  <c:v>245</c:v>
                </c:pt>
              </c:numCache>
            </c:numRef>
          </c:val>
          <c:extLst>
            <c:ext xmlns:c16="http://schemas.microsoft.com/office/drawing/2014/chart" uri="{C3380CC4-5D6E-409C-BE32-E72D297353CC}">
              <c16:uniqueId val="{00000000-9C9D-4CC6-B3D8-4E8332D47D22}"/>
            </c:ext>
          </c:extLst>
        </c:ser>
        <c:dLbls>
          <c:showLegendKey val="0"/>
          <c:showVal val="0"/>
          <c:showCatName val="0"/>
          <c:showSerName val="0"/>
          <c:showPercent val="0"/>
          <c:showBubbleSize val="0"/>
        </c:dLbls>
        <c:gapWidth val="75"/>
        <c:overlap val="100"/>
        <c:axId val="1822458848"/>
        <c:axId val="1822459392"/>
      </c:barChart>
      <c:catAx>
        <c:axId val="182245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822459392"/>
        <c:crosses val="autoZero"/>
        <c:auto val="1"/>
        <c:lblAlgn val="ctr"/>
        <c:lblOffset val="100"/>
        <c:noMultiLvlLbl val="0"/>
      </c:catAx>
      <c:valAx>
        <c:axId val="1822459392"/>
        <c:scaling>
          <c:orientation val="minMax"/>
        </c:scaling>
        <c:delete val="1"/>
        <c:axPos val="l"/>
        <c:numFmt formatCode="General" sourceLinked="1"/>
        <c:majorTickMark val="none"/>
        <c:minorTickMark val="none"/>
        <c:tickLblPos val="nextTo"/>
        <c:crossAx val="1822458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8836465807723"/>
          <c:y val="4.9672595951316567E-2"/>
          <c:w val="0.72025250698909826"/>
          <c:h val="0.61868997909985635"/>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323-4A28-BE6A-880B832FCB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323-4A28-BE6A-880B832FCBF6}"/>
              </c:ext>
            </c:extLst>
          </c:dPt>
          <c:cat>
            <c:strRef>
              <c:f>Sheet1!$A$2:$A$3</c:f>
              <c:strCache>
                <c:ptCount val="2"/>
                <c:pt idx="0">
                  <c:v>Residential</c:v>
                </c:pt>
                <c:pt idx="1">
                  <c:v>Commercial</c:v>
                </c:pt>
              </c:strCache>
            </c:strRef>
          </c:cat>
          <c:val>
            <c:numRef>
              <c:f>Sheet1!$B$2:$B$3</c:f>
              <c:numCache>
                <c:formatCode>0%</c:formatCode>
                <c:ptCount val="2"/>
                <c:pt idx="0">
                  <c:v>0.3</c:v>
                </c:pt>
                <c:pt idx="1">
                  <c:v>0.3</c:v>
                </c:pt>
              </c:numCache>
            </c:numRef>
          </c:val>
          <c:extLst>
            <c:ext xmlns:c16="http://schemas.microsoft.com/office/drawing/2014/chart" uri="{C3380CC4-5D6E-409C-BE32-E72D297353CC}">
              <c16:uniqueId val="{00000000-3485-4B74-AC9E-7B2F2BBAF06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1005099334222994"/>
          <c:y val="0.69801039987785252"/>
          <c:w val="0.83394826384618537"/>
          <c:h val="0.3019896001221474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49832867393448"/>
          <c:y val="0"/>
          <c:w val="0.72025250698909826"/>
          <c:h val="0.61868997909985635"/>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323-4A28-BE6A-880B832FCB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323-4A28-BE6A-880B832FCBF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D5A-4885-9FAE-5812229A3A2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D5A-4885-9FAE-5812229A3A2D}"/>
              </c:ext>
            </c:extLst>
          </c:dPt>
          <c:cat>
            <c:strRef>
              <c:f>Sheet1!$A$2:$A$5</c:f>
              <c:strCache>
                <c:ptCount val="4"/>
                <c:pt idx="0">
                  <c:v>Manufacturer Owned tores</c:v>
                </c:pt>
                <c:pt idx="1">
                  <c:v>Specialty Stores</c:v>
                </c:pt>
                <c:pt idx="2">
                  <c:v>Online Stores</c:v>
                </c:pt>
                <c:pt idx="3">
                  <c:v>Other Distribution Channels </c:v>
                </c:pt>
              </c:strCache>
            </c:strRef>
          </c:cat>
          <c:val>
            <c:numRef>
              <c:f>Sheet1!$B$2:$B$5</c:f>
              <c:numCache>
                <c:formatCode>0%</c:formatCode>
                <c:ptCount val="4"/>
                <c:pt idx="0">
                  <c:v>0.3</c:v>
                </c:pt>
                <c:pt idx="1">
                  <c:v>0.3</c:v>
                </c:pt>
                <c:pt idx="2">
                  <c:v>0.3</c:v>
                </c:pt>
                <c:pt idx="3">
                  <c:v>0.1</c:v>
                </c:pt>
              </c:numCache>
            </c:numRef>
          </c:val>
          <c:extLst>
            <c:ext xmlns:c16="http://schemas.microsoft.com/office/drawing/2014/chart" uri="{C3380CC4-5D6E-409C-BE32-E72D297353CC}">
              <c16:uniqueId val="{00000000-3485-4B74-AC9E-7B2F2BBAF06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9.2739169727552126E-2"/>
          <c:y val="0.62792278115660072"/>
          <c:w val="0.83394826384618537"/>
          <c:h val="0.3487146792696486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73720D-F3F7-43B6-AFFA-FF7D0C514AE9}" type="doc">
      <dgm:prSet loTypeId="urn:microsoft.com/office/officeart/2008/layout/PictureAccentList" loCatId="list" qsTypeId="urn:microsoft.com/office/officeart/2005/8/quickstyle/simple1" qsCatId="simple" csTypeId="urn:microsoft.com/office/officeart/2005/8/colors/accent1_2" csCatId="accent1" phldr="0"/>
      <dgm:spPr/>
      <dgm:t>
        <a:bodyPr/>
        <a:lstStyle/>
        <a:p>
          <a:endParaRPr lang="en-US"/>
        </a:p>
      </dgm:t>
    </dgm:pt>
    <dgm:pt modelId="{5BF68DEC-4BA6-4330-8350-83C36FE5F93D}">
      <dgm:prSet phldrT="[Text]" phldr="1"/>
      <dgm:spPr/>
      <dgm:t>
        <a:bodyPr/>
        <a:lstStyle/>
        <a:p>
          <a:endParaRPr lang="en-US" dirty="0"/>
        </a:p>
      </dgm:t>
    </dgm:pt>
    <dgm:pt modelId="{13B3EF6B-953B-447D-A5B8-680F80048788}" type="parTrans" cxnId="{E4046F9A-EDCB-435C-BE3D-EE6D24870EAA}">
      <dgm:prSet/>
      <dgm:spPr/>
      <dgm:t>
        <a:bodyPr/>
        <a:lstStyle/>
        <a:p>
          <a:endParaRPr lang="en-US"/>
        </a:p>
      </dgm:t>
    </dgm:pt>
    <dgm:pt modelId="{8F3A075E-0CF6-441E-9A5C-F6E199CAFC87}" type="sibTrans" cxnId="{E4046F9A-EDCB-435C-BE3D-EE6D24870EAA}">
      <dgm:prSet/>
      <dgm:spPr/>
      <dgm:t>
        <a:bodyPr/>
        <a:lstStyle/>
        <a:p>
          <a:endParaRPr lang="en-US"/>
        </a:p>
      </dgm:t>
    </dgm:pt>
    <dgm:pt modelId="{CB89345B-3E95-44D9-9051-D2B0455D1F29}">
      <dgm:prSet phldrT="[Text]" phldr="1"/>
      <dgm:spPr/>
      <dgm:t>
        <a:bodyPr/>
        <a:lstStyle/>
        <a:p>
          <a:endParaRPr lang="en-US" dirty="0"/>
        </a:p>
      </dgm:t>
    </dgm:pt>
    <dgm:pt modelId="{B6D9522D-04C9-4920-8E9C-FB44CE365E0F}" type="parTrans" cxnId="{84C705DB-A95C-4157-8757-5758FFBFDB22}">
      <dgm:prSet/>
      <dgm:spPr/>
      <dgm:t>
        <a:bodyPr/>
        <a:lstStyle/>
        <a:p>
          <a:endParaRPr lang="en-US"/>
        </a:p>
      </dgm:t>
    </dgm:pt>
    <dgm:pt modelId="{485430F9-82EF-40AD-999F-B1BBFE2D69E0}" type="sibTrans" cxnId="{84C705DB-A95C-4157-8757-5758FFBFDB22}">
      <dgm:prSet/>
      <dgm:spPr/>
      <dgm:t>
        <a:bodyPr/>
        <a:lstStyle/>
        <a:p>
          <a:endParaRPr lang="en-US"/>
        </a:p>
      </dgm:t>
    </dgm:pt>
    <dgm:pt modelId="{3CA85163-8D7F-4F84-BBD2-297B99067AB0}">
      <dgm:prSet phldrT="[Text]" phldr="1"/>
      <dgm:spPr/>
      <dgm:t>
        <a:bodyPr/>
        <a:lstStyle/>
        <a:p>
          <a:endParaRPr lang="en-US" dirty="0"/>
        </a:p>
      </dgm:t>
    </dgm:pt>
    <dgm:pt modelId="{B76BA60D-6266-4805-87B4-AA4CA4795A18}" type="parTrans" cxnId="{2D702E70-E161-489F-9093-85594B703493}">
      <dgm:prSet/>
      <dgm:spPr/>
      <dgm:t>
        <a:bodyPr/>
        <a:lstStyle/>
        <a:p>
          <a:endParaRPr lang="en-US"/>
        </a:p>
      </dgm:t>
    </dgm:pt>
    <dgm:pt modelId="{EF7BD21F-0716-4458-87E2-E1E4A2012079}" type="sibTrans" cxnId="{2D702E70-E161-489F-9093-85594B703493}">
      <dgm:prSet/>
      <dgm:spPr/>
      <dgm:t>
        <a:bodyPr/>
        <a:lstStyle/>
        <a:p>
          <a:endParaRPr lang="en-US"/>
        </a:p>
      </dgm:t>
    </dgm:pt>
    <dgm:pt modelId="{46BC078E-85B4-4F0D-A440-199A582A2933}" type="pres">
      <dgm:prSet presAssocID="{6E73720D-F3F7-43B6-AFFA-FF7D0C514AE9}" presName="layout" presStyleCnt="0">
        <dgm:presLayoutVars>
          <dgm:chMax/>
          <dgm:chPref/>
          <dgm:dir/>
          <dgm:animOne val="branch"/>
          <dgm:animLvl val="lvl"/>
          <dgm:resizeHandles/>
        </dgm:presLayoutVars>
      </dgm:prSet>
      <dgm:spPr/>
    </dgm:pt>
    <dgm:pt modelId="{3EA9B620-A5B1-43FC-9790-10612350F0EA}" type="pres">
      <dgm:prSet presAssocID="{5BF68DEC-4BA6-4330-8350-83C36FE5F93D}" presName="root" presStyleCnt="0">
        <dgm:presLayoutVars>
          <dgm:chMax/>
          <dgm:chPref val="4"/>
        </dgm:presLayoutVars>
      </dgm:prSet>
      <dgm:spPr/>
    </dgm:pt>
    <dgm:pt modelId="{BA29010E-5E29-496C-B18F-26459B7CBD7F}" type="pres">
      <dgm:prSet presAssocID="{5BF68DEC-4BA6-4330-8350-83C36FE5F93D}" presName="rootComposite" presStyleCnt="0">
        <dgm:presLayoutVars/>
      </dgm:prSet>
      <dgm:spPr/>
    </dgm:pt>
    <dgm:pt modelId="{04A314C6-BFD2-4150-BC12-BD1EA56CD508}" type="pres">
      <dgm:prSet presAssocID="{5BF68DEC-4BA6-4330-8350-83C36FE5F93D}" presName="rootText" presStyleLbl="node0" presStyleIdx="0" presStyleCnt="1">
        <dgm:presLayoutVars>
          <dgm:chMax/>
          <dgm:chPref val="4"/>
        </dgm:presLayoutVars>
      </dgm:prSet>
      <dgm:spPr/>
    </dgm:pt>
    <dgm:pt modelId="{223F802F-D77E-4F9A-93D5-F4895F0BC7EF}" type="pres">
      <dgm:prSet presAssocID="{5BF68DEC-4BA6-4330-8350-83C36FE5F93D}" presName="childShape" presStyleCnt="0">
        <dgm:presLayoutVars>
          <dgm:chMax val="0"/>
          <dgm:chPref val="0"/>
        </dgm:presLayoutVars>
      </dgm:prSet>
      <dgm:spPr/>
    </dgm:pt>
    <dgm:pt modelId="{F2132A4B-4A1F-4006-B5E9-FDBF4E21D399}" type="pres">
      <dgm:prSet presAssocID="{CB89345B-3E95-44D9-9051-D2B0455D1F29}" presName="childComposite" presStyleCnt="0">
        <dgm:presLayoutVars>
          <dgm:chMax val="0"/>
          <dgm:chPref val="0"/>
        </dgm:presLayoutVars>
      </dgm:prSet>
      <dgm:spPr/>
    </dgm:pt>
    <dgm:pt modelId="{0644690A-EB26-4438-9212-C91AD5527830}" type="pres">
      <dgm:prSet presAssocID="{CB89345B-3E95-44D9-9051-D2B0455D1F29}" presName="Image" presStyleLbl="node1" presStyleIdx="0" presStyleCnt="2"/>
      <dgm:spPr/>
    </dgm:pt>
    <dgm:pt modelId="{7135746B-E9A6-4075-A7C5-77FD28D04CC3}" type="pres">
      <dgm:prSet presAssocID="{CB89345B-3E95-44D9-9051-D2B0455D1F29}" presName="childText" presStyleLbl="lnNode1" presStyleIdx="0" presStyleCnt="2">
        <dgm:presLayoutVars>
          <dgm:chMax val="0"/>
          <dgm:chPref val="0"/>
          <dgm:bulletEnabled val="1"/>
        </dgm:presLayoutVars>
      </dgm:prSet>
      <dgm:spPr/>
    </dgm:pt>
    <dgm:pt modelId="{47C49047-2842-4A86-A83A-09C0FF3484A4}" type="pres">
      <dgm:prSet presAssocID="{3CA85163-8D7F-4F84-BBD2-297B99067AB0}" presName="childComposite" presStyleCnt="0">
        <dgm:presLayoutVars>
          <dgm:chMax val="0"/>
          <dgm:chPref val="0"/>
        </dgm:presLayoutVars>
      </dgm:prSet>
      <dgm:spPr/>
    </dgm:pt>
    <dgm:pt modelId="{B48D1FF2-B442-4DFF-84C9-82A0EC4B2965}" type="pres">
      <dgm:prSet presAssocID="{3CA85163-8D7F-4F84-BBD2-297B99067AB0}" presName="Image" presStyleLbl="node1" presStyleIdx="1" presStyleCnt="2"/>
      <dgm:spPr/>
    </dgm:pt>
    <dgm:pt modelId="{6AF68357-B616-4F18-B062-8877B8D3573D}" type="pres">
      <dgm:prSet presAssocID="{3CA85163-8D7F-4F84-BBD2-297B99067AB0}" presName="childText" presStyleLbl="lnNode1" presStyleIdx="1" presStyleCnt="2">
        <dgm:presLayoutVars>
          <dgm:chMax val="0"/>
          <dgm:chPref val="0"/>
          <dgm:bulletEnabled val="1"/>
        </dgm:presLayoutVars>
      </dgm:prSet>
      <dgm:spPr/>
    </dgm:pt>
  </dgm:ptLst>
  <dgm:cxnLst>
    <dgm:cxn modelId="{907FDC23-357F-4721-88C2-7C48A4512739}" type="presOf" srcId="{3CA85163-8D7F-4F84-BBD2-297B99067AB0}" destId="{6AF68357-B616-4F18-B062-8877B8D3573D}" srcOrd="0" destOrd="0" presId="urn:microsoft.com/office/officeart/2008/layout/PictureAccentList"/>
    <dgm:cxn modelId="{2D702E70-E161-489F-9093-85594B703493}" srcId="{5BF68DEC-4BA6-4330-8350-83C36FE5F93D}" destId="{3CA85163-8D7F-4F84-BBD2-297B99067AB0}" srcOrd="1" destOrd="0" parTransId="{B76BA60D-6266-4805-87B4-AA4CA4795A18}" sibTransId="{EF7BD21F-0716-4458-87E2-E1E4A2012079}"/>
    <dgm:cxn modelId="{03C9E957-1BCA-475F-BB82-324CCBA42F90}" type="presOf" srcId="{5BF68DEC-4BA6-4330-8350-83C36FE5F93D}" destId="{04A314C6-BFD2-4150-BC12-BD1EA56CD508}" srcOrd="0" destOrd="0" presId="urn:microsoft.com/office/officeart/2008/layout/PictureAccentList"/>
    <dgm:cxn modelId="{E4046F9A-EDCB-435C-BE3D-EE6D24870EAA}" srcId="{6E73720D-F3F7-43B6-AFFA-FF7D0C514AE9}" destId="{5BF68DEC-4BA6-4330-8350-83C36FE5F93D}" srcOrd="0" destOrd="0" parTransId="{13B3EF6B-953B-447D-A5B8-680F80048788}" sibTransId="{8F3A075E-0CF6-441E-9A5C-F6E199CAFC87}"/>
    <dgm:cxn modelId="{E30E09A5-6D2C-43D0-8B00-9E7D9E2B56EA}" type="presOf" srcId="{6E73720D-F3F7-43B6-AFFA-FF7D0C514AE9}" destId="{46BC078E-85B4-4F0D-A440-199A582A2933}" srcOrd="0" destOrd="0" presId="urn:microsoft.com/office/officeart/2008/layout/PictureAccentList"/>
    <dgm:cxn modelId="{4C80FDB7-BD94-4034-ADC7-33C0A8C0C627}" type="presOf" srcId="{CB89345B-3E95-44D9-9051-D2B0455D1F29}" destId="{7135746B-E9A6-4075-A7C5-77FD28D04CC3}" srcOrd="0" destOrd="0" presId="urn:microsoft.com/office/officeart/2008/layout/PictureAccentList"/>
    <dgm:cxn modelId="{84C705DB-A95C-4157-8757-5758FFBFDB22}" srcId="{5BF68DEC-4BA6-4330-8350-83C36FE5F93D}" destId="{CB89345B-3E95-44D9-9051-D2B0455D1F29}" srcOrd="0" destOrd="0" parTransId="{B6D9522D-04C9-4920-8E9C-FB44CE365E0F}" sibTransId="{485430F9-82EF-40AD-999F-B1BBFE2D69E0}"/>
    <dgm:cxn modelId="{4CCFF80F-57B8-40B7-B2E2-8174D9D6C246}" type="presParOf" srcId="{46BC078E-85B4-4F0D-A440-199A582A2933}" destId="{3EA9B620-A5B1-43FC-9790-10612350F0EA}" srcOrd="0" destOrd="0" presId="urn:microsoft.com/office/officeart/2008/layout/PictureAccentList"/>
    <dgm:cxn modelId="{99135ED6-E5BB-4BAC-8614-CCBBA5DFE980}" type="presParOf" srcId="{3EA9B620-A5B1-43FC-9790-10612350F0EA}" destId="{BA29010E-5E29-496C-B18F-26459B7CBD7F}" srcOrd="0" destOrd="0" presId="urn:microsoft.com/office/officeart/2008/layout/PictureAccentList"/>
    <dgm:cxn modelId="{8CD2DB74-D6C1-42F8-838E-AD459B39E6AC}" type="presParOf" srcId="{BA29010E-5E29-496C-B18F-26459B7CBD7F}" destId="{04A314C6-BFD2-4150-BC12-BD1EA56CD508}" srcOrd="0" destOrd="0" presId="urn:microsoft.com/office/officeart/2008/layout/PictureAccentList"/>
    <dgm:cxn modelId="{CCBE562B-A432-4870-AB9A-F82BFC5ED11D}" type="presParOf" srcId="{3EA9B620-A5B1-43FC-9790-10612350F0EA}" destId="{223F802F-D77E-4F9A-93D5-F4895F0BC7EF}" srcOrd="1" destOrd="0" presId="urn:microsoft.com/office/officeart/2008/layout/PictureAccentList"/>
    <dgm:cxn modelId="{A2F8471D-2946-4F8D-927B-89CAD7A09673}" type="presParOf" srcId="{223F802F-D77E-4F9A-93D5-F4895F0BC7EF}" destId="{F2132A4B-4A1F-4006-B5E9-FDBF4E21D399}" srcOrd="0" destOrd="0" presId="urn:microsoft.com/office/officeart/2008/layout/PictureAccentList"/>
    <dgm:cxn modelId="{69579AC2-3881-4B36-8609-6126FC434D01}" type="presParOf" srcId="{F2132A4B-4A1F-4006-B5E9-FDBF4E21D399}" destId="{0644690A-EB26-4438-9212-C91AD5527830}" srcOrd="0" destOrd="0" presId="urn:microsoft.com/office/officeart/2008/layout/PictureAccentList"/>
    <dgm:cxn modelId="{CD2D6299-D542-445B-9C12-DEFAA49D85BC}" type="presParOf" srcId="{F2132A4B-4A1F-4006-B5E9-FDBF4E21D399}" destId="{7135746B-E9A6-4075-A7C5-77FD28D04CC3}" srcOrd="1" destOrd="0" presId="urn:microsoft.com/office/officeart/2008/layout/PictureAccentList"/>
    <dgm:cxn modelId="{1A7A6222-66DD-4A28-BBDC-F867B9633C61}" type="presParOf" srcId="{223F802F-D77E-4F9A-93D5-F4895F0BC7EF}" destId="{47C49047-2842-4A86-A83A-09C0FF3484A4}" srcOrd="1" destOrd="0" presId="urn:microsoft.com/office/officeart/2008/layout/PictureAccentList"/>
    <dgm:cxn modelId="{68C209FE-2587-40E6-A339-48FBF74B9CBD}" type="presParOf" srcId="{47C49047-2842-4A86-A83A-09C0FF3484A4}" destId="{B48D1FF2-B442-4DFF-84C9-82A0EC4B2965}" srcOrd="0" destOrd="0" presId="urn:microsoft.com/office/officeart/2008/layout/PictureAccentList"/>
    <dgm:cxn modelId="{CEC7E246-0383-415A-B9CB-4C32F322A335}" type="presParOf" srcId="{47C49047-2842-4A86-A83A-09C0FF3484A4}" destId="{6AF68357-B616-4F18-B062-8877B8D3573D}"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A314C6-BFD2-4150-BC12-BD1EA56CD508}">
      <dsp:nvSpPr>
        <dsp:cNvPr id="0" name=""/>
        <dsp:cNvSpPr/>
      </dsp:nvSpPr>
      <dsp:spPr>
        <a:xfrm>
          <a:off x="0" y="474133"/>
          <a:ext cx="8128000" cy="13546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3825" tIns="82550" rIns="123825"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39677" y="513810"/>
        <a:ext cx="8048646" cy="1275312"/>
      </dsp:txXfrm>
    </dsp:sp>
    <dsp:sp modelId="{0644690A-EB26-4438-9212-C91AD5527830}">
      <dsp:nvSpPr>
        <dsp:cNvPr id="0" name=""/>
        <dsp:cNvSpPr/>
      </dsp:nvSpPr>
      <dsp:spPr>
        <a:xfrm>
          <a:off x="0" y="2072640"/>
          <a:ext cx="1354666" cy="135466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35746B-E9A6-4075-A7C5-77FD28D04CC3}">
      <dsp:nvSpPr>
        <dsp:cNvPr id="0" name=""/>
        <dsp:cNvSpPr/>
      </dsp:nvSpPr>
      <dsp:spPr>
        <a:xfrm>
          <a:off x="1435946" y="2072640"/>
          <a:ext cx="6692053" cy="135466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endParaRPr lang="en-US" sz="4100" kern="1200" dirty="0"/>
        </a:p>
      </dsp:txBody>
      <dsp:txXfrm>
        <a:off x="1502087" y="2138781"/>
        <a:ext cx="6559771" cy="1222384"/>
      </dsp:txXfrm>
    </dsp:sp>
    <dsp:sp modelId="{B48D1FF2-B442-4DFF-84C9-82A0EC4B2965}">
      <dsp:nvSpPr>
        <dsp:cNvPr id="0" name=""/>
        <dsp:cNvSpPr/>
      </dsp:nvSpPr>
      <dsp:spPr>
        <a:xfrm>
          <a:off x="0" y="3589866"/>
          <a:ext cx="1354666" cy="135466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F68357-B616-4F18-B062-8877B8D3573D}">
      <dsp:nvSpPr>
        <dsp:cNvPr id="0" name=""/>
        <dsp:cNvSpPr/>
      </dsp:nvSpPr>
      <dsp:spPr>
        <a:xfrm>
          <a:off x="1435946" y="3589866"/>
          <a:ext cx="6692053" cy="135466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291592" rIns="291592" bIns="291592" numCol="1" spcCol="1270" anchor="ctr" anchorCtr="0">
          <a:noAutofit/>
        </a:bodyPr>
        <a:lstStyle/>
        <a:p>
          <a:pPr marL="0" lvl="0" indent="0" algn="ctr" defTabSz="1822450">
            <a:lnSpc>
              <a:spcPct val="90000"/>
            </a:lnSpc>
            <a:spcBef>
              <a:spcPct val="0"/>
            </a:spcBef>
            <a:spcAft>
              <a:spcPct val="35000"/>
            </a:spcAft>
            <a:buNone/>
          </a:pPr>
          <a:endParaRPr lang="en-US" sz="4100" kern="1200" dirty="0"/>
        </a:p>
      </dsp:txBody>
      <dsp:txXfrm>
        <a:off x="1502087" y="3656007"/>
        <a:ext cx="6559771" cy="1222384"/>
      </dsp:txXfrm>
    </dsp:sp>
  </dsp:spTree>
</dsp:drawing>
</file>

<file path=ppt/diagrams/layout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531</cdr:x>
      <cdr:y>0.22767</cdr:y>
    </cdr:from>
    <cdr:to>
      <cdr:x>0.41466</cdr:x>
      <cdr:y>0.31139</cdr:y>
    </cdr:to>
    <cdr:sp macro="" textlink="">
      <cdr:nvSpPr>
        <cdr:cNvPr id="2" name="Rectangle 1">
          <a:extLst xmlns:a="http://schemas.openxmlformats.org/drawingml/2006/main">
            <a:ext uri="{FF2B5EF4-FFF2-40B4-BE49-F238E27FC236}">
              <a16:creationId xmlns:a16="http://schemas.microsoft.com/office/drawing/2014/main" id="{AD59D502-4B95-4A55-BDE5-CDC7D434E998}"/>
            </a:ext>
          </a:extLst>
        </cdr:cNvPr>
        <cdr:cNvSpPr/>
      </cdr:nvSpPr>
      <cdr:spPr>
        <a:xfrm xmlns:a="http://schemas.openxmlformats.org/drawingml/2006/main">
          <a:off x="1978730" y="690506"/>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45362</cdr:x>
      <cdr:y>0.19052</cdr:y>
    </cdr:from>
    <cdr:to>
      <cdr:x>0.51517</cdr:x>
      <cdr:y>0.27424</cdr:y>
    </cdr:to>
    <cdr:sp macro="" textlink="">
      <cdr:nvSpPr>
        <cdr:cNvPr id="3" name="Rectangle 2">
          <a:extLst xmlns:a="http://schemas.openxmlformats.org/drawingml/2006/main">
            <a:ext uri="{FF2B5EF4-FFF2-40B4-BE49-F238E27FC236}">
              <a16:creationId xmlns:a16="http://schemas.microsoft.com/office/drawing/2014/main" id="{8B3EE1CD-1E07-4267-9F81-878B44B8A0A2}"/>
            </a:ext>
          </a:extLst>
        </cdr:cNvPr>
        <cdr:cNvSpPr/>
      </cdr:nvSpPr>
      <cdr:spPr>
        <a:xfrm xmlns:a="http://schemas.openxmlformats.org/drawingml/2006/main">
          <a:off x="2542002" y="577838"/>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54705</cdr:x>
      <cdr:y>0.15767</cdr:y>
    </cdr:from>
    <cdr:to>
      <cdr:x>0.60861</cdr:x>
      <cdr:y>0.24139</cdr:y>
    </cdr:to>
    <cdr:sp macro="" textlink="">
      <cdr:nvSpPr>
        <cdr:cNvPr id="4" name="Rectangle 3">
          <a:extLst xmlns:a="http://schemas.openxmlformats.org/drawingml/2006/main">
            <a:ext uri="{FF2B5EF4-FFF2-40B4-BE49-F238E27FC236}">
              <a16:creationId xmlns:a16="http://schemas.microsoft.com/office/drawing/2014/main" id="{8B3EE1CD-1E07-4267-9F81-878B44B8A0A2}"/>
            </a:ext>
          </a:extLst>
        </cdr:cNvPr>
        <cdr:cNvSpPr/>
      </cdr:nvSpPr>
      <cdr:spPr>
        <a:xfrm xmlns:a="http://schemas.openxmlformats.org/drawingml/2006/main">
          <a:off x="3065613" y="478205"/>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63856</cdr:x>
      <cdr:y>0.13949</cdr:y>
    </cdr:from>
    <cdr:to>
      <cdr:x>0.70012</cdr:x>
      <cdr:y>0.22321</cdr:y>
    </cdr:to>
    <cdr:sp macro="" textlink="">
      <cdr:nvSpPr>
        <cdr:cNvPr id="5" name="Rectangle 4">
          <a:extLst xmlns:a="http://schemas.openxmlformats.org/drawingml/2006/main">
            <a:ext uri="{FF2B5EF4-FFF2-40B4-BE49-F238E27FC236}">
              <a16:creationId xmlns:a16="http://schemas.microsoft.com/office/drawing/2014/main" id="{89FEBFED-6F00-40D8-99B7-722893AD7DE3}"/>
            </a:ext>
          </a:extLst>
        </cdr:cNvPr>
        <cdr:cNvSpPr/>
      </cdr:nvSpPr>
      <cdr:spPr>
        <a:xfrm xmlns:a="http://schemas.openxmlformats.org/drawingml/2006/main">
          <a:off x="3578396" y="42306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7333</cdr:x>
      <cdr:y>0.12149</cdr:y>
    </cdr:from>
    <cdr:to>
      <cdr:x>0.79486</cdr:x>
      <cdr:y>0.20522</cdr:y>
    </cdr:to>
    <cdr:sp macro="" textlink="">
      <cdr:nvSpPr>
        <cdr:cNvPr id="6" name="Rectangle 5">
          <a:extLst xmlns:a="http://schemas.openxmlformats.org/drawingml/2006/main">
            <a:ext uri="{FF2B5EF4-FFF2-40B4-BE49-F238E27FC236}">
              <a16:creationId xmlns:a16="http://schemas.microsoft.com/office/drawing/2014/main" id="{D601300B-8D2E-4ADD-8CC8-B28AE63C41AF}"/>
            </a:ext>
          </a:extLst>
        </cdr:cNvPr>
        <cdr:cNvSpPr/>
      </cdr:nvSpPr>
      <cdr:spPr>
        <a:xfrm xmlns:a="http://schemas.openxmlformats.org/drawingml/2006/main">
          <a:off x="4109329" y="368481"/>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82483</cdr:x>
      <cdr:y>0.12149</cdr:y>
    </cdr:from>
    <cdr:to>
      <cdr:x>0.88639</cdr:x>
      <cdr:y>0.20522</cdr:y>
    </cdr:to>
    <cdr:sp macro="" textlink="">
      <cdr:nvSpPr>
        <cdr:cNvPr id="7" name="Rectangle 6">
          <a:extLst xmlns:a="http://schemas.openxmlformats.org/drawingml/2006/main">
            <a:ext uri="{FF2B5EF4-FFF2-40B4-BE49-F238E27FC236}">
              <a16:creationId xmlns:a16="http://schemas.microsoft.com/office/drawing/2014/main" id="{FC803AAA-8B2D-4D62-B928-3A35D90D3C22}"/>
            </a:ext>
          </a:extLst>
        </cdr:cNvPr>
        <cdr:cNvSpPr/>
      </cdr:nvSpPr>
      <cdr:spPr>
        <a:xfrm xmlns:a="http://schemas.openxmlformats.org/drawingml/2006/main">
          <a:off x="4622230" y="368481"/>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92298</cdr:x>
      <cdr:y>0.10165</cdr:y>
    </cdr:from>
    <cdr:to>
      <cdr:x>0.98454</cdr:x>
      <cdr:y>0.18537</cdr:y>
    </cdr:to>
    <cdr:sp macro="" textlink="">
      <cdr:nvSpPr>
        <cdr:cNvPr id="8" name="Rectangle 7">
          <a:extLst xmlns:a="http://schemas.openxmlformats.org/drawingml/2006/main">
            <a:ext uri="{FF2B5EF4-FFF2-40B4-BE49-F238E27FC236}">
              <a16:creationId xmlns:a16="http://schemas.microsoft.com/office/drawing/2014/main" id="{743A43E8-221D-4EE8-9096-A3FC2DE69F12}"/>
            </a:ext>
          </a:extLst>
        </cdr:cNvPr>
        <cdr:cNvSpPr/>
      </cdr:nvSpPr>
      <cdr:spPr>
        <a:xfrm xmlns:a="http://schemas.openxmlformats.org/drawingml/2006/main">
          <a:off x="5172246" y="30830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25673</cdr:x>
      <cdr:y>0.24789</cdr:y>
    </cdr:from>
    <cdr:to>
      <cdr:x>0.31829</cdr:x>
      <cdr:y>0.33161</cdr:y>
    </cdr:to>
    <cdr:sp macro="" textlink="">
      <cdr:nvSpPr>
        <cdr:cNvPr id="9" name="Rectangle 8">
          <a:extLst xmlns:a="http://schemas.openxmlformats.org/drawingml/2006/main">
            <a:ext uri="{FF2B5EF4-FFF2-40B4-BE49-F238E27FC236}">
              <a16:creationId xmlns:a16="http://schemas.microsoft.com/office/drawing/2014/main" id="{DE9100E9-844D-4E1A-AD6C-F1BBE721A047}"/>
            </a:ext>
          </a:extLst>
        </cdr:cNvPr>
        <cdr:cNvSpPr/>
      </cdr:nvSpPr>
      <cdr:spPr>
        <a:xfrm xmlns:a="http://schemas.openxmlformats.org/drawingml/2006/main">
          <a:off x="1438687" y="751830"/>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16385</cdr:x>
      <cdr:y>0.27696</cdr:y>
    </cdr:from>
    <cdr:to>
      <cdr:x>0.22541</cdr:x>
      <cdr:y>0.36068</cdr:y>
    </cdr:to>
    <cdr:sp macro="" textlink="">
      <cdr:nvSpPr>
        <cdr:cNvPr id="10" name="Rectangle 9">
          <a:extLst xmlns:a="http://schemas.openxmlformats.org/drawingml/2006/main">
            <a:ext uri="{FF2B5EF4-FFF2-40B4-BE49-F238E27FC236}">
              <a16:creationId xmlns:a16="http://schemas.microsoft.com/office/drawing/2014/main" id="{DE9100E9-844D-4E1A-AD6C-F1BBE721A047}"/>
            </a:ext>
          </a:extLst>
        </cdr:cNvPr>
        <cdr:cNvSpPr/>
      </cdr:nvSpPr>
      <cdr:spPr>
        <a:xfrm xmlns:a="http://schemas.openxmlformats.org/drawingml/2006/main">
          <a:off x="918183" y="839982"/>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07406</cdr:x>
      <cdr:y>0.29671</cdr:y>
    </cdr:from>
    <cdr:to>
      <cdr:x>0.13561</cdr:x>
      <cdr:y>0.38043</cdr:y>
    </cdr:to>
    <cdr:sp macro="" textlink="">
      <cdr:nvSpPr>
        <cdr:cNvPr id="11" name="Rectangle 10">
          <a:extLst xmlns:a="http://schemas.openxmlformats.org/drawingml/2006/main">
            <a:ext uri="{FF2B5EF4-FFF2-40B4-BE49-F238E27FC236}">
              <a16:creationId xmlns:a16="http://schemas.microsoft.com/office/drawing/2014/main" id="{95591815-C4D3-40A6-9595-CC5385E27104}"/>
            </a:ext>
          </a:extLst>
        </cdr:cNvPr>
        <cdr:cNvSpPr/>
      </cdr:nvSpPr>
      <cdr:spPr>
        <a:xfrm xmlns:a="http://schemas.openxmlformats.org/drawingml/2006/main">
          <a:off x="414997" y="89988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userShapes>
</file>

<file path=ppt/drawings/drawing2.xml><?xml version="1.0" encoding="utf-8"?>
<c:userShapes xmlns:c="http://schemas.openxmlformats.org/drawingml/2006/chart">
  <cdr:relSizeAnchor xmlns:cdr="http://schemas.openxmlformats.org/drawingml/2006/chartDrawing">
    <cdr:from>
      <cdr:x>0.3531</cdr:x>
      <cdr:y>0.22767</cdr:y>
    </cdr:from>
    <cdr:to>
      <cdr:x>0.41466</cdr:x>
      <cdr:y>0.31139</cdr:y>
    </cdr:to>
    <cdr:sp macro="" textlink="">
      <cdr:nvSpPr>
        <cdr:cNvPr id="2" name="Rectangle 1">
          <a:extLst xmlns:a="http://schemas.openxmlformats.org/drawingml/2006/main">
            <a:ext uri="{FF2B5EF4-FFF2-40B4-BE49-F238E27FC236}">
              <a16:creationId xmlns:a16="http://schemas.microsoft.com/office/drawing/2014/main" id="{AD59D502-4B95-4A55-BDE5-CDC7D434E998}"/>
            </a:ext>
          </a:extLst>
        </cdr:cNvPr>
        <cdr:cNvSpPr/>
      </cdr:nvSpPr>
      <cdr:spPr>
        <a:xfrm xmlns:a="http://schemas.openxmlformats.org/drawingml/2006/main">
          <a:off x="1978730" y="690506"/>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45362</cdr:x>
      <cdr:y>0.19052</cdr:y>
    </cdr:from>
    <cdr:to>
      <cdr:x>0.51517</cdr:x>
      <cdr:y>0.27424</cdr:y>
    </cdr:to>
    <cdr:sp macro="" textlink="">
      <cdr:nvSpPr>
        <cdr:cNvPr id="3" name="Rectangle 2">
          <a:extLst xmlns:a="http://schemas.openxmlformats.org/drawingml/2006/main">
            <a:ext uri="{FF2B5EF4-FFF2-40B4-BE49-F238E27FC236}">
              <a16:creationId xmlns:a16="http://schemas.microsoft.com/office/drawing/2014/main" id="{8B3EE1CD-1E07-4267-9F81-878B44B8A0A2}"/>
            </a:ext>
          </a:extLst>
        </cdr:cNvPr>
        <cdr:cNvSpPr/>
      </cdr:nvSpPr>
      <cdr:spPr>
        <a:xfrm xmlns:a="http://schemas.openxmlformats.org/drawingml/2006/main">
          <a:off x="2542002" y="577838"/>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54705</cdr:x>
      <cdr:y>0.15767</cdr:y>
    </cdr:from>
    <cdr:to>
      <cdr:x>0.60861</cdr:x>
      <cdr:y>0.24139</cdr:y>
    </cdr:to>
    <cdr:sp macro="" textlink="">
      <cdr:nvSpPr>
        <cdr:cNvPr id="4" name="Rectangle 3">
          <a:extLst xmlns:a="http://schemas.openxmlformats.org/drawingml/2006/main">
            <a:ext uri="{FF2B5EF4-FFF2-40B4-BE49-F238E27FC236}">
              <a16:creationId xmlns:a16="http://schemas.microsoft.com/office/drawing/2014/main" id="{8B3EE1CD-1E07-4267-9F81-878B44B8A0A2}"/>
            </a:ext>
          </a:extLst>
        </cdr:cNvPr>
        <cdr:cNvSpPr/>
      </cdr:nvSpPr>
      <cdr:spPr>
        <a:xfrm xmlns:a="http://schemas.openxmlformats.org/drawingml/2006/main">
          <a:off x="3065613" y="478205"/>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63856</cdr:x>
      <cdr:y>0.13949</cdr:y>
    </cdr:from>
    <cdr:to>
      <cdr:x>0.70012</cdr:x>
      <cdr:y>0.22321</cdr:y>
    </cdr:to>
    <cdr:sp macro="" textlink="">
      <cdr:nvSpPr>
        <cdr:cNvPr id="5" name="Rectangle 4">
          <a:extLst xmlns:a="http://schemas.openxmlformats.org/drawingml/2006/main">
            <a:ext uri="{FF2B5EF4-FFF2-40B4-BE49-F238E27FC236}">
              <a16:creationId xmlns:a16="http://schemas.microsoft.com/office/drawing/2014/main" id="{89FEBFED-6F00-40D8-99B7-722893AD7DE3}"/>
            </a:ext>
          </a:extLst>
        </cdr:cNvPr>
        <cdr:cNvSpPr/>
      </cdr:nvSpPr>
      <cdr:spPr>
        <a:xfrm xmlns:a="http://schemas.openxmlformats.org/drawingml/2006/main">
          <a:off x="3578396" y="42306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7333</cdr:x>
      <cdr:y>0.12149</cdr:y>
    </cdr:from>
    <cdr:to>
      <cdr:x>0.79486</cdr:x>
      <cdr:y>0.20522</cdr:y>
    </cdr:to>
    <cdr:sp macro="" textlink="">
      <cdr:nvSpPr>
        <cdr:cNvPr id="6" name="Rectangle 5">
          <a:extLst xmlns:a="http://schemas.openxmlformats.org/drawingml/2006/main">
            <a:ext uri="{FF2B5EF4-FFF2-40B4-BE49-F238E27FC236}">
              <a16:creationId xmlns:a16="http://schemas.microsoft.com/office/drawing/2014/main" id="{D601300B-8D2E-4ADD-8CC8-B28AE63C41AF}"/>
            </a:ext>
          </a:extLst>
        </cdr:cNvPr>
        <cdr:cNvSpPr/>
      </cdr:nvSpPr>
      <cdr:spPr>
        <a:xfrm xmlns:a="http://schemas.openxmlformats.org/drawingml/2006/main">
          <a:off x="4109329" y="368481"/>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82483</cdr:x>
      <cdr:y>0.12149</cdr:y>
    </cdr:from>
    <cdr:to>
      <cdr:x>0.88639</cdr:x>
      <cdr:y>0.20522</cdr:y>
    </cdr:to>
    <cdr:sp macro="" textlink="">
      <cdr:nvSpPr>
        <cdr:cNvPr id="7" name="Rectangle 6">
          <a:extLst xmlns:a="http://schemas.openxmlformats.org/drawingml/2006/main">
            <a:ext uri="{FF2B5EF4-FFF2-40B4-BE49-F238E27FC236}">
              <a16:creationId xmlns:a16="http://schemas.microsoft.com/office/drawing/2014/main" id="{FC803AAA-8B2D-4D62-B928-3A35D90D3C22}"/>
            </a:ext>
          </a:extLst>
        </cdr:cNvPr>
        <cdr:cNvSpPr/>
      </cdr:nvSpPr>
      <cdr:spPr>
        <a:xfrm xmlns:a="http://schemas.openxmlformats.org/drawingml/2006/main">
          <a:off x="4622230" y="368481"/>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92298</cdr:x>
      <cdr:y>0.10165</cdr:y>
    </cdr:from>
    <cdr:to>
      <cdr:x>0.98454</cdr:x>
      <cdr:y>0.18537</cdr:y>
    </cdr:to>
    <cdr:sp macro="" textlink="">
      <cdr:nvSpPr>
        <cdr:cNvPr id="8" name="Rectangle 7">
          <a:extLst xmlns:a="http://schemas.openxmlformats.org/drawingml/2006/main">
            <a:ext uri="{FF2B5EF4-FFF2-40B4-BE49-F238E27FC236}">
              <a16:creationId xmlns:a16="http://schemas.microsoft.com/office/drawing/2014/main" id="{743A43E8-221D-4EE8-9096-A3FC2DE69F12}"/>
            </a:ext>
          </a:extLst>
        </cdr:cNvPr>
        <cdr:cNvSpPr/>
      </cdr:nvSpPr>
      <cdr:spPr>
        <a:xfrm xmlns:a="http://schemas.openxmlformats.org/drawingml/2006/main">
          <a:off x="5172246" y="30830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25673</cdr:x>
      <cdr:y>0.24789</cdr:y>
    </cdr:from>
    <cdr:to>
      <cdr:x>0.31829</cdr:x>
      <cdr:y>0.33161</cdr:y>
    </cdr:to>
    <cdr:sp macro="" textlink="">
      <cdr:nvSpPr>
        <cdr:cNvPr id="9" name="Rectangle 8">
          <a:extLst xmlns:a="http://schemas.openxmlformats.org/drawingml/2006/main">
            <a:ext uri="{FF2B5EF4-FFF2-40B4-BE49-F238E27FC236}">
              <a16:creationId xmlns:a16="http://schemas.microsoft.com/office/drawing/2014/main" id="{DE9100E9-844D-4E1A-AD6C-F1BBE721A047}"/>
            </a:ext>
          </a:extLst>
        </cdr:cNvPr>
        <cdr:cNvSpPr/>
      </cdr:nvSpPr>
      <cdr:spPr>
        <a:xfrm xmlns:a="http://schemas.openxmlformats.org/drawingml/2006/main">
          <a:off x="1438687" y="751830"/>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16385</cdr:x>
      <cdr:y>0.27696</cdr:y>
    </cdr:from>
    <cdr:to>
      <cdr:x>0.22541</cdr:x>
      <cdr:y>0.36068</cdr:y>
    </cdr:to>
    <cdr:sp macro="" textlink="">
      <cdr:nvSpPr>
        <cdr:cNvPr id="10" name="Rectangle 9">
          <a:extLst xmlns:a="http://schemas.openxmlformats.org/drawingml/2006/main">
            <a:ext uri="{FF2B5EF4-FFF2-40B4-BE49-F238E27FC236}">
              <a16:creationId xmlns:a16="http://schemas.microsoft.com/office/drawing/2014/main" id="{DE9100E9-844D-4E1A-AD6C-F1BBE721A047}"/>
            </a:ext>
          </a:extLst>
        </cdr:cNvPr>
        <cdr:cNvSpPr/>
      </cdr:nvSpPr>
      <cdr:spPr>
        <a:xfrm xmlns:a="http://schemas.openxmlformats.org/drawingml/2006/main">
          <a:off x="918183" y="839982"/>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dr:relSizeAnchor xmlns:cdr="http://schemas.openxmlformats.org/drawingml/2006/chartDrawing">
    <cdr:from>
      <cdr:x>0.07406</cdr:x>
      <cdr:y>0.29671</cdr:y>
    </cdr:from>
    <cdr:to>
      <cdr:x>0.13561</cdr:x>
      <cdr:y>0.38043</cdr:y>
    </cdr:to>
    <cdr:sp macro="" textlink="">
      <cdr:nvSpPr>
        <cdr:cNvPr id="11" name="Rectangle 10">
          <a:extLst xmlns:a="http://schemas.openxmlformats.org/drawingml/2006/main">
            <a:ext uri="{FF2B5EF4-FFF2-40B4-BE49-F238E27FC236}">
              <a16:creationId xmlns:a16="http://schemas.microsoft.com/office/drawing/2014/main" id="{95591815-C4D3-40A6-9595-CC5385E27104}"/>
            </a:ext>
          </a:extLst>
        </cdr:cNvPr>
        <cdr:cNvSpPr/>
      </cdr:nvSpPr>
      <cdr:spPr>
        <a:xfrm xmlns:a="http://schemas.openxmlformats.org/drawingml/2006/main">
          <a:off x="414997" y="899884"/>
          <a:ext cx="344966" cy="253916"/>
        </a:xfrm>
        <a:prstGeom xmlns:a="http://schemas.openxmlformats.org/drawingml/2006/main" prst="rect">
          <a:avLst/>
        </a:prstGeom>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t>XX</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67A0158-B56B-40F9-AEB1-55D8CDDC8D7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91558A7D-B7F6-4C16-AD4E-4BAF58A7883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FC17EBB-C27F-4A2B-8DB5-D3A172541B5B}" type="datetimeFigureOut">
              <a:rPr lang="en-IN" smtClean="0"/>
              <a:t>06-05-2021</a:t>
            </a:fld>
            <a:endParaRPr lang="en-IN" dirty="0"/>
          </a:p>
        </p:txBody>
      </p:sp>
      <p:sp>
        <p:nvSpPr>
          <p:cNvPr id="4" name="Footer Placeholder 3">
            <a:extLst>
              <a:ext uri="{FF2B5EF4-FFF2-40B4-BE49-F238E27FC236}">
                <a16:creationId xmlns:a16="http://schemas.microsoft.com/office/drawing/2014/main" id="{71188B5C-29D3-4CCA-A126-1D2A94AD2A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2BE61D75-7BC2-4A67-ADCF-7BE562E1514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D1F200-D496-4E3C-90E9-398402ED8482}" type="slidenum">
              <a:rPr lang="en-IN" smtClean="0"/>
              <a:t>‹#›</a:t>
            </a:fld>
            <a:endParaRPr lang="en-IN" dirty="0"/>
          </a:p>
        </p:txBody>
      </p:sp>
    </p:spTree>
    <p:extLst>
      <p:ext uri="{BB962C8B-B14F-4D97-AF65-F5344CB8AC3E}">
        <p14:creationId xmlns:p14="http://schemas.microsoft.com/office/powerpoint/2010/main" val="1831100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5A0A2D-439C-4A3E-91E0-C05BF051DD51}" type="datetimeFigureOut">
              <a:rPr lang="en-US" smtClean="0"/>
              <a:t>5/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5B119E-D5E1-47B3-B8F1-0A8EAD76CB30}" type="slidenum">
              <a:rPr lang="en-US" smtClean="0"/>
              <a:t>‹#›</a:t>
            </a:fld>
            <a:endParaRPr lang="en-US" dirty="0"/>
          </a:p>
        </p:txBody>
      </p:sp>
    </p:spTree>
    <p:extLst>
      <p:ext uri="{BB962C8B-B14F-4D97-AF65-F5344CB8AC3E}">
        <p14:creationId xmlns:p14="http://schemas.microsoft.com/office/powerpoint/2010/main" val="120483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a:t>
            </a:fld>
            <a:endParaRPr lang="fr-FR" dirty="0"/>
          </a:p>
        </p:txBody>
      </p:sp>
    </p:spTree>
    <p:extLst>
      <p:ext uri="{BB962C8B-B14F-4D97-AF65-F5344CB8AC3E}">
        <p14:creationId xmlns:p14="http://schemas.microsoft.com/office/powerpoint/2010/main" val="2973019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F16A5-7276-4C16-ADA6-DD4E00BC54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193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6</a:t>
            </a:fld>
            <a:endParaRPr lang="fr-FR" dirty="0"/>
          </a:p>
        </p:txBody>
      </p:sp>
    </p:spTree>
    <p:extLst>
      <p:ext uri="{BB962C8B-B14F-4D97-AF65-F5344CB8AC3E}">
        <p14:creationId xmlns:p14="http://schemas.microsoft.com/office/powerpoint/2010/main" val="2908625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7</a:t>
            </a:fld>
            <a:endParaRPr lang="fr-FR" dirty="0"/>
          </a:p>
        </p:txBody>
      </p:sp>
    </p:spTree>
    <p:extLst>
      <p:ext uri="{BB962C8B-B14F-4D97-AF65-F5344CB8AC3E}">
        <p14:creationId xmlns:p14="http://schemas.microsoft.com/office/powerpoint/2010/main" val="440159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8</a:t>
            </a:fld>
            <a:endParaRPr lang="fr-FR" dirty="0"/>
          </a:p>
        </p:txBody>
      </p:sp>
    </p:spTree>
    <p:extLst>
      <p:ext uri="{BB962C8B-B14F-4D97-AF65-F5344CB8AC3E}">
        <p14:creationId xmlns:p14="http://schemas.microsoft.com/office/powerpoint/2010/main" val="3301684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9</a:t>
            </a:fld>
            <a:endParaRPr lang="fr-FR" dirty="0"/>
          </a:p>
        </p:txBody>
      </p:sp>
    </p:spTree>
    <p:extLst>
      <p:ext uri="{BB962C8B-B14F-4D97-AF65-F5344CB8AC3E}">
        <p14:creationId xmlns:p14="http://schemas.microsoft.com/office/powerpoint/2010/main" val="3878581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45B119E-D5E1-47B3-B8F1-0A8EAD76CB30}" type="slidenum">
              <a:rPr lang="en-US" smtClean="0"/>
              <a:t>3</a:t>
            </a:fld>
            <a:endParaRPr lang="en-US" dirty="0"/>
          </a:p>
        </p:txBody>
      </p:sp>
    </p:spTree>
    <p:extLst>
      <p:ext uri="{BB962C8B-B14F-4D97-AF65-F5344CB8AC3E}">
        <p14:creationId xmlns:p14="http://schemas.microsoft.com/office/powerpoint/2010/main" val="3867874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845B119E-D5E1-47B3-B8F1-0A8EAD76CB30}" type="slidenum">
              <a:rPr lang="en-US" smtClean="0"/>
              <a:t>4</a:t>
            </a:fld>
            <a:endParaRPr lang="en-US" dirty="0"/>
          </a:p>
        </p:txBody>
      </p:sp>
    </p:spTree>
    <p:extLst>
      <p:ext uri="{BB962C8B-B14F-4D97-AF65-F5344CB8AC3E}">
        <p14:creationId xmlns:p14="http://schemas.microsoft.com/office/powerpoint/2010/main" val="2696040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F16A5-7276-4C16-ADA6-DD4E00BC54D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023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F16A5-7276-4C16-ADA6-DD4E00BC54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4968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F16A5-7276-4C16-ADA6-DD4E00BC54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635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AF16A5-7276-4C16-ADA6-DD4E00BC54D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907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15</a:t>
            </a:fld>
            <a:endParaRPr lang="fr-FR" dirty="0"/>
          </a:p>
        </p:txBody>
      </p:sp>
    </p:spTree>
    <p:extLst>
      <p:ext uri="{BB962C8B-B14F-4D97-AF65-F5344CB8AC3E}">
        <p14:creationId xmlns:p14="http://schemas.microsoft.com/office/powerpoint/2010/main" val="1568340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AF16A5-7276-4C16-ADA6-DD4E00BC54D3}" type="slidenum">
              <a:rPr lang="fr-FR" smtClean="0"/>
              <a:t>20</a:t>
            </a:fld>
            <a:endParaRPr lang="fr-FR" dirty="0"/>
          </a:p>
        </p:txBody>
      </p:sp>
    </p:spTree>
    <p:extLst>
      <p:ext uri="{BB962C8B-B14F-4D97-AF65-F5344CB8AC3E}">
        <p14:creationId xmlns:p14="http://schemas.microsoft.com/office/powerpoint/2010/main" val="1684649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B8623DEA-5F12-4718-AD07-A53A96D44FD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5" name="Freeform: Shape 4">
            <a:extLst>
              <a:ext uri="{FF2B5EF4-FFF2-40B4-BE49-F238E27FC236}">
                <a16:creationId xmlns:a16="http://schemas.microsoft.com/office/drawing/2014/main" id="{230055E9-8BF8-4C30-B12E-E7B71F198E40}"/>
              </a:ext>
            </a:extLst>
          </p:cNvPr>
          <p:cNvSpPr/>
          <p:nvPr userDrawn="1"/>
        </p:nvSpPr>
        <p:spPr>
          <a:xfrm flipH="1">
            <a:off x="-5" y="0"/>
            <a:ext cx="12013212" cy="6858000"/>
          </a:xfrm>
          <a:custGeom>
            <a:avLst/>
            <a:gdLst>
              <a:gd name="connsiteX0" fmla="*/ 12013212 w 12013212"/>
              <a:gd name="connsiteY0" fmla="*/ 0 h 6858000"/>
              <a:gd name="connsiteX1" fmla="*/ 4280886 w 12013212"/>
              <a:gd name="connsiteY1" fmla="*/ 0 h 6858000"/>
              <a:gd name="connsiteX2" fmla="*/ 2713398 w 12013212"/>
              <a:gd name="connsiteY2" fmla="*/ 2524541 h 6858000"/>
              <a:gd name="connsiteX3" fmla="*/ 1066061 w 12013212"/>
              <a:gd name="connsiteY3" fmla="*/ 0 h 6858000"/>
              <a:gd name="connsiteX4" fmla="*/ 943898 w 12013212"/>
              <a:gd name="connsiteY4" fmla="*/ 0 h 6858000"/>
              <a:gd name="connsiteX5" fmla="*/ 2654269 w 12013212"/>
              <a:gd name="connsiteY5" fmla="*/ 2619772 h 6858000"/>
              <a:gd name="connsiteX6" fmla="*/ 464645 w 12013212"/>
              <a:gd name="connsiteY6" fmla="*/ 6146305 h 6858000"/>
              <a:gd name="connsiteX7" fmla="*/ 0 w 12013212"/>
              <a:gd name="connsiteY7" fmla="*/ 6858000 h 6858000"/>
              <a:gd name="connsiteX8" fmla="*/ 12013212 w 12013212"/>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13212" h="6858000">
                <a:moveTo>
                  <a:pt x="12013212" y="0"/>
                </a:moveTo>
                <a:lnTo>
                  <a:pt x="4280886" y="0"/>
                </a:lnTo>
                <a:lnTo>
                  <a:pt x="2713398" y="2524541"/>
                </a:lnTo>
                <a:lnTo>
                  <a:pt x="1066061" y="0"/>
                </a:lnTo>
                <a:lnTo>
                  <a:pt x="943898" y="0"/>
                </a:lnTo>
                <a:lnTo>
                  <a:pt x="2654269" y="2619772"/>
                </a:lnTo>
                <a:lnTo>
                  <a:pt x="464645" y="6146305"/>
                </a:lnTo>
                <a:lnTo>
                  <a:pt x="0" y="6858000"/>
                </a:lnTo>
                <a:lnTo>
                  <a:pt x="12013212" y="6858000"/>
                </a:lnTo>
                <a:close/>
              </a:path>
            </a:pathLst>
          </a:cu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aphicFrame>
        <p:nvGraphicFramePr>
          <p:cNvPr id="11" name="Object 10" hidden="1">
            <a:extLst>
              <a:ext uri="{FF2B5EF4-FFF2-40B4-BE49-F238E27FC236}">
                <a16:creationId xmlns:a16="http://schemas.microsoft.com/office/drawing/2014/main" id="{4C12CA01-79E6-416C-BB26-4640D97797C4}"/>
              </a:ext>
            </a:extLst>
          </p:cNvPr>
          <p:cNvGraphicFramePr>
            <a:graphicFrameLocks noChangeAspect="1"/>
          </p:cNvGraphicFramePr>
          <p:nvPr userDrawn="1">
            <p:custDataLst>
              <p:tags r:id="rId1"/>
            </p:custDataLst>
            <p:extLst>
              <p:ext uri="{D42A27DB-BD31-4B8C-83A1-F6EECF244321}">
                <p14:modId xmlns:p14="http://schemas.microsoft.com/office/powerpoint/2010/main" val="1530262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11" name="Object 10" hidden="1">
                        <a:extLst>
                          <a:ext uri="{FF2B5EF4-FFF2-40B4-BE49-F238E27FC236}">
                            <a16:creationId xmlns:a16="http://schemas.microsoft.com/office/drawing/2014/main" id="{4C12CA01-79E6-416C-BB26-4640D97797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4BF2B2-6044-4FBF-A1C8-3540649C90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Lato" panose="020F0502020204030203" pitchFamily="34" charset="0"/>
              <a:ea typeface="+mj-ea"/>
              <a:cs typeface="+mj-cs"/>
              <a:sym typeface="Lato" panose="020F0502020204030203" pitchFamily="34" charset="0"/>
            </a:endParaRPr>
          </a:p>
        </p:txBody>
      </p:sp>
      <p:sp>
        <p:nvSpPr>
          <p:cNvPr id="6" name="Freeform: Shape 5">
            <a:extLst>
              <a:ext uri="{FF2B5EF4-FFF2-40B4-BE49-F238E27FC236}">
                <a16:creationId xmlns:a16="http://schemas.microsoft.com/office/drawing/2014/main" id="{5E108BFE-93DB-4D8D-8CF1-F35D58D4C0DA}"/>
              </a:ext>
            </a:extLst>
          </p:cNvPr>
          <p:cNvSpPr/>
          <p:nvPr userDrawn="1"/>
        </p:nvSpPr>
        <p:spPr>
          <a:xfrm>
            <a:off x="9358938" y="0"/>
            <a:ext cx="2833062" cy="6858000"/>
          </a:xfrm>
          <a:custGeom>
            <a:avLst/>
            <a:gdLst>
              <a:gd name="connsiteX0" fmla="*/ 1710371 w 2833062"/>
              <a:gd name="connsiteY0" fmla="*/ 0 h 6858000"/>
              <a:gd name="connsiteX1" fmla="*/ 2833062 w 2833062"/>
              <a:gd name="connsiteY1" fmla="*/ 0 h 6858000"/>
              <a:gd name="connsiteX2" fmla="*/ 2833062 w 2833062"/>
              <a:gd name="connsiteY2" fmla="*/ 6858000 h 6858000"/>
              <a:gd name="connsiteX3" fmla="*/ 2654269 w 2833062"/>
              <a:gd name="connsiteY3" fmla="*/ 6858000 h 6858000"/>
              <a:gd name="connsiteX4" fmla="*/ 2189624 w 2833062"/>
              <a:gd name="connsiteY4" fmla="*/ 6146305 h 6858000"/>
              <a:gd name="connsiteX5" fmla="*/ 0 w 2833062"/>
              <a:gd name="connsiteY5" fmla="*/ 2619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062" h="6858000">
                <a:moveTo>
                  <a:pt x="1710371" y="0"/>
                </a:moveTo>
                <a:lnTo>
                  <a:pt x="2833062" y="0"/>
                </a:lnTo>
                <a:lnTo>
                  <a:pt x="2833062" y="6858000"/>
                </a:lnTo>
                <a:lnTo>
                  <a:pt x="2654269" y="6858000"/>
                </a:lnTo>
                <a:lnTo>
                  <a:pt x="2189624" y="6146305"/>
                </a:lnTo>
                <a:lnTo>
                  <a:pt x="0" y="2619772"/>
                </a:lnTo>
                <a:close/>
              </a:path>
            </a:pathLst>
          </a:cu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 name="Freeform: Shape 6">
            <a:extLst>
              <a:ext uri="{FF2B5EF4-FFF2-40B4-BE49-F238E27FC236}">
                <a16:creationId xmlns:a16="http://schemas.microsoft.com/office/drawing/2014/main" id="{336D1F17-30D8-4822-A0B3-8EBD556B2BBF}"/>
              </a:ext>
            </a:extLst>
          </p:cNvPr>
          <p:cNvSpPr/>
          <p:nvPr userDrawn="1"/>
        </p:nvSpPr>
        <p:spPr>
          <a:xfrm flipH="1" flipV="1">
            <a:off x="7732321"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reeform: Shape 7">
            <a:extLst>
              <a:ext uri="{FF2B5EF4-FFF2-40B4-BE49-F238E27FC236}">
                <a16:creationId xmlns:a16="http://schemas.microsoft.com/office/drawing/2014/main" id="{5B7E3958-3D83-423D-A4E7-D257D1ABF78B}"/>
              </a:ext>
            </a:extLst>
          </p:cNvPr>
          <p:cNvSpPr/>
          <p:nvPr userDrawn="1"/>
        </p:nvSpPr>
        <p:spPr>
          <a:xfrm flipH="1">
            <a:off x="-4" y="0"/>
            <a:ext cx="3389181" cy="1569948"/>
          </a:xfrm>
          <a:custGeom>
            <a:avLst/>
            <a:gdLst>
              <a:gd name="connsiteX0" fmla="*/ 3389181 w 3389181"/>
              <a:gd name="connsiteY0" fmla="*/ 0 h 1569948"/>
              <a:gd name="connsiteX1" fmla="*/ 974781 w 3389181"/>
              <a:gd name="connsiteY1" fmla="*/ 0 h 1569948"/>
              <a:gd name="connsiteX2" fmla="*/ 0 w 3389181"/>
              <a:gd name="connsiteY2" fmla="*/ 1569948 h 1569948"/>
              <a:gd name="connsiteX3" fmla="*/ 2846403 w 3389181"/>
              <a:gd name="connsiteY3" fmla="*/ 1569948 h 1569948"/>
              <a:gd name="connsiteX4" fmla="*/ 3389181 w 3389181"/>
              <a:gd name="connsiteY4" fmla="*/ 695768 h 1569948"/>
              <a:gd name="connsiteX5" fmla="*/ 3389181 w 3389181"/>
              <a:gd name="connsiteY5" fmla="*/ 0 h 156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9181" h="1569948">
                <a:moveTo>
                  <a:pt x="3389181" y="0"/>
                </a:moveTo>
                <a:lnTo>
                  <a:pt x="974781" y="0"/>
                </a:lnTo>
                <a:lnTo>
                  <a:pt x="0" y="1569948"/>
                </a:lnTo>
                <a:lnTo>
                  <a:pt x="2846403" y="1569948"/>
                </a:lnTo>
                <a:lnTo>
                  <a:pt x="3389181" y="695768"/>
                </a:lnTo>
                <a:lnTo>
                  <a:pt x="3389181" y="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Freeform: Shape 8">
            <a:extLst>
              <a:ext uri="{FF2B5EF4-FFF2-40B4-BE49-F238E27FC236}">
                <a16:creationId xmlns:a16="http://schemas.microsoft.com/office/drawing/2014/main" id="{1E0C063A-B791-42D4-9197-1787EA0031A2}"/>
              </a:ext>
            </a:extLst>
          </p:cNvPr>
          <p:cNvSpPr/>
          <p:nvPr userDrawn="1"/>
        </p:nvSpPr>
        <p:spPr>
          <a:xfrm flipH="1">
            <a:off x="2730051" y="5092700"/>
            <a:ext cx="3942477" cy="1765300"/>
          </a:xfrm>
          <a:custGeom>
            <a:avLst/>
            <a:gdLst>
              <a:gd name="connsiteX0" fmla="*/ 3942477 w 3942477"/>
              <a:gd name="connsiteY0" fmla="*/ 0 h 1765300"/>
              <a:gd name="connsiteX1" fmla="*/ 1096075 w 3942477"/>
              <a:gd name="connsiteY1" fmla="*/ 0 h 1765300"/>
              <a:gd name="connsiteX2" fmla="*/ 0 w 3942477"/>
              <a:gd name="connsiteY2" fmla="*/ 1765300 h 1765300"/>
              <a:gd name="connsiteX3" fmla="*/ 2846402 w 3942477"/>
              <a:gd name="connsiteY3" fmla="*/ 1765300 h 1765300"/>
              <a:gd name="connsiteX4" fmla="*/ 3942477 w 3942477"/>
              <a:gd name="connsiteY4" fmla="*/ 0 h 176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477" h="1765300">
                <a:moveTo>
                  <a:pt x="3942477" y="0"/>
                </a:moveTo>
                <a:lnTo>
                  <a:pt x="1096075" y="0"/>
                </a:lnTo>
                <a:lnTo>
                  <a:pt x="0" y="1765300"/>
                </a:lnTo>
                <a:lnTo>
                  <a:pt x="2846402" y="1765300"/>
                </a:lnTo>
                <a:lnTo>
                  <a:pt x="3942477" y="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Picture 9">
            <a:extLst>
              <a:ext uri="{FF2B5EF4-FFF2-40B4-BE49-F238E27FC236}">
                <a16:creationId xmlns:a16="http://schemas.microsoft.com/office/drawing/2014/main" id="{2941C2B3-D923-47C8-9DA1-4EDB6A5E7DBD}"/>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793166" y="5798095"/>
            <a:ext cx="2855304" cy="356910"/>
          </a:xfrm>
          <a:prstGeom prst="rect">
            <a:avLst/>
          </a:prstGeom>
        </p:spPr>
      </p:pic>
      <p:sp>
        <p:nvSpPr>
          <p:cNvPr id="2" name="Title 1">
            <a:extLst>
              <a:ext uri="{FF2B5EF4-FFF2-40B4-BE49-F238E27FC236}">
                <a16:creationId xmlns:a16="http://schemas.microsoft.com/office/drawing/2014/main" id="{83D8EB92-943C-4502-8FF6-1E35C10B266D}"/>
              </a:ext>
            </a:extLst>
          </p:cNvPr>
          <p:cNvSpPr>
            <a:spLocks noGrp="1"/>
          </p:cNvSpPr>
          <p:nvPr>
            <p:ph type="ctrTitle" hasCustomPrompt="1"/>
          </p:nvPr>
        </p:nvSpPr>
        <p:spPr>
          <a:xfrm>
            <a:off x="671774" y="1721862"/>
            <a:ext cx="7303825" cy="1107996"/>
          </a:xfrm>
        </p:spPr>
        <p:txBody>
          <a:bodyPr wrap="square" lIns="0" tIns="0" rIns="0" bIns="0" anchor="ctr" anchorCtr="0">
            <a:spAutoFit/>
          </a:bodyPr>
          <a:lstStyle>
            <a:lvl1pPr algn="l">
              <a:lnSpc>
                <a:spcPct val="100000"/>
              </a:lnSpc>
              <a:defRPr sz="3600" b="1" cap="all" baseline="0">
                <a:solidFill>
                  <a:schemeClr val="bg1"/>
                </a:solidFill>
              </a:defRPr>
            </a:lvl1pPr>
          </a:lstStyle>
          <a:p>
            <a:r>
              <a:rPr lang="en-US"/>
              <a:t>CLICK TO EDIT MASTER TITLE STYLE</a:t>
            </a:r>
            <a:endParaRPr lang="fr-FR"/>
          </a:p>
        </p:txBody>
      </p:sp>
      <p:sp>
        <p:nvSpPr>
          <p:cNvPr id="13" name="Rectangle 12">
            <a:extLst>
              <a:ext uri="{FF2B5EF4-FFF2-40B4-BE49-F238E27FC236}">
                <a16:creationId xmlns:a16="http://schemas.microsoft.com/office/drawing/2014/main" id="{8871A752-8643-4AD8-B657-EC8F9F1CDC86}"/>
              </a:ext>
            </a:extLst>
          </p:cNvPr>
          <p:cNvSpPr/>
          <p:nvPr userDrawn="1"/>
        </p:nvSpPr>
        <p:spPr>
          <a:xfrm>
            <a:off x="671775" y="4434792"/>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14" name="Rectangle 13">
            <a:extLst>
              <a:ext uri="{FF2B5EF4-FFF2-40B4-BE49-F238E27FC236}">
                <a16:creationId xmlns:a16="http://schemas.microsoft.com/office/drawing/2014/main" id="{7597DEA4-BBDF-40A7-9050-86B91E4CCCEB}"/>
              </a:ext>
            </a:extLst>
          </p:cNvPr>
          <p:cNvSpPr/>
          <p:nvPr userDrawn="1"/>
        </p:nvSpPr>
        <p:spPr>
          <a:xfrm>
            <a:off x="3180824" y="4434792"/>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15" name="Rectangle 14">
            <a:extLst>
              <a:ext uri="{FF2B5EF4-FFF2-40B4-BE49-F238E27FC236}">
                <a16:creationId xmlns:a16="http://schemas.microsoft.com/office/drawing/2014/main" id="{6416FE89-8FE6-4B8A-8B83-84438E274DA9}"/>
              </a:ext>
            </a:extLst>
          </p:cNvPr>
          <p:cNvSpPr/>
          <p:nvPr userDrawn="1"/>
        </p:nvSpPr>
        <p:spPr>
          <a:xfrm>
            <a:off x="5689872" y="4434792"/>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16" name="Text Placeholder 35">
            <a:extLst>
              <a:ext uri="{FF2B5EF4-FFF2-40B4-BE49-F238E27FC236}">
                <a16:creationId xmlns:a16="http://schemas.microsoft.com/office/drawing/2014/main" id="{D649703A-854B-4FAF-8B6A-B70C4199F72F}"/>
              </a:ext>
            </a:extLst>
          </p:cNvPr>
          <p:cNvSpPr>
            <a:spLocks noGrp="1"/>
          </p:cNvSpPr>
          <p:nvPr>
            <p:ph type="body" sz="quarter" idx="17"/>
          </p:nvPr>
        </p:nvSpPr>
        <p:spPr>
          <a:xfrm>
            <a:off x="783107" y="4570170"/>
            <a:ext cx="2063065" cy="166199"/>
          </a:xfrm>
        </p:spPr>
        <p:txBody>
          <a:bodyPr wrap="none"/>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17" name="Text Placeholder 35">
            <a:extLst>
              <a:ext uri="{FF2B5EF4-FFF2-40B4-BE49-F238E27FC236}">
                <a16:creationId xmlns:a16="http://schemas.microsoft.com/office/drawing/2014/main" id="{896A4F24-DA4F-46E6-9A07-07F88FA9644B}"/>
              </a:ext>
            </a:extLst>
          </p:cNvPr>
          <p:cNvSpPr>
            <a:spLocks noGrp="1"/>
          </p:cNvSpPr>
          <p:nvPr>
            <p:ph type="body" sz="quarter" idx="18"/>
          </p:nvPr>
        </p:nvSpPr>
        <p:spPr>
          <a:xfrm>
            <a:off x="3292156" y="4570170"/>
            <a:ext cx="2063065" cy="166199"/>
          </a:xfrm>
        </p:spPr>
        <p:txBody>
          <a:bodyPr wrap="none"/>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18" name="Text Placeholder 35">
            <a:extLst>
              <a:ext uri="{FF2B5EF4-FFF2-40B4-BE49-F238E27FC236}">
                <a16:creationId xmlns:a16="http://schemas.microsoft.com/office/drawing/2014/main" id="{5134423D-1BD7-49DA-8635-5DEA157A2657}"/>
              </a:ext>
            </a:extLst>
          </p:cNvPr>
          <p:cNvSpPr>
            <a:spLocks noGrp="1"/>
          </p:cNvSpPr>
          <p:nvPr>
            <p:ph type="body" sz="quarter" idx="19"/>
          </p:nvPr>
        </p:nvSpPr>
        <p:spPr>
          <a:xfrm>
            <a:off x="5801204" y="4570170"/>
            <a:ext cx="2063065" cy="166199"/>
          </a:xfrm>
        </p:spPr>
        <p:txBody>
          <a:bodyPr wrap="none"/>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19" name="TextBox 18">
            <a:extLst>
              <a:ext uri="{FF2B5EF4-FFF2-40B4-BE49-F238E27FC236}">
                <a16:creationId xmlns:a16="http://schemas.microsoft.com/office/drawing/2014/main" id="{4726D97D-F2EF-4555-9704-3DC0B05EB93F}"/>
              </a:ext>
            </a:extLst>
          </p:cNvPr>
          <p:cNvSpPr txBox="1"/>
          <p:nvPr userDrawn="1"/>
        </p:nvSpPr>
        <p:spPr>
          <a:xfrm>
            <a:off x="671775" y="2969082"/>
            <a:ext cx="7303825" cy="1326487"/>
          </a:xfrm>
          <a:prstGeom prst="rect">
            <a:avLst/>
          </a:prstGeom>
          <a:solidFill>
            <a:schemeClr val="bg1">
              <a:alpha val="19000"/>
            </a:schemeClr>
          </a:solidFill>
          <a:ln>
            <a:noFill/>
          </a:ln>
        </p:spPr>
        <p:txBody>
          <a:bodyPr wrap="square" lIns="167640" tIns="121920" rIns="167640" bIns="121920" rtlCol="0" anchor="ctr">
            <a:noAutofit/>
          </a:bodyPr>
          <a:lstStyle/>
          <a:p>
            <a:pPr>
              <a:spcAft>
                <a:spcPts val="600"/>
              </a:spcAft>
            </a:pPr>
            <a:endParaRPr lang="en-IN" sz="1200" dirty="0">
              <a:solidFill>
                <a:prstClr val="black"/>
              </a:solidFill>
              <a:ea typeface="MS PGothic" panose="020B0600070205080204" pitchFamily="34" charset="-128"/>
            </a:endParaRPr>
          </a:p>
        </p:txBody>
      </p:sp>
      <p:sp>
        <p:nvSpPr>
          <p:cNvPr id="22" name="Text Placeholder 21">
            <a:extLst>
              <a:ext uri="{FF2B5EF4-FFF2-40B4-BE49-F238E27FC236}">
                <a16:creationId xmlns:a16="http://schemas.microsoft.com/office/drawing/2014/main" id="{C7258FF2-E402-496C-845F-58966945CF99}"/>
              </a:ext>
            </a:extLst>
          </p:cNvPr>
          <p:cNvSpPr>
            <a:spLocks noGrp="1"/>
          </p:cNvSpPr>
          <p:nvPr>
            <p:ph type="body" sz="quarter" idx="20"/>
          </p:nvPr>
        </p:nvSpPr>
        <p:spPr>
          <a:xfrm>
            <a:off x="825650" y="3402873"/>
            <a:ext cx="6996075" cy="184666"/>
          </a:xfrm>
        </p:spPr>
        <p:txBody>
          <a:bodyPr vert="horz" wrap="square" lIns="0" tIns="0" rIns="0" bIns="0" rtlCol="0">
            <a:spAutoFit/>
          </a:bodyPr>
          <a:lstStyle>
            <a:lvl1pPr>
              <a:buClr>
                <a:schemeClr val="bg1"/>
              </a:buClr>
              <a:defRPr lang="en-US" sz="1200" b="0" smtClean="0">
                <a:solidFill>
                  <a:schemeClr val="bg1"/>
                </a:solidFill>
              </a:defRPr>
            </a:lvl1pPr>
            <a:lvl2pPr>
              <a:defRPr lang="en-US" smtClean="0"/>
            </a:lvl2pPr>
            <a:lvl3pPr>
              <a:defRPr lang="en-US" smtClean="0"/>
            </a:lvl3pPr>
            <a:lvl4pPr>
              <a:defRPr lang="en-US" smtClean="0"/>
            </a:lvl4pPr>
            <a:lvl5pPr>
              <a:defRPr lang="en-US"/>
            </a:lvl5pPr>
          </a:lstStyle>
          <a:p>
            <a:pPr marL="228600" marR="0" lvl="0" indent="-228600" fontAlgn="auto">
              <a:lnSpc>
                <a:spcPct val="100000"/>
              </a:lnSpc>
              <a:spcBef>
                <a:spcPts val="0"/>
              </a:spcBef>
              <a:spcAft>
                <a:spcPts val="600"/>
              </a:spcAft>
              <a:buSzTx/>
              <a:tabLst/>
            </a:pPr>
            <a:r>
              <a:rPr lang="en-US"/>
              <a:t>Click to edit Master text styles</a:t>
            </a:r>
          </a:p>
        </p:txBody>
      </p:sp>
      <p:sp>
        <p:nvSpPr>
          <p:cNvPr id="23" name="Text Placeholder 43">
            <a:extLst>
              <a:ext uri="{FF2B5EF4-FFF2-40B4-BE49-F238E27FC236}">
                <a16:creationId xmlns:a16="http://schemas.microsoft.com/office/drawing/2014/main" id="{D23A6D16-A4DE-410E-B65F-5A42037E693C}"/>
              </a:ext>
            </a:extLst>
          </p:cNvPr>
          <p:cNvSpPr>
            <a:spLocks noGrp="1"/>
          </p:cNvSpPr>
          <p:nvPr>
            <p:ph type="body" sz="quarter" idx="22" hasCustomPrompt="1"/>
          </p:nvPr>
        </p:nvSpPr>
        <p:spPr>
          <a:xfrm>
            <a:off x="671775" y="1212497"/>
            <a:ext cx="2376226" cy="221599"/>
          </a:xfrm>
        </p:spPr>
        <p:txBody>
          <a:bodyPr anchor="t"/>
          <a:lstStyle>
            <a:lvl1pPr marL="0" indent="0">
              <a:buNone/>
              <a:defRPr sz="1600" cap="all" spc="300" baseline="0">
                <a:solidFill>
                  <a:schemeClr val="bg1"/>
                </a:solidFill>
              </a:defRPr>
            </a:lvl1pPr>
          </a:lstStyle>
          <a:p>
            <a:pPr lvl="0"/>
            <a:r>
              <a:rPr lang="en-US"/>
              <a:t>Report</a:t>
            </a:r>
          </a:p>
        </p:txBody>
      </p:sp>
      <p:sp>
        <p:nvSpPr>
          <p:cNvPr id="24" name="Text Placeholder 35">
            <a:extLst>
              <a:ext uri="{FF2B5EF4-FFF2-40B4-BE49-F238E27FC236}">
                <a16:creationId xmlns:a16="http://schemas.microsoft.com/office/drawing/2014/main" id="{5E7066DB-06C8-440F-BA5B-4A9748B301E5}"/>
              </a:ext>
            </a:extLst>
          </p:cNvPr>
          <p:cNvSpPr>
            <a:spLocks noGrp="1"/>
          </p:cNvSpPr>
          <p:nvPr>
            <p:ph type="body" sz="quarter" idx="23"/>
          </p:nvPr>
        </p:nvSpPr>
        <p:spPr>
          <a:xfrm>
            <a:off x="6793166" y="6219148"/>
            <a:ext cx="4741683" cy="175882"/>
          </a:xfrm>
        </p:spPr>
        <p:txBody>
          <a:bodyPr wrap="square"/>
          <a:lstStyle>
            <a:lvl1pPr marL="0" indent="0" algn="l">
              <a:lnSpc>
                <a:spcPct val="120000"/>
              </a:lnSpc>
              <a:spcBef>
                <a:spcPts val="0"/>
              </a:spcBef>
              <a:buNone/>
              <a:defRPr sz="1050">
                <a:solidFill>
                  <a:schemeClr val="bg1"/>
                </a:solidFill>
              </a:defRPr>
            </a:lvl1pPr>
            <a:lvl2pPr marL="241300" indent="0">
              <a:buNone/>
              <a:defRPr/>
            </a:lvl2pPr>
          </a:lstStyle>
          <a:p>
            <a:pPr lvl="0"/>
            <a:r>
              <a:rPr lang="en-US"/>
              <a:t>Click to edit Master text styles</a:t>
            </a:r>
          </a:p>
        </p:txBody>
      </p:sp>
      <p:sp>
        <p:nvSpPr>
          <p:cNvPr id="27" name="Text Placeholder 35">
            <a:extLst>
              <a:ext uri="{FF2B5EF4-FFF2-40B4-BE49-F238E27FC236}">
                <a16:creationId xmlns:a16="http://schemas.microsoft.com/office/drawing/2014/main" id="{A7FC2BA8-91ED-4D7B-910C-87C2320CC2F7}"/>
              </a:ext>
            </a:extLst>
          </p:cNvPr>
          <p:cNvSpPr>
            <a:spLocks noGrp="1"/>
          </p:cNvSpPr>
          <p:nvPr>
            <p:ph type="body" sz="quarter" idx="24"/>
          </p:nvPr>
        </p:nvSpPr>
        <p:spPr>
          <a:xfrm>
            <a:off x="825650" y="3131601"/>
            <a:ext cx="6996075" cy="166199"/>
          </a:xfrm>
        </p:spPr>
        <p:txBody>
          <a:bodyPr wrap="square"/>
          <a:lstStyle>
            <a:lvl1pPr marL="0" indent="0" algn="l">
              <a:buNone/>
              <a:defRPr sz="1200" b="1">
                <a:solidFill>
                  <a:schemeClr val="bg1"/>
                </a:solidFill>
              </a:defRPr>
            </a:lvl1pPr>
            <a:lvl2pPr marL="241300" indent="0">
              <a:buNone/>
              <a:defRPr/>
            </a:lvl2pPr>
          </a:lstStyle>
          <a:p>
            <a:pPr lvl="0"/>
            <a:r>
              <a:rPr lang="en-US"/>
              <a:t>Click to edit Master text styles</a:t>
            </a:r>
          </a:p>
        </p:txBody>
      </p:sp>
      <p:sp>
        <p:nvSpPr>
          <p:cNvPr id="26" name="Slide Number Placeholder 5">
            <a:extLst>
              <a:ext uri="{FF2B5EF4-FFF2-40B4-BE49-F238E27FC236}">
                <a16:creationId xmlns:a16="http://schemas.microsoft.com/office/drawing/2014/main" id="{C0DE46A2-09E9-4DC7-8A05-6E658BDD9F9A}"/>
              </a:ext>
            </a:extLst>
          </p:cNvPr>
          <p:cNvSpPr txBox="1">
            <a:spLocks/>
          </p:cNvSpPr>
          <p:nvPr userDrawn="1"/>
        </p:nvSpPr>
        <p:spPr>
          <a:xfrm>
            <a:off x="211667" y="6583712"/>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EAEB50-A066-45AB-BA9F-ED56D3A46F93}" type="slidenum">
              <a:rPr lang="fr-FR" smtClean="0"/>
              <a:pPr/>
              <a:t>‹#›</a:t>
            </a:fld>
            <a:endParaRPr lang="fr-FR" dirty="0"/>
          </a:p>
        </p:txBody>
      </p:sp>
    </p:spTree>
    <p:extLst>
      <p:ext uri="{BB962C8B-B14F-4D97-AF65-F5344CB8AC3E}">
        <p14:creationId xmlns:p14="http://schemas.microsoft.com/office/powerpoint/2010/main" val="27431209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Rectangle 19">
            <a:extLst>
              <a:ext uri="{FF2B5EF4-FFF2-40B4-BE49-F238E27FC236}">
                <a16:creationId xmlns:a16="http://schemas.microsoft.com/office/drawing/2014/main" id="{4509EB56-97F5-41A3-9E9F-EC542A38D394}"/>
              </a:ext>
            </a:extLst>
          </p:cNvPr>
          <p:cNvSpPr/>
          <p:nvPr userDrawn="1"/>
        </p:nvSpPr>
        <p:spPr>
          <a:xfrm>
            <a:off x="387047" y="1467750"/>
            <a:ext cx="2710797" cy="4846080"/>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1" name="Rectangle 20">
            <a:extLst>
              <a:ext uri="{FF2B5EF4-FFF2-40B4-BE49-F238E27FC236}">
                <a16:creationId xmlns:a16="http://schemas.microsoft.com/office/drawing/2014/main" id="{6265BC99-1109-43E6-A0DA-DFEF01C6D7B5}"/>
              </a:ext>
            </a:extLst>
          </p:cNvPr>
          <p:cNvSpPr/>
          <p:nvPr userDrawn="1"/>
        </p:nvSpPr>
        <p:spPr>
          <a:xfrm>
            <a:off x="3289417" y="1467750"/>
            <a:ext cx="2710797" cy="4846080"/>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23" name="Rectangle 22">
            <a:extLst>
              <a:ext uri="{FF2B5EF4-FFF2-40B4-BE49-F238E27FC236}">
                <a16:creationId xmlns:a16="http://schemas.microsoft.com/office/drawing/2014/main" id="{08DE5087-A010-47CF-9F80-CDE828475408}"/>
              </a:ext>
            </a:extLst>
          </p:cNvPr>
          <p:cNvSpPr/>
          <p:nvPr userDrawn="1"/>
        </p:nvSpPr>
        <p:spPr>
          <a:xfrm>
            <a:off x="6191787" y="1467750"/>
            <a:ext cx="2710797" cy="4846080"/>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0" i="0" u="none" kern="1200" dirty="0">
              <a:solidFill>
                <a:schemeClr val="bg1"/>
              </a:solidFill>
            </a:endParaRPr>
          </a:p>
        </p:txBody>
      </p:sp>
      <p:sp>
        <p:nvSpPr>
          <p:cNvPr id="28" name="Rectangle 27">
            <a:extLst>
              <a:ext uri="{FF2B5EF4-FFF2-40B4-BE49-F238E27FC236}">
                <a16:creationId xmlns:a16="http://schemas.microsoft.com/office/drawing/2014/main" id="{4B404BCC-D9B6-43F9-BD34-9629BADE5AEF}"/>
              </a:ext>
            </a:extLst>
          </p:cNvPr>
          <p:cNvSpPr/>
          <p:nvPr userDrawn="1"/>
        </p:nvSpPr>
        <p:spPr>
          <a:xfrm>
            <a:off x="9094157" y="1467750"/>
            <a:ext cx="2710797" cy="4846080"/>
          </a:xfrm>
          <a:prstGeom prst="rect">
            <a:avLst/>
          </a:prstGeom>
          <a:solidFill>
            <a:schemeClr val="accent3">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1" kern="1200" dirty="0">
              <a:solidFill>
                <a:schemeClr val="bg1"/>
              </a:solidFill>
            </a:endParaRPr>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1483136" y="1595427"/>
            <a:ext cx="518618" cy="518618"/>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sp>
        <p:nvSpPr>
          <p:cNvPr id="43" name="Picture Placeholder 2">
            <a:extLst>
              <a:ext uri="{FF2B5EF4-FFF2-40B4-BE49-F238E27FC236}">
                <a16:creationId xmlns:a16="http://schemas.microsoft.com/office/drawing/2014/main" id="{E8950C22-54C8-4F19-9084-241805659E24}"/>
              </a:ext>
            </a:extLst>
          </p:cNvPr>
          <p:cNvSpPr>
            <a:spLocks noGrp="1"/>
          </p:cNvSpPr>
          <p:nvPr>
            <p:ph type="pic" sz="quarter" idx="31" hasCustomPrompt="1"/>
          </p:nvPr>
        </p:nvSpPr>
        <p:spPr>
          <a:xfrm>
            <a:off x="7287876" y="1595427"/>
            <a:ext cx="518618" cy="518618"/>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sp>
        <p:nvSpPr>
          <p:cNvPr id="44" name="Picture Placeholder 2">
            <a:extLst>
              <a:ext uri="{FF2B5EF4-FFF2-40B4-BE49-F238E27FC236}">
                <a16:creationId xmlns:a16="http://schemas.microsoft.com/office/drawing/2014/main" id="{112FAF4A-9104-4ED4-8C44-3D98F73C253B}"/>
              </a:ext>
            </a:extLst>
          </p:cNvPr>
          <p:cNvSpPr>
            <a:spLocks noGrp="1"/>
          </p:cNvSpPr>
          <p:nvPr>
            <p:ph type="pic" sz="quarter" idx="32" hasCustomPrompt="1"/>
          </p:nvPr>
        </p:nvSpPr>
        <p:spPr>
          <a:xfrm>
            <a:off x="10190246" y="1595427"/>
            <a:ext cx="518618" cy="518618"/>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cxnSp>
        <p:nvCxnSpPr>
          <p:cNvPr id="45" name="Straight Connector 44">
            <a:extLst>
              <a:ext uri="{FF2B5EF4-FFF2-40B4-BE49-F238E27FC236}">
                <a16:creationId xmlns:a16="http://schemas.microsoft.com/office/drawing/2014/main" id="{FA7326B1-6440-4DDF-81F4-D512E2EE19B5}"/>
              </a:ext>
            </a:extLst>
          </p:cNvPr>
          <p:cNvCxnSpPr/>
          <p:nvPr userDrawn="1"/>
        </p:nvCxnSpPr>
        <p:spPr>
          <a:xfrm>
            <a:off x="540440" y="2758486"/>
            <a:ext cx="24040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7D89E34-0150-4006-BA93-A436CEDA2887}"/>
              </a:ext>
            </a:extLst>
          </p:cNvPr>
          <p:cNvSpPr>
            <a:spLocks noGrp="1"/>
          </p:cNvSpPr>
          <p:nvPr>
            <p:ph type="body" sz="quarter" idx="33"/>
          </p:nvPr>
        </p:nvSpPr>
        <p:spPr>
          <a:xfrm>
            <a:off x="540440" y="2822011"/>
            <a:ext cx="2404010"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48" name="Text Placeholder 4">
            <a:extLst>
              <a:ext uri="{FF2B5EF4-FFF2-40B4-BE49-F238E27FC236}">
                <a16:creationId xmlns:a16="http://schemas.microsoft.com/office/drawing/2014/main" id="{E07BE2C4-4BC9-4EB9-AA60-E6CA24203C64}"/>
              </a:ext>
            </a:extLst>
          </p:cNvPr>
          <p:cNvSpPr>
            <a:spLocks noGrp="1"/>
          </p:cNvSpPr>
          <p:nvPr>
            <p:ph type="body" sz="quarter" idx="34"/>
          </p:nvPr>
        </p:nvSpPr>
        <p:spPr>
          <a:xfrm>
            <a:off x="540440" y="2226443"/>
            <a:ext cx="2404010" cy="443198"/>
          </a:xfrm>
        </p:spPr>
        <p:txBody>
          <a:bodyPr anchor="b" anchorCtr="0"/>
          <a:lstStyle>
            <a:lvl1pPr marL="0" indent="0" algn="ctr">
              <a:buNone/>
              <a:defRPr sz="1600" b="1" cap="all" baseline="0">
                <a:solidFill>
                  <a:schemeClr val="bg1"/>
                </a:solidFill>
              </a:defRPr>
            </a:lvl1pPr>
          </a:lstStyle>
          <a:p>
            <a:pPr lvl="0"/>
            <a:r>
              <a:rPr lang="en-US"/>
              <a:t>Click to edit Master text styles</a:t>
            </a:r>
          </a:p>
        </p:txBody>
      </p:sp>
      <p:cxnSp>
        <p:nvCxnSpPr>
          <p:cNvPr id="49" name="Straight Connector 48">
            <a:extLst>
              <a:ext uri="{FF2B5EF4-FFF2-40B4-BE49-F238E27FC236}">
                <a16:creationId xmlns:a16="http://schemas.microsoft.com/office/drawing/2014/main" id="{A7DB965B-C9ED-4E7D-9095-19FDE8B89E58}"/>
              </a:ext>
            </a:extLst>
          </p:cNvPr>
          <p:cNvCxnSpPr/>
          <p:nvPr userDrawn="1"/>
        </p:nvCxnSpPr>
        <p:spPr>
          <a:xfrm>
            <a:off x="3442810" y="2758486"/>
            <a:ext cx="24040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 Placeholder 4">
            <a:extLst>
              <a:ext uri="{FF2B5EF4-FFF2-40B4-BE49-F238E27FC236}">
                <a16:creationId xmlns:a16="http://schemas.microsoft.com/office/drawing/2014/main" id="{FF62A169-EE56-4D06-8D8E-B00494E87DF5}"/>
              </a:ext>
            </a:extLst>
          </p:cNvPr>
          <p:cNvSpPr>
            <a:spLocks noGrp="1"/>
          </p:cNvSpPr>
          <p:nvPr>
            <p:ph type="body" sz="quarter" idx="35"/>
          </p:nvPr>
        </p:nvSpPr>
        <p:spPr>
          <a:xfrm>
            <a:off x="3442810" y="2822011"/>
            <a:ext cx="2404010"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51" name="Text Placeholder 4">
            <a:extLst>
              <a:ext uri="{FF2B5EF4-FFF2-40B4-BE49-F238E27FC236}">
                <a16:creationId xmlns:a16="http://schemas.microsoft.com/office/drawing/2014/main" id="{20F0CD87-19B4-4C74-9F03-BE0D27571BFD}"/>
              </a:ext>
            </a:extLst>
          </p:cNvPr>
          <p:cNvSpPr>
            <a:spLocks noGrp="1"/>
          </p:cNvSpPr>
          <p:nvPr>
            <p:ph type="body" sz="quarter" idx="36"/>
          </p:nvPr>
        </p:nvSpPr>
        <p:spPr>
          <a:xfrm>
            <a:off x="3442810" y="2226443"/>
            <a:ext cx="2404010" cy="443198"/>
          </a:xfrm>
        </p:spPr>
        <p:txBody>
          <a:bodyPr anchor="b" anchorCtr="0"/>
          <a:lstStyle>
            <a:lvl1pPr marL="0" indent="0" algn="ctr">
              <a:buNone/>
              <a:defRPr sz="1600" b="1" cap="all" baseline="0">
                <a:solidFill>
                  <a:schemeClr val="bg1"/>
                </a:solidFill>
              </a:defRPr>
            </a:lvl1pPr>
          </a:lstStyle>
          <a:p>
            <a:pPr lvl="0"/>
            <a:r>
              <a:rPr lang="en-US"/>
              <a:t>Click to edit Master text styles</a:t>
            </a:r>
          </a:p>
        </p:txBody>
      </p:sp>
      <p:cxnSp>
        <p:nvCxnSpPr>
          <p:cNvPr id="52" name="Straight Connector 51">
            <a:extLst>
              <a:ext uri="{FF2B5EF4-FFF2-40B4-BE49-F238E27FC236}">
                <a16:creationId xmlns:a16="http://schemas.microsoft.com/office/drawing/2014/main" id="{AF5805D4-3E1E-4BDB-9936-8894F26DDE37}"/>
              </a:ext>
            </a:extLst>
          </p:cNvPr>
          <p:cNvCxnSpPr/>
          <p:nvPr userDrawn="1"/>
        </p:nvCxnSpPr>
        <p:spPr>
          <a:xfrm>
            <a:off x="6345180" y="2758486"/>
            <a:ext cx="24040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 Placeholder 4">
            <a:extLst>
              <a:ext uri="{FF2B5EF4-FFF2-40B4-BE49-F238E27FC236}">
                <a16:creationId xmlns:a16="http://schemas.microsoft.com/office/drawing/2014/main" id="{67C06F0E-BE53-4F97-8729-97D46C5D5683}"/>
              </a:ext>
            </a:extLst>
          </p:cNvPr>
          <p:cNvSpPr>
            <a:spLocks noGrp="1"/>
          </p:cNvSpPr>
          <p:nvPr>
            <p:ph type="body" sz="quarter" idx="37"/>
          </p:nvPr>
        </p:nvSpPr>
        <p:spPr>
          <a:xfrm>
            <a:off x="6345180" y="2822011"/>
            <a:ext cx="2404010"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54" name="Text Placeholder 4">
            <a:extLst>
              <a:ext uri="{FF2B5EF4-FFF2-40B4-BE49-F238E27FC236}">
                <a16:creationId xmlns:a16="http://schemas.microsoft.com/office/drawing/2014/main" id="{8358BA92-F9FC-4659-9CD8-5F3E58DDB6D5}"/>
              </a:ext>
            </a:extLst>
          </p:cNvPr>
          <p:cNvSpPr>
            <a:spLocks noGrp="1"/>
          </p:cNvSpPr>
          <p:nvPr>
            <p:ph type="body" sz="quarter" idx="38"/>
          </p:nvPr>
        </p:nvSpPr>
        <p:spPr>
          <a:xfrm>
            <a:off x="6345180" y="2226443"/>
            <a:ext cx="2404010"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55" name="Straight Connector 54">
            <a:extLst>
              <a:ext uri="{FF2B5EF4-FFF2-40B4-BE49-F238E27FC236}">
                <a16:creationId xmlns:a16="http://schemas.microsoft.com/office/drawing/2014/main" id="{26AE4ADB-97F1-463E-877F-FE6A6E9DEC0B}"/>
              </a:ext>
            </a:extLst>
          </p:cNvPr>
          <p:cNvCxnSpPr/>
          <p:nvPr userDrawn="1"/>
        </p:nvCxnSpPr>
        <p:spPr>
          <a:xfrm>
            <a:off x="9247550" y="2758486"/>
            <a:ext cx="24040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 Placeholder 4">
            <a:extLst>
              <a:ext uri="{FF2B5EF4-FFF2-40B4-BE49-F238E27FC236}">
                <a16:creationId xmlns:a16="http://schemas.microsoft.com/office/drawing/2014/main" id="{DCECD64A-2CC8-4644-9448-13F0B0DAFB67}"/>
              </a:ext>
            </a:extLst>
          </p:cNvPr>
          <p:cNvSpPr>
            <a:spLocks noGrp="1"/>
          </p:cNvSpPr>
          <p:nvPr>
            <p:ph type="body" sz="quarter" idx="39"/>
          </p:nvPr>
        </p:nvSpPr>
        <p:spPr>
          <a:xfrm>
            <a:off x="9247550" y="2822011"/>
            <a:ext cx="2404010"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57" name="Text Placeholder 4">
            <a:extLst>
              <a:ext uri="{FF2B5EF4-FFF2-40B4-BE49-F238E27FC236}">
                <a16:creationId xmlns:a16="http://schemas.microsoft.com/office/drawing/2014/main" id="{C01A813C-AC40-45E9-8F98-24056AEB920C}"/>
              </a:ext>
            </a:extLst>
          </p:cNvPr>
          <p:cNvSpPr>
            <a:spLocks noGrp="1"/>
          </p:cNvSpPr>
          <p:nvPr>
            <p:ph type="body" sz="quarter" idx="40"/>
          </p:nvPr>
        </p:nvSpPr>
        <p:spPr>
          <a:xfrm>
            <a:off x="9247550" y="2226443"/>
            <a:ext cx="2404010" cy="492443"/>
          </a:xfrm>
        </p:spPr>
        <p:txBody>
          <a:bodyPr anchor="b" anchorCtr="0"/>
          <a:lstStyle>
            <a:lvl1pPr marL="0" indent="0" algn="ctr">
              <a:lnSpc>
                <a:spcPct val="100000"/>
              </a:lnSpc>
              <a:spcBef>
                <a:spcPts val="0"/>
              </a:spcBef>
              <a:spcAft>
                <a:spcPts val="1800"/>
              </a:spcAft>
              <a:buNone/>
              <a:defRPr sz="1600" b="1" cap="all" baseline="0">
                <a:solidFill>
                  <a:schemeClr val="bg1"/>
                </a:solidFill>
              </a:defRPr>
            </a:lvl1pPr>
          </a:lstStyle>
          <a:p>
            <a:pPr lvl="0"/>
            <a:r>
              <a:rPr lang="en-US"/>
              <a:t>Click to edit Master text styles</a:t>
            </a: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59" name="Picture Placeholder 2">
            <a:extLst>
              <a:ext uri="{FF2B5EF4-FFF2-40B4-BE49-F238E27FC236}">
                <a16:creationId xmlns:a16="http://schemas.microsoft.com/office/drawing/2014/main" id="{20E749DC-1256-420A-83F7-E889042A97CA}"/>
              </a:ext>
            </a:extLst>
          </p:cNvPr>
          <p:cNvSpPr>
            <a:spLocks noGrp="1"/>
          </p:cNvSpPr>
          <p:nvPr>
            <p:ph type="pic" sz="quarter" idx="43" hasCustomPrompt="1"/>
          </p:nvPr>
        </p:nvSpPr>
        <p:spPr>
          <a:xfrm>
            <a:off x="4385506" y="1595427"/>
            <a:ext cx="518618" cy="518618"/>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spTree>
    <p:extLst>
      <p:ext uri="{BB962C8B-B14F-4D97-AF65-F5344CB8AC3E}">
        <p14:creationId xmlns:p14="http://schemas.microsoft.com/office/powerpoint/2010/main" val="3438675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0DE92-907F-4C5B-B734-4268354EB9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2BEB1F42-4685-49E1-8878-D4A4608E61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DFFC609-E875-4C91-9F44-BCD9D5E07639}"/>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7B74ADC7-A748-40A9-8E60-4B54E51C609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FED0D5F-7A30-4F27-933D-73A47658DAEB}"/>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5850489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6AD2D-5B38-4076-A726-2DDAE4F689E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99BE5B7-07D1-4EA3-9D9D-C72E41C4F5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96B9E98-7CBA-4E5F-AC38-C043D7DEE85A}"/>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C737F28D-DA6F-43BC-B06E-BF9197B2974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48CAE1D-D990-4B63-A829-E1B599B15511}"/>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4998614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5DAB2-F552-45E5-8405-8DD7059FC96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26418449-5953-4006-848A-7B28BA3076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274D329-D14B-461B-88B3-5E05184E8E31}"/>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0BE00707-3810-4F42-8757-D64C63A1289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BD39244-9E30-4BEE-AD55-5010854FC64C}"/>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9107004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53414-5669-4AA6-AA66-D5222F6E7D1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F963AFE-B7FF-4C88-BBFC-CCB4CE7385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57C5C181-9A00-4670-921D-5D583626B98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73257991-6BCE-4B8F-8B09-15DF1A39CF96}"/>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6" name="Footer Placeholder 5">
            <a:extLst>
              <a:ext uri="{FF2B5EF4-FFF2-40B4-BE49-F238E27FC236}">
                <a16:creationId xmlns:a16="http://schemas.microsoft.com/office/drawing/2014/main" id="{357C2D9B-72F6-447B-B460-47A5A785A44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697EEE5-0C7F-4A06-A7AA-AB0D6BA1ABC8}"/>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36590906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B7BF0-DC28-4C71-8512-4D95AC4E1F55}"/>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38E069F8-23E4-45D8-BE49-ACF0DC3AB88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A7DB192-6238-40A4-8D18-6F8B9A3D40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AD4613C9-720C-4FFC-A887-2038657D99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0836FF-C9E6-4393-A1EC-F374F12DA6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02B1DFA-93F3-4BBD-A835-8283972F34DA}"/>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8" name="Footer Placeholder 7">
            <a:extLst>
              <a:ext uri="{FF2B5EF4-FFF2-40B4-BE49-F238E27FC236}">
                <a16:creationId xmlns:a16="http://schemas.microsoft.com/office/drawing/2014/main" id="{B12C49BD-E1BF-43EF-B98C-3081A46F3921}"/>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5C96D1BD-17F6-428E-8034-F2E0E76A27EB}"/>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14613537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9F13C-1EF4-40E6-8DB0-B361EF23ADF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6680451-6DBA-4E1B-AD61-97E12F907633}"/>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4" name="Footer Placeholder 3">
            <a:extLst>
              <a:ext uri="{FF2B5EF4-FFF2-40B4-BE49-F238E27FC236}">
                <a16:creationId xmlns:a16="http://schemas.microsoft.com/office/drawing/2014/main" id="{5D8DA16B-0BDC-416E-A485-C7F534BD251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0CD2DD1-33F1-4F85-A88B-A41FC3CF1D78}"/>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489122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0B88BF-A3A5-4664-B751-CE58319C4B21}"/>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3" name="Footer Placeholder 2">
            <a:extLst>
              <a:ext uri="{FF2B5EF4-FFF2-40B4-BE49-F238E27FC236}">
                <a16:creationId xmlns:a16="http://schemas.microsoft.com/office/drawing/2014/main" id="{07C9E982-59F5-48B6-89A0-90F72F5A8F3B}"/>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175BC410-1435-409D-8771-BC0B055BACF5}"/>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1581312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30A16-5BA8-46DD-B77C-2C1007577A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372D521-DB4E-43AB-8612-E1E77AAAB5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D2477809-D2A0-4A70-B4A2-97E5C6D1F8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99F15E-4B7E-47C1-9093-F5D532CCFBCB}"/>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6" name="Footer Placeholder 5">
            <a:extLst>
              <a:ext uri="{FF2B5EF4-FFF2-40B4-BE49-F238E27FC236}">
                <a16:creationId xmlns:a16="http://schemas.microsoft.com/office/drawing/2014/main" id="{B500A6F9-D008-4272-BC55-A4C81E97F67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8CDCB99-485D-428A-AABA-1FC5197481F2}"/>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1199853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6DD5-BDD0-44D6-A70E-9EDA038D4D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4490AF2A-D5DD-4BE4-BFDA-E08975DF3E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A035E8E-DA44-4DE8-8519-572424C8D3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F53EE6-021C-424E-9EA9-B2DADAEDD502}"/>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6" name="Footer Placeholder 5">
            <a:extLst>
              <a:ext uri="{FF2B5EF4-FFF2-40B4-BE49-F238E27FC236}">
                <a16:creationId xmlns:a16="http://schemas.microsoft.com/office/drawing/2014/main" id="{4F70D355-3A45-422E-A6D8-E454C6A317E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EA6BDC1-BBD0-4962-93E5-E52E572F7E48}"/>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24291017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93C23-3A28-48D6-A1A5-7A9520252A4E}"/>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924AB28-15A4-49DA-A03A-8719227103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37EA6B8-E374-4D13-AB74-A247AC400131}"/>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9E08B18C-C857-420B-BE04-CE2460DCACE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203CEF3-F5A6-4A54-9115-6C26F558E7CA}"/>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828667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2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Rectangle 19">
            <a:extLst>
              <a:ext uri="{FF2B5EF4-FFF2-40B4-BE49-F238E27FC236}">
                <a16:creationId xmlns:a16="http://schemas.microsoft.com/office/drawing/2014/main" id="{4509EB56-97F5-41A3-9E9F-EC542A38D394}"/>
              </a:ext>
            </a:extLst>
          </p:cNvPr>
          <p:cNvSpPr/>
          <p:nvPr userDrawn="1"/>
        </p:nvSpPr>
        <p:spPr>
          <a:xfrm>
            <a:off x="1690911" y="1352210"/>
            <a:ext cx="2926080" cy="4846080"/>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1" name="Rectangle 20">
            <a:extLst>
              <a:ext uri="{FF2B5EF4-FFF2-40B4-BE49-F238E27FC236}">
                <a16:creationId xmlns:a16="http://schemas.microsoft.com/office/drawing/2014/main" id="{6265BC99-1109-43E6-A0DA-DFEF01C6D7B5}"/>
              </a:ext>
            </a:extLst>
          </p:cNvPr>
          <p:cNvSpPr/>
          <p:nvPr userDrawn="1"/>
        </p:nvSpPr>
        <p:spPr>
          <a:xfrm>
            <a:off x="4899773" y="1334400"/>
            <a:ext cx="2926080" cy="4846080"/>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23" name="Rectangle 22">
            <a:extLst>
              <a:ext uri="{FF2B5EF4-FFF2-40B4-BE49-F238E27FC236}">
                <a16:creationId xmlns:a16="http://schemas.microsoft.com/office/drawing/2014/main" id="{08DE5087-A010-47CF-9F80-CDE828475408}"/>
              </a:ext>
            </a:extLst>
          </p:cNvPr>
          <p:cNvSpPr/>
          <p:nvPr userDrawn="1"/>
        </p:nvSpPr>
        <p:spPr>
          <a:xfrm>
            <a:off x="8094243" y="1334400"/>
            <a:ext cx="2926080" cy="4846080"/>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0" i="0" u="none" kern="1200" dirty="0">
              <a:solidFill>
                <a:schemeClr val="bg1"/>
              </a:solidFill>
            </a:endParaRPr>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2768362" y="1632327"/>
            <a:ext cx="839901" cy="36897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3" name="Picture Placeholder 2">
            <a:extLst>
              <a:ext uri="{FF2B5EF4-FFF2-40B4-BE49-F238E27FC236}">
                <a16:creationId xmlns:a16="http://schemas.microsoft.com/office/drawing/2014/main" id="{E8950C22-54C8-4F19-9084-241805659E24}"/>
              </a:ext>
            </a:extLst>
          </p:cNvPr>
          <p:cNvSpPr>
            <a:spLocks noGrp="1"/>
          </p:cNvSpPr>
          <p:nvPr>
            <p:ph type="pic" sz="quarter" idx="31" hasCustomPrompt="1"/>
          </p:nvPr>
        </p:nvSpPr>
        <p:spPr>
          <a:xfrm>
            <a:off x="9225358" y="1613217"/>
            <a:ext cx="509917" cy="509917"/>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8" name="Text Placeholder 4">
            <a:extLst>
              <a:ext uri="{FF2B5EF4-FFF2-40B4-BE49-F238E27FC236}">
                <a16:creationId xmlns:a16="http://schemas.microsoft.com/office/drawing/2014/main" id="{E07BE2C4-4BC9-4EB9-AA60-E6CA24203C64}"/>
              </a:ext>
            </a:extLst>
          </p:cNvPr>
          <p:cNvSpPr>
            <a:spLocks noGrp="1"/>
          </p:cNvSpPr>
          <p:nvPr>
            <p:ph type="body" sz="quarter" idx="34" hasCustomPrompt="1"/>
          </p:nvPr>
        </p:nvSpPr>
        <p:spPr>
          <a:xfrm>
            <a:off x="1963539" y="2212202"/>
            <a:ext cx="2404010"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1" name="Text Placeholder 4">
            <a:extLst>
              <a:ext uri="{FF2B5EF4-FFF2-40B4-BE49-F238E27FC236}">
                <a16:creationId xmlns:a16="http://schemas.microsoft.com/office/drawing/2014/main" id="{20F0CD87-19B4-4C74-9F03-BE0D27571BFD}"/>
              </a:ext>
            </a:extLst>
          </p:cNvPr>
          <p:cNvSpPr>
            <a:spLocks noGrp="1"/>
          </p:cNvSpPr>
          <p:nvPr>
            <p:ph type="body" sz="quarter" idx="36" hasCustomPrompt="1"/>
          </p:nvPr>
        </p:nvSpPr>
        <p:spPr>
          <a:xfrm>
            <a:off x="5119663" y="2197885"/>
            <a:ext cx="2404010"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4" name="Text Placeholder 4">
            <a:extLst>
              <a:ext uri="{FF2B5EF4-FFF2-40B4-BE49-F238E27FC236}">
                <a16:creationId xmlns:a16="http://schemas.microsoft.com/office/drawing/2014/main" id="{8358BA92-F9FC-4659-9CD8-5F3E58DDB6D5}"/>
              </a:ext>
            </a:extLst>
          </p:cNvPr>
          <p:cNvSpPr>
            <a:spLocks noGrp="1"/>
          </p:cNvSpPr>
          <p:nvPr>
            <p:ph type="body" sz="quarter" idx="38" hasCustomPrompt="1"/>
          </p:nvPr>
        </p:nvSpPr>
        <p:spPr>
          <a:xfrm>
            <a:off x="8255543" y="2256880"/>
            <a:ext cx="2404010" cy="215444"/>
          </a:xfrm>
        </p:spPr>
        <p:txBody>
          <a:bodyPr anchor="b" anchorCtr="0"/>
          <a:lstStyle>
            <a:lvl1pPr marL="0" indent="0" algn="ctr">
              <a:lnSpc>
                <a:spcPct val="100000"/>
              </a:lnSpc>
              <a:buNone/>
              <a:defRPr sz="1400" b="1" cap="all" baseline="0">
                <a:solidFill>
                  <a:schemeClr val="bg1"/>
                </a:solidFill>
              </a:defRPr>
            </a:lvl1pPr>
          </a:lstStyle>
          <a:p>
            <a:pPr lvl="0"/>
            <a:r>
              <a:rPr lang="en-US"/>
              <a:t>TITLE</a:t>
            </a: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59" name="Picture Placeholder 2">
            <a:extLst>
              <a:ext uri="{FF2B5EF4-FFF2-40B4-BE49-F238E27FC236}">
                <a16:creationId xmlns:a16="http://schemas.microsoft.com/office/drawing/2014/main" id="{20E749DC-1256-420A-83F7-E889042A97CA}"/>
              </a:ext>
            </a:extLst>
          </p:cNvPr>
          <p:cNvSpPr>
            <a:spLocks noGrp="1"/>
          </p:cNvSpPr>
          <p:nvPr>
            <p:ph type="pic" sz="quarter" idx="43" hasCustomPrompt="1"/>
          </p:nvPr>
        </p:nvSpPr>
        <p:spPr>
          <a:xfrm>
            <a:off x="6094556" y="1552618"/>
            <a:ext cx="499760" cy="499760"/>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32" name="Text Placeholder 6">
            <a:extLst>
              <a:ext uri="{FF2B5EF4-FFF2-40B4-BE49-F238E27FC236}">
                <a16:creationId xmlns:a16="http://schemas.microsoft.com/office/drawing/2014/main" id="{1E00F731-A780-4FD5-BD8C-C101D9A42758}"/>
              </a:ext>
            </a:extLst>
          </p:cNvPr>
          <p:cNvSpPr>
            <a:spLocks noGrp="1"/>
          </p:cNvSpPr>
          <p:nvPr>
            <p:ph type="body" sz="quarter" idx="44" hasCustomPrompt="1"/>
          </p:nvPr>
        </p:nvSpPr>
        <p:spPr>
          <a:xfrm>
            <a:off x="1963539" y="2623416"/>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3" name="Text Placeholder 6">
            <a:extLst>
              <a:ext uri="{FF2B5EF4-FFF2-40B4-BE49-F238E27FC236}">
                <a16:creationId xmlns:a16="http://schemas.microsoft.com/office/drawing/2014/main" id="{A45C2383-893B-4C19-B414-BAE0C4AD7881}"/>
              </a:ext>
            </a:extLst>
          </p:cNvPr>
          <p:cNvSpPr>
            <a:spLocks noGrp="1"/>
          </p:cNvSpPr>
          <p:nvPr>
            <p:ph type="body" sz="quarter" idx="45" hasCustomPrompt="1"/>
          </p:nvPr>
        </p:nvSpPr>
        <p:spPr>
          <a:xfrm>
            <a:off x="5119663" y="2609099"/>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4" name="Text Placeholder 6">
            <a:extLst>
              <a:ext uri="{FF2B5EF4-FFF2-40B4-BE49-F238E27FC236}">
                <a16:creationId xmlns:a16="http://schemas.microsoft.com/office/drawing/2014/main" id="{65F0B487-7138-49AB-B01A-6BB256F2CA0A}"/>
              </a:ext>
            </a:extLst>
          </p:cNvPr>
          <p:cNvSpPr>
            <a:spLocks noGrp="1"/>
          </p:cNvSpPr>
          <p:nvPr>
            <p:ph type="body" sz="quarter" idx="46" hasCustomPrompt="1"/>
          </p:nvPr>
        </p:nvSpPr>
        <p:spPr>
          <a:xfrm>
            <a:off x="8291970" y="2649601"/>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cxnSp>
        <p:nvCxnSpPr>
          <p:cNvPr id="63" name="Straight Connector 62">
            <a:extLst>
              <a:ext uri="{FF2B5EF4-FFF2-40B4-BE49-F238E27FC236}">
                <a16:creationId xmlns:a16="http://schemas.microsoft.com/office/drawing/2014/main" id="{EC59F9C8-A977-481C-A264-E464A41CCE82}"/>
              </a:ext>
            </a:extLst>
          </p:cNvPr>
          <p:cNvCxnSpPr/>
          <p:nvPr userDrawn="1"/>
        </p:nvCxnSpPr>
        <p:spPr>
          <a:xfrm>
            <a:off x="1988381" y="2518033"/>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83B00B-7A64-4DAD-9213-A2C27456B31B}"/>
              </a:ext>
            </a:extLst>
          </p:cNvPr>
          <p:cNvCxnSpPr/>
          <p:nvPr userDrawn="1"/>
        </p:nvCxnSpPr>
        <p:spPr>
          <a:xfrm>
            <a:off x="5144505" y="2503716"/>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928D7FF-0935-4C3A-9650-280AC39D42FA}"/>
              </a:ext>
            </a:extLst>
          </p:cNvPr>
          <p:cNvCxnSpPr/>
          <p:nvPr userDrawn="1"/>
        </p:nvCxnSpPr>
        <p:spPr>
          <a:xfrm>
            <a:off x="8280385" y="2535011"/>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91322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EEF5C1-7860-4794-A677-DDD16FFCA43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C6FAC387-6891-4DD8-AF7C-D442085C77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62A72C4-6712-45BB-962B-9E68967D7FB1}"/>
              </a:ext>
            </a:extLst>
          </p:cNvPr>
          <p:cNvSpPr>
            <a:spLocks noGrp="1"/>
          </p:cNvSpPr>
          <p:nvPr>
            <p:ph type="dt" sz="half" idx="10"/>
          </p:nvPr>
        </p:nvSpPr>
        <p:spPr/>
        <p:txBody>
          <a:body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B5C18453-CB47-43AB-BA57-D67B6A46525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09FD6E7-2952-44CF-9DCC-104D1AF92754}"/>
              </a:ext>
            </a:extLst>
          </p:cNvPr>
          <p:cNvSpPr>
            <a:spLocks noGrp="1"/>
          </p:cNvSpPr>
          <p:nvPr>
            <p:ph type="sldNum" sz="quarter" idx="12"/>
          </p:nvPr>
        </p:nvSpPr>
        <p:spPr/>
        <p:txBody>
          <a:bodyPr/>
          <a:lstStyle/>
          <a:p>
            <a:fld id="{F829B988-92F7-4913-ABDF-B7E811A3A017}" type="slidenum">
              <a:rPr lang="en-IN" smtClean="0"/>
              <a:t>‹#›</a:t>
            </a:fld>
            <a:endParaRPr lang="en-IN"/>
          </a:p>
        </p:txBody>
      </p:sp>
    </p:spTree>
    <p:extLst>
      <p:ext uri="{BB962C8B-B14F-4D97-AF65-F5344CB8AC3E}">
        <p14:creationId xmlns:p14="http://schemas.microsoft.com/office/powerpoint/2010/main" val="41620350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C5F4-C5C6-4F6F-83E4-93593C25B4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54FA8FBE-310C-4C64-98DF-9283A631FF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716422CB-7069-4EBE-8998-872FF4F79BE8}"/>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3F6277CA-19AC-4D94-8D67-5AE7EE275BC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18FF04D-D690-4979-B2B5-B08D0297601E}"/>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39870497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D5BD9-06AB-42FF-B06B-01E89C12FF4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02E5A76-3BCF-41D8-8691-11350CEA51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6D86DD29-1A8E-494D-B77D-7F20FFE73FFB}"/>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30C123E2-8E0D-43ED-9CF3-9BB396D23B2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62136FE-DCA5-4C73-BA28-855CE9E864D9}"/>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267641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925DB-58BE-41BA-950B-D4F90AE2E69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DBD0FCE8-6D46-4DAF-A4A6-A37F41FBB5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5059E5-A913-4ED1-8967-C9DC242B4492}"/>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7649B4B2-DC88-4D62-938C-42229B0C9B6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51CC652-0E6F-42C7-8A71-B4B466309766}"/>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21875805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7BBFC-84D6-4315-92D6-E6377B2673EA}"/>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A7FD93C-2A83-46B2-940D-3D37CAD08DB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4D4BE0A2-71AE-4549-B791-DDE9B8D9330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C4EDB10-1A29-4959-BF45-D0284C7B406C}"/>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6" name="Footer Placeholder 5">
            <a:extLst>
              <a:ext uri="{FF2B5EF4-FFF2-40B4-BE49-F238E27FC236}">
                <a16:creationId xmlns:a16="http://schemas.microsoft.com/office/drawing/2014/main" id="{814A7E76-9CA5-41A1-B51C-03C8EC15067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4209D43-A810-4544-B961-5203D514AD00}"/>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30799042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65E29-4673-44C4-9FA2-9D730FF35179}"/>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DDB4659-5906-4B84-981B-98464C292D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B62E9C1-348B-42D2-9B36-A74CFD3DE7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B90553D-5D71-4A82-9F1E-D6C01D0C17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EE075A-A696-424A-8D6A-D513044E38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5B64547-2DF3-42F8-AF7D-283A78E10704}"/>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8" name="Footer Placeholder 7">
            <a:extLst>
              <a:ext uri="{FF2B5EF4-FFF2-40B4-BE49-F238E27FC236}">
                <a16:creationId xmlns:a16="http://schemas.microsoft.com/office/drawing/2014/main" id="{22DB1ABE-2AAD-4C2F-ABA0-1B6DE2EEE86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CD95867-5E71-4439-ADC0-B8C590AA60CC}"/>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10461480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D64B4-7FD8-4B53-AEA3-48D754A8DD89}"/>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1EB084A-9BFD-451B-92F8-E77002510F58}"/>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4" name="Footer Placeholder 3">
            <a:extLst>
              <a:ext uri="{FF2B5EF4-FFF2-40B4-BE49-F238E27FC236}">
                <a16:creationId xmlns:a16="http://schemas.microsoft.com/office/drawing/2014/main" id="{D7FE41FA-27B8-4EBA-B41A-E364D1CE37CA}"/>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9A0AF0E-904B-4129-BE39-4FCD80A137C9}"/>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22500268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FCBD9A-69A9-4273-AF14-AD025E63F0D7}"/>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3" name="Footer Placeholder 2">
            <a:extLst>
              <a:ext uri="{FF2B5EF4-FFF2-40B4-BE49-F238E27FC236}">
                <a16:creationId xmlns:a16="http://schemas.microsoft.com/office/drawing/2014/main" id="{37745D87-32A7-4D87-87C9-54ACC82BDED5}"/>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B654561C-92F1-4335-911C-7C256606A48C}"/>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1003929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9479-2EB0-48F1-8097-BF3A327C3E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8CE7E13-FEF8-4020-8B8D-16D206C101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9691D076-9216-413F-B871-024A325B1C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C5040E-4F9D-4549-AB79-7F2AF752F444}"/>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6" name="Footer Placeholder 5">
            <a:extLst>
              <a:ext uri="{FF2B5EF4-FFF2-40B4-BE49-F238E27FC236}">
                <a16:creationId xmlns:a16="http://schemas.microsoft.com/office/drawing/2014/main" id="{BFE22FDE-323A-46F1-9847-A87BB51C25E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E6D5426-2B7B-4CB7-94C7-824A5FF511B8}"/>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52546363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DA767-37CB-42D3-8182-D3A7C2A058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A2117D1E-2BA4-400D-864A-6F1AE34000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128628F3-F9FC-4CAB-90B1-B75A30D4C4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A4DB8DF-A219-42A3-953B-289D2D84DAC0}"/>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6" name="Footer Placeholder 5">
            <a:extLst>
              <a:ext uri="{FF2B5EF4-FFF2-40B4-BE49-F238E27FC236}">
                <a16:creationId xmlns:a16="http://schemas.microsoft.com/office/drawing/2014/main" id="{3A99291C-2692-46FB-BAB1-2B649FB1B4B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A768CE4-E255-40E4-8D66-FCFD2AD90A1A}"/>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1136130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3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Rectangle 19">
            <a:extLst>
              <a:ext uri="{FF2B5EF4-FFF2-40B4-BE49-F238E27FC236}">
                <a16:creationId xmlns:a16="http://schemas.microsoft.com/office/drawing/2014/main" id="{4509EB56-97F5-41A3-9E9F-EC542A38D394}"/>
              </a:ext>
            </a:extLst>
          </p:cNvPr>
          <p:cNvSpPr/>
          <p:nvPr userDrawn="1"/>
        </p:nvSpPr>
        <p:spPr>
          <a:xfrm>
            <a:off x="2768362" y="1352210"/>
            <a:ext cx="2926080" cy="4846080"/>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3" name="Rectangle 22">
            <a:extLst>
              <a:ext uri="{FF2B5EF4-FFF2-40B4-BE49-F238E27FC236}">
                <a16:creationId xmlns:a16="http://schemas.microsoft.com/office/drawing/2014/main" id="{08DE5087-A010-47CF-9F80-CDE828475408}"/>
              </a:ext>
            </a:extLst>
          </p:cNvPr>
          <p:cNvSpPr/>
          <p:nvPr userDrawn="1"/>
        </p:nvSpPr>
        <p:spPr>
          <a:xfrm>
            <a:off x="6497558" y="1334400"/>
            <a:ext cx="2926080" cy="4846080"/>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0" i="0" u="none" kern="1200" dirty="0">
              <a:solidFill>
                <a:schemeClr val="bg1"/>
              </a:solidFill>
            </a:endParaRPr>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3845813" y="1632327"/>
            <a:ext cx="839901" cy="36897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3" name="Picture Placeholder 2">
            <a:extLst>
              <a:ext uri="{FF2B5EF4-FFF2-40B4-BE49-F238E27FC236}">
                <a16:creationId xmlns:a16="http://schemas.microsoft.com/office/drawing/2014/main" id="{E8950C22-54C8-4F19-9084-241805659E24}"/>
              </a:ext>
            </a:extLst>
          </p:cNvPr>
          <p:cNvSpPr>
            <a:spLocks noGrp="1"/>
          </p:cNvSpPr>
          <p:nvPr>
            <p:ph type="pic" sz="quarter" idx="31" hasCustomPrompt="1"/>
          </p:nvPr>
        </p:nvSpPr>
        <p:spPr>
          <a:xfrm>
            <a:off x="7628673" y="1613217"/>
            <a:ext cx="509917" cy="509917"/>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8" name="Text Placeholder 4">
            <a:extLst>
              <a:ext uri="{FF2B5EF4-FFF2-40B4-BE49-F238E27FC236}">
                <a16:creationId xmlns:a16="http://schemas.microsoft.com/office/drawing/2014/main" id="{E07BE2C4-4BC9-4EB9-AA60-E6CA24203C64}"/>
              </a:ext>
            </a:extLst>
          </p:cNvPr>
          <p:cNvSpPr>
            <a:spLocks noGrp="1"/>
          </p:cNvSpPr>
          <p:nvPr>
            <p:ph type="body" sz="quarter" idx="34" hasCustomPrompt="1"/>
          </p:nvPr>
        </p:nvSpPr>
        <p:spPr>
          <a:xfrm>
            <a:off x="3040990" y="2212202"/>
            <a:ext cx="2404010"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4" name="Text Placeholder 4">
            <a:extLst>
              <a:ext uri="{FF2B5EF4-FFF2-40B4-BE49-F238E27FC236}">
                <a16:creationId xmlns:a16="http://schemas.microsoft.com/office/drawing/2014/main" id="{8358BA92-F9FC-4659-9CD8-5F3E58DDB6D5}"/>
              </a:ext>
            </a:extLst>
          </p:cNvPr>
          <p:cNvSpPr>
            <a:spLocks noGrp="1"/>
          </p:cNvSpPr>
          <p:nvPr>
            <p:ph type="body" sz="quarter" idx="38" hasCustomPrompt="1"/>
          </p:nvPr>
        </p:nvSpPr>
        <p:spPr>
          <a:xfrm>
            <a:off x="6658858" y="2256880"/>
            <a:ext cx="2404010" cy="215444"/>
          </a:xfrm>
        </p:spPr>
        <p:txBody>
          <a:bodyPr anchor="b" anchorCtr="0"/>
          <a:lstStyle>
            <a:lvl1pPr marL="0" indent="0" algn="ctr">
              <a:lnSpc>
                <a:spcPct val="100000"/>
              </a:lnSpc>
              <a:buNone/>
              <a:defRPr sz="1400" b="1" cap="all" baseline="0">
                <a:solidFill>
                  <a:schemeClr val="bg1"/>
                </a:solidFill>
              </a:defRPr>
            </a:lvl1pPr>
          </a:lstStyle>
          <a:p>
            <a:pPr lvl="0"/>
            <a:r>
              <a:rPr lang="en-US"/>
              <a:t>TITLE</a:t>
            </a: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2" name="Text Placeholder 6">
            <a:extLst>
              <a:ext uri="{FF2B5EF4-FFF2-40B4-BE49-F238E27FC236}">
                <a16:creationId xmlns:a16="http://schemas.microsoft.com/office/drawing/2014/main" id="{1E00F731-A780-4FD5-BD8C-C101D9A42758}"/>
              </a:ext>
            </a:extLst>
          </p:cNvPr>
          <p:cNvSpPr>
            <a:spLocks noGrp="1"/>
          </p:cNvSpPr>
          <p:nvPr>
            <p:ph type="body" sz="quarter" idx="44" hasCustomPrompt="1"/>
          </p:nvPr>
        </p:nvSpPr>
        <p:spPr>
          <a:xfrm>
            <a:off x="3040990" y="2623416"/>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4" name="Text Placeholder 6">
            <a:extLst>
              <a:ext uri="{FF2B5EF4-FFF2-40B4-BE49-F238E27FC236}">
                <a16:creationId xmlns:a16="http://schemas.microsoft.com/office/drawing/2014/main" id="{65F0B487-7138-49AB-B01A-6BB256F2CA0A}"/>
              </a:ext>
            </a:extLst>
          </p:cNvPr>
          <p:cNvSpPr>
            <a:spLocks noGrp="1"/>
          </p:cNvSpPr>
          <p:nvPr>
            <p:ph type="body" sz="quarter" idx="46" hasCustomPrompt="1"/>
          </p:nvPr>
        </p:nvSpPr>
        <p:spPr>
          <a:xfrm>
            <a:off x="6695285" y="2649601"/>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cxnSp>
        <p:nvCxnSpPr>
          <p:cNvPr id="63" name="Straight Connector 62">
            <a:extLst>
              <a:ext uri="{FF2B5EF4-FFF2-40B4-BE49-F238E27FC236}">
                <a16:creationId xmlns:a16="http://schemas.microsoft.com/office/drawing/2014/main" id="{EC59F9C8-A977-481C-A264-E464A41CCE82}"/>
              </a:ext>
            </a:extLst>
          </p:cNvPr>
          <p:cNvCxnSpPr/>
          <p:nvPr userDrawn="1"/>
        </p:nvCxnSpPr>
        <p:spPr>
          <a:xfrm>
            <a:off x="3065832" y="2518033"/>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928D7FF-0935-4C3A-9650-280AC39D42FA}"/>
              </a:ext>
            </a:extLst>
          </p:cNvPr>
          <p:cNvCxnSpPr/>
          <p:nvPr userDrawn="1"/>
        </p:nvCxnSpPr>
        <p:spPr>
          <a:xfrm>
            <a:off x="6683700" y="2535011"/>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859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CD53D-C465-4669-9F96-EE9612C7EBD2}"/>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E03CCE5-B6AD-4346-AB18-D6593D3643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3348DC7-104D-43E9-88C5-35F0B8476F92}"/>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341E04F3-250F-46D5-979E-69D06F6AE3B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D60E829-327D-446C-BD88-E4D682AF38BB}"/>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18235770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9065C4-BD09-4E40-AFA4-510DB811331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3B5CBD8-B949-45B7-BEAB-738F0A41923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ABB1FF6-D1CE-4528-A783-47FC86E38872}"/>
              </a:ext>
            </a:extLst>
          </p:cNvPr>
          <p:cNvSpPr>
            <a:spLocks noGrp="1"/>
          </p:cNvSpPr>
          <p:nvPr>
            <p:ph type="dt" sz="half" idx="10"/>
          </p:nvPr>
        </p:nvSpPr>
        <p:spPr/>
        <p:txBody>
          <a:body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A2A394D3-5E5C-4E44-8CBE-DB916F1E018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284904E-D7A8-4F32-B792-4846EF6AB957}"/>
              </a:ext>
            </a:extLst>
          </p:cNvPr>
          <p:cNvSpPr>
            <a:spLocks noGrp="1"/>
          </p:cNvSpPr>
          <p:nvPr>
            <p:ph type="sldNum" sz="quarter" idx="12"/>
          </p:nvPr>
        </p:nvSpPr>
        <p:spPr/>
        <p:txBody>
          <a:bodyPr/>
          <a:lstStyle/>
          <a:p>
            <a:fld id="{4FF40796-AE1E-4F0A-9CF1-19E7082DB303}" type="slidenum">
              <a:rPr lang="en-IN" smtClean="0"/>
              <a:t>‹#›</a:t>
            </a:fld>
            <a:endParaRPr lang="en-IN"/>
          </a:p>
        </p:txBody>
      </p:sp>
    </p:spTree>
    <p:extLst>
      <p:ext uri="{BB962C8B-B14F-4D97-AF65-F5344CB8AC3E}">
        <p14:creationId xmlns:p14="http://schemas.microsoft.com/office/powerpoint/2010/main" val="38648400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4A8A9-2317-4C79-BF61-C96D37FADA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1341AD7D-9AA0-42FC-AECD-6BF4FE06C8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65444B8-35E8-41D0-A5F0-B3EF193B9748}"/>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FB34261F-F66D-485C-828F-739E07DDA0D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B7A5D6B-1162-4FC9-95E0-5994FBE537AF}"/>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5740691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9785-8BA6-474A-BF28-64865CED782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2AA15EE-68DC-4C60-88FC-F8BCBC47A2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8B921DD-9F33-4596-BD84-A6601076225B}"/>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807983CC-E837-44B0-B62D-34F7A4DDBBD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D0D8570-7686-4586-8253-8777F61D4998}"/>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2759996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3DE35-CF80-421B-A59A-858AC99F5E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75F414E-1F12-4EFA-BCD3-003B37B9B7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CEE987-EF2C-4A1E-8049-C0215194C6CF}"/>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AA4B23B1-5F10-4070-9548-FC8FA7511BD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99F90AA-98C4-415C-803F-8A932285BA7E}"/>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1260044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64541-5BCB-4322-A031-3929C56E262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CDC2080-5CF7-4A2B-8D96-EBE3DD988D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BC2A2CCE-7B6D-4CE0-B2F8-66B0C0D529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99FA1AEB-7294-455C-91BF-D1D1B66FA16F}"/>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6" name="Footer Placeholder 5">
            <a:extLst>
              <a:ext uri="{FF2B5EF4-FFF2-40B4-BE49-F238E27FC236}">
                <a16:creationId xmlns:a16="http://schemas.microsoft.com/office/drawing/2014/main" id="{A9E60A8A-116F-4788-8800-D0285DDCAB0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AF1E895-AE67-40B4-9D87-96396442F6FA}"/>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26446430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6CD77-23DF-40AB-BDD3-75CB04904364}"/>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2299F94-CB59-4DF5-BDBC-DCEC60B3E9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6FD7D2-8676-4997-8CDE-2DCC4F8875C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782932D-3C17-4D52-8967-CDC3ABEF7D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9D5898-7926-4828-9941-8D198A81924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72DF50E4-ED1C-4DA3-B9EF-19313A828EB4}"/>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8" name="Footer Placeholder 7">
            <a:extLst>
              <a:ext uri="{FF2B5EF4-FFF2-40B4-BE49-F238E27FC236}">
                <a16:creationId xmlns:a16="http://schemas.microsoft.com/office/drawing/2014/main" id="{00C717E9-7580-4033-AE66-677ACDB4AAFF}"/>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86CD141F-6DE9-4F03-AC9F-D242C248D243}"/>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53911221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424B6-FBFC-4FCE-A619-1E3D1A41E083}"/>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96910BE-7B69-4B46-81C2-86AAB13CBA4B}"/>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4" name="Footer Placeholder 3">
            <a:extLst>
              <a:ext uri="{FF2B5EF4-FFF2-40B4-BE49-F238E27FC236}">
                <a16:creationId xmlns:a16="http://schemas.microsoft.com/office/drawing/2014/main" id="{F1B20989-26C0-4F3A-8BC4-82285BA916FD}"/>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EA2388A-34DC-4C3C-88CD-E1AF49016499}"/>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23518227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94CF3E9-8F9E-4001-82D6-33C0BFCECCBA}"/>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3" name="Footer Placeholder 2">
            <a:extLst>
              <a:ext uri="{FF2B5EF4-FFF2-40B4-BE49-F238E27FC236}">
                <a16:creationId xmlns:a16="http://schemas.microsoft.com/office/drawing/2014/main" id="{38C0F5BB-782B-47BD-8A18-C7465281635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1CD3669-4152-49F7-8818-DD2DEA637B97}"/>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6432922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0F5FF-2B8C-4023-A7CB-5E33B90E42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5929FF6B-AB4A-4BDB-92F3-8AF04D54F9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B37F841E-E463-4CB8-BFD9-D1431B4F3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212B23-7F98-4001-92C4-F6F1DD2B6FF6}"/>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6" name="Footer Placeholder 5">
            <a:extLst>
              <a:ext uri="{FF2B5EF4-FFF2-40B4-BE49-F238E27FC236}">
                <a16:creationId xmlns:a16="http://schemas.microsoft.com/office/drawing/2014/main" id="{3EC26FD0-0B28-4A91-B15E-A4E36693834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8D49ED6-D544-46ED-B1C7-F56D444BE907}"/>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14137620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5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Rectangle 19">
            <a:extLst>
              <a:ext uri="{FF2B5EF4-FFF2-40B4-BE49-F238E27FC236}">
                <a16:creationId xmlns:a16="http://schemas.microsoft.com/office/drawing/2014/main" id="{4509EB56-97F5-41A3-9E9F-EC542A38D394}"/>
              </a:ext>
            </a:extLst>
          </p:cNvPr>
          <p:cNvSpPr/>
          <p:nvPr userDrawn="1"/>
        </p:nvSpPr>
        <p:spPr>
          <a:xfrm>
            <a:off x="646599" y="1334400"/>
            <a:ext cx="3153044" cy="4846080"/>
          </a:xfrm>
          <a:prstGeom prst="rect">
            <a:avLst/>
          </a:prstGeom>
          <a:solidFill>
            <a:srgbClr val="236288"/>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1724050" y="1614517"/>
            <a:ext cx="905049" cy="36897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8" name="Text Placeholder 4">
            <a:extLst>
              <a:ext uri="{FF2B5EF4-FFF2-40B4-BE49-F238E27FC236}">
                <a16:creationId xmlns:a16="http://schemas.microsoft.com/office/drawing/2014/main" id="{E07BE2C4-4BC9-4EB9-AA60-E6CA24203C64}"/>
              </a:ext>
            </a:extLst>
          </p:cNvPr>
          <p:cNvSpPr>
            <a:spLocks noGrp="1"/>
          </p:cNvSpPr>
          <p:nvPr>
            <p:ph type="body" sz="quarter" idx="34" hasCustomPrompt="1"/>
          </p:nvPr>
        </p:nvSpPr>
        <p:spPr>
          <a:xfrm>
            <a:off x="919226" y="2194392"/>
            <a:ext cx="2590479"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2" name="Text Placeholder 6">
            <a:extLst>
              <a:ext uri="{FF2B5EF4-FFF2-40B4-BE49-F238E27FC236}">
                <a16:creationId xmlns:a16="http://schemas.microsoft.com/office/drawing/2014/main" id="{1E00F731-A780-4FD5-BD8C-C101D9A42758}"/>
              </a:ext>
            </a:extLst>
          </p:cNvPr>
          <p:cNvSpPr>
            <a:spLocks noGrp="1"/>
          </p:cNvSpPr>
          <p:nvPr>
            <p:ph type="body" sz="quarter" idx="44" hasCustomPrompt="1"/>
          </p:nvPr>
        </p:nvSpPr>
        <p:spPr>
          <a:xfrm>
            <a:off x="919226" y="2605606"/>
            <a:ext cx="2590479"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cxnSp>
        <p:nvCxnSpPr>
          <p:cNvPr id="63" name="Straight Connector 62">
            <a:extLst>
              <a:ext uri="{FF2B5EF4-FFF2-40B4-BE49-F238E27FC236}">
                <a16:creationId xmlns:a16="http://schemas.microsoft.com/office/drawing/2014/main" id="{EC59F9C8-A977-481C-A264-E464A41CCE82}"/>
              </a:ext>
            </a:extLst>
          </p:cNvPr>
          <p:cNvCxnSpPr>
            <a:cxnSpLocks/>
          </p:cNvCxnSpPr>
          <p:nvPr userDrawn="1"/>
        </p:nvCxnSpPr>
        <p:spPr>
          <a:xfrm>
            <a:off x="944069" y="2500223"/>
            <a:ext cx="258600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E851E1F-A367-4904-BB00-4EF6BFDF15D8}"/>
              </a:ext>
            </a:extLst>
          </p:cNvPr>
          <p:cNvSpPr/>
          <p:nvPr userDrawn="1"/>
        </p:nvSpPr>
        <p:spPr>
          <a:xfrm>
            <a:off x="4607529" y="1377397"/>
            <a:ext cx="6974659" cy="484632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p>
        </p:txBody>
      </p:sp>
      <p:sp>
        <p:nvSpPr>
          <p:cNvPr id="21" name="Text Placeholder 6">
            <a:extLst>
              <a:ext uri="{FF2B5EF4-FFF2-40B4-BE49-F238E27FC236}">
                <a16:creationId xmlns:a16="http://schemas.microsoft.com/office/drawing/2014/main" id="{8269F2DC-8FBA-4203-BEAD-4DF433365A38}"/>
              </a:ext>
            </a:extLst>
          </p:cNvPr>
          <p:cNvSpPr>
            <a:spLocks noGrp="1"/>
          </p:cNvSpPr>
          <p:nvPr>
            <p:ph type="body" sz="quarter" idx="45" hasCustomPrompt="1"/>
          </p:nvPr>
        </p:nvSpPr>
        <p:spPr>
          <a:xfrm>
            <a:off x="4715049" y="1467046"/>
            <a:ext cx="6674473" cy="184666"/>
          </a:xfrm>
        </p:spPr>
        <p:txBody>
          <a:bodyPr/>
          <a:lstStyle>
            <a:lvl1pPr marL="237744" indent="-237744">
              <a:lnSpc>
                <a:spcPct val="100000"/>
              </a:lnSpc>
              <a:spcBef>
                <a:spcPts val="0"/>
              </a:spcBef>
              <a:spcAft>
                <a:spcPts val="1500"/>
              </a:spcAft>
              <a:buClr>
                <a:schemeClr val="accent1"/>
              </a:buClr>
              <a:buFont typeface="Wingdings" panose="05000000000000000000" pitchFamily="2" charset="2"/>
              <a:buChar char="n"/>
              <a:defRPr sz="1200"/>
            </a:lvl1pPr>
          </a:lstStyle>
          <a:p>
            <a:pPr lvl="0"/>
            <a:r>
              <a:rPr lang="en-US"/>
              <a:t>Edit Master text styles</a:t>
            </a:r>
          </a:p>
        </p:txBody>
      </p:sp>
    </p:spTree>
    <p:extLst>
      <p:ext uri="{BB962C8B-B14F-4D97-AF65-F5344CB8AC3E}">
        <p14:creationId xmlns:p14="http://schemas.microsoft.com/office/powerpoint/2010/main" val="33658563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050EE-2305-48FE-823B-BB534B3235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57197D6-F645-4DD5-BF79-B8BC7EA516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2A6A270-080C-46B1-B76E-D00A16028D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2CB8A0-BB0E-418A-8F76-FEBE5DDEB21F}"/>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6" name="Footer Placeholder 5">
            <a:extLst>
              <a:ext uri="{FF2B5EF4-FFF2-40B4-BE49-F238E27FC236}">
                <a16:creationId xmlns:a16="http://schemas.microsoft.com/office/drawing/2014/main" id="{79653E8C-D0AE-4BDB-82B3-94138D6EF25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DF393C6-F0B2-4E7E-9B3B-E015B731D67A}"/>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18483420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C916B-CE82-4572-9177-90964C5E63D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D67E052-CC3C-46C7-8E64-8C51D38BAE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EB7FA10-F217-486C-982D-6FD38F5252B3}"/>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EDF6B4E8-440B-4DD9-890E-BBD8A60CCCB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5F84910-6550-4E6C-AD9B-FB384A1EBD9A}"/>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7778019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D6B74F-3369-4E8A-9B04-683E9772376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C6F0F1F-7436-4C0E-A13E-42D4342916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A0EE80A-C0F2-421E-800E-A636B3F0B7F1}"/>
              </a:ext>
            </a:extLst>
          </p:cNvPr>
          <p:cNvSpPr>
            <a:spLocks noGrp="1"/>
          </p:cNvSpPr>
          <p:nvPr>
            <p:ph type="dt" sz="half" idx="10"/>
          </p:nvPr>
        </p:nvSpPr>
        <p:spPr/>
        <p:txBody>
          <a:body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C94D1242-C460-4786-9CA8-EDB85051389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FFBD067-B6D2-4F1B-8A50-9A847A0E8C1A}"/>
              </a:ext>
            </a:extLst>
          </p:cNvPr>
          <p:cNvSpPr>
            <a:spLocks noGrp="1"/>
          </p:cNvSpPr>
          <p:nvPr>
            <p:ph type="sldNum" sz="quarter" idx="12"/>
          </p:nvPr>
        </p:nvSpPr>
        <p:spPr/>
        <p:txBody>
          <a:bodyPr/>
          <a:lstStyle/>
          <a:p>
            <a:fld id="{42693FDD-C5A9-475B-9F89-931FB5DF8382}" type="slidenum">
              <a:rPr lang="en-IN" smtClean="0"/>
              <a:t>‹#›</a:t>
            </a:fld>
            <a:endParaRPr lang="en-IN"/>
          </a:p>
        </p:txBody>
      </p:sp>
    </p:spTree>
    <p:extLst>
      <p:ext uri="{BB962C8B-B14F-4D97-AF65-F5344CB8AC3E}">
        <p14:creationId xmlns:p14="http://schemas.microsoft.com/office/powerpoint/2010/main" val="36443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6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graphicFrame>
        <p:nvGraphicFramePr>
          <p:cNvPr id="2" name="Diagram 1">
            <a:extLst>
              <a:ext uri="{FF2B5EF4-FFF2-40B4-BE49-F238E27FC236}">
                <a16:creationId xmlns:a16="http://schemas.microsoft.com/office/drawing/2014/main" id="{03BC68BC-47AD-4DC1-BC2D-524A3494F2D4}"/>
              </a:ext>
            </a:extLst>
          </p:cNvPr>
          <p:cNvGraphicFramePr/>
          <p:nvPr userDrawn="1"/>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672240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63" name="Rectangle 62">
            <a:extLst>
              <a:ext uri="{FF2B5EF4-FFF2-40B4-BE49-F238E27FC236}">
                <a16:creationId xmlns:a16="http://schemas.microsoft.com/office/drawing/2014/main" id="{48CDD826-625D-4C41-82DB-7221598FE28D}"/>
              </a:ext>
            </a:extLst>
          </p:cNvPr>
          <p:cNvSpPr/>
          <p:nvPr userDrawn="1"/>
        </p:nvSpPr>
        <p:spPr>
          <a:xfrm>
            <a:off x="297210" y="1196788"/>
            <a:ext cx="3724914" cy="2457178"/>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solidFill>
                <a:schemeClr val="bg1"/>
              </a:solidFill>
            </a:endParaRPr>
          </a:p>
        </p:txBody>
      </p:sp>
      <p:cxnSp>
        <p:nvCxnSpPr>
          <p:cNvPr id="65" name="Straight Connector 64">
            <a:extLst>
              <a:ext uri="{FF2B5EF4-FFF2-40B4-BE49-F238E27FC236}">
                <a16:creationId xmlns:a16="http://schemas.microsoft.com/office/drawing/2014/main" id="{3D4FF28C-B7DF-4A5C-9230-4EEB268C3EA3}"/>
              </a:ext>
            </a:extLst>
          </p:cNvPr>
          <p:cNvCxnSpPr/>
          <p:nvPr userDrawn="1"/>
        </p:nvCxnSpPr>
        <p:spPr>
          <a:xfrm>
            <a:off x="510839"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369220-00EC-4D04-AE5C-E4C544072514}"/>
              </a:ext>
            </a:extLst>
          </p:cNvPr>
          <p:cNvSpPr/>
          <p:nvPr userDrawn="1"/>
        </p:nvSpPr>
        <p:spPr>
          <a:xfrm>
            <a:off x="297210" y="3836912"/>
            <a:ext cx="3724914" cy="2457178"/>
          </a:xfrm>
          <a:prstGeom prst="rect">
            <a:avLst/>
          </a:prstGeom>
          <a:solidFill>
            <a:schemeClr val="accent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67" name="Rectangle 66">
            <a:extLst>
              <a:ext uri="{FF2B5EF4-FFF2-40B4-BE49-F238E27FC236}">
                <a16:creationId xmlns:a16="http://schemas.microsoft.com/office/drawing/2014/main" id="{7589C0EC-1C8A-4828-A888-3A7CBBB0E67C}"/>
              </a:ext>
            </a:extLst>
          </p:cNvPr>
          <p:cNvSpPr/>
          <p:nvPr userDrawn="1"/>
        </p:nvSpPr>
        <p:spPr>
          <a:xfrm>
            <a:off x="4233544" y="1196788"/>
            <a:ext cx="3724914" cy="2457178"/>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cxnSp>
        <p:nvCxnSpPr>
          <p:cNvPr id="69" name="Straight Connector 68">
            <a:extLst>
              <a:ext uri="{FF2B5EF4-FFF2-40B4-BE49-F238E27FC236}">
                <a16:creationId xmlns:a16="http://schemas.microsoft.com/office/drawing/2014/main" id="{53D1C9E4-E83C-46AC-9ECC-CDF406C5F4C3}"/>
              </a:ext>
            </a:extLst>
          </p:cNvPr>
          <p:cNvCxnSpPr/>
          <p:nvPr userDrawn="1"/>
        </p:nvCxnSpPr>
        <p:spPr>
          <a:xfrm>
            <a:off x="4447173"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655981E8-EF3E-4181-A0ED-CE3A3A87F7F0}"/>
              </a:ext>
            </a:extLst>
          </p:cNvPr>
          <p:cNvSpPr/>
          <p:nvPr userDrawn="1"/>
        </p:nvSpPr>
        <p:spPr>
          <a:xfrm>
            <a:off x="4233544" y="3836912"/>
            <a:ext cx="3724914" cy="2457178"/>
          </a:xfrm>
          <a:prstGeom prst="rect">
            <a:avLst/>
          </a:prstGeom>
          <a:solidFill>
            <a:schemeClr val="accent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71" name="Rectangle 70">
            <a:extLst>
              <a:ext uri="{FF2B5EF4-FFF2-40B4-BE49-F238E27FC236}">
                <a16:creationId xmlns:a16="http://schemas.microsoft.com/office/drawing/2014/main" id="{DBF6E09D-E0E6-4FD1-BEBC-F4C84CCB632B}"/>
              </a:ext>
            </a:extLst>
          </p:cNvPr>
          <p:cNvSpPr/>
          <p:nvPr userDrawn="1"/>
        </p:nvSpPr>
        <p:spPr>
          <a:xfrm>
            <a:off x="8169877" y="1196788"/>
            <a:ext cx="3724914" cy="2457178"/>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90000"/>
              </a:lnSpc>
              <a:spcBef>
                <a:spcPct val="0"/>
              </a:spcBef>
              <a:spcAft>
                <a:spcPct val="35000"/>
              </a:spcAft>
            </a:pPr>
            <a:endParaRPr lang="en-US" sz="1600" dirty="0">
              <a:solidFill>
                <a:schemeClr val="bg1"/>
              </a:solidFill>
            </a:endParaRPr>
          </a:p>
        </p:txBody>
      </p:sp>
      <p:cxnSp>
        <p:nvCxnSpPr>
          <p:cNvPr id="73" name="Straight Connector 72">
            <a:extLst>
              <a:ext uri="{FF2B5EF4-FFF2-40B4-BE49-F238E27FC236}">
                <a16:creationId xmlns:a16="http://schemas.microsoft.com/office/drawing/2014/main" id="{CEFF2F88-94FE-49DC-94BF-3306241BE2A2}"/>
              </a:ext>
            </a:extLst>
          </p:cNvPr>
          <p:cNvCxnSpPr/>
          <p:nvPr userDrawn="1"/>
        </p:nvCxnSpPr>
        <p:spPr>
          <a:xfrm>
            <a:off x="8383506"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Text Placeholder 4">
            <a:extLst>
              <a:ext uri="{FF2B5EF4-FFF2-40B4-BE49-F238E27FC236}">
                <a16:creationId xmlns:a16="http://schemas.microsoft.com/office/drawing/2014/main" id="{61F28FE5-EDEE-4F47-903E-DB678416F60C}"/>
              </a:ext>
            </a:extLst>
          </p:cNvPr>
          <p:cNvSpPr>
            <a:spLocks noGrp="1"/>
          </p:cNvSpPr>
          <p:nvPr>
            <p:ph type="body" sz="quarter" idx="33"/>
          </p:nvPr>
        </p:nvSpPr>
        <p:spPr>
          <a:xfrm>
            <a:off x="510839"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0" name="Text Placeholder 4">
            <a:extLst>
              <a:ext uri="{FF2B5EF4-FFF2-40B4-BE49-F238E27FC236}">
                <a16:creationId xmlns:a16="http://schemas.microsoft.com/office/drawing/2014/main" id="{BA4F54F9-D42D-42C9-86EE-C786FE62297E}"/>
              </a:ext>
            </a:extLst>
          </p:cNvPr>
          <p:cNvSpPr>
            <a:spLocks noGrp="1"/>
          </p:cNvSpPr>
          <p:nvPr>
            <p:ph type="body" sz="quarter" idx="34"/>
          </p:nvPr>
        </p:nvSpPr>
        <p:spPr>
          <a:xfrm>
            <a:off x="510839"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81" name="Text Placeholder 4">
            <a:extLst>
              <a:ext uri="{FF2B5EF4-FFF2-40B4-BE49-F238E27FC236}">
                <a16:creationId xmlns:a16="http://schemas.microsoft.com/office/drawing/2014/main" id="{1C36DF6B-D4B4-4622-95A5-551FC216BFCA}"/>
              </a:ext>
            </a:extLst>
          </p:cNvPr>
          <p:cNvSpPr>
            <a:spLocks noGrp="1"/>
          </p:cNvSpPr>
          <p:nvPr>
            <p:ph type="body" sz="quarter" idx="42"/>
          </p:nvPr>
        </p:nvSpPr>
        <p:spPr>
          <a:xfrm>
            <a:off x="4447171"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2" name="Text Placeholder 4">
            <a:extLst>
              <a:ext uri="{FF2B5EF4-FFF2-40B4-BE49-F238E27FC236}">
                <a16:creationId xmlns:a16="http://schemas.microsoft.com/office/drawing/2014/main" id="{20D8459E-A6A6-41CA-AEBE-F3E701314A15}"/>
              </a:ext>
            </a:extLst>
          </p:cNvPr>
          <p:cNvSpPr>
            <a:spLocks noGrp="1"/>
          </p:cNvSpPr>
          <p:nvPr>
            <p:ph type="body" sz="quarter" idx="43"/>
          </p:nvPr>
        </p:nvSpPr>
        <p:spPr>
          <a:xfrm>
            <a:off x="4447171"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83" name="Text Placeholder 4">
            <a:extLst>
              <a:ext uri="{FF2B5EF4-FFF2-40B4-BE49-F238E27FC236}">
                <a16:creationId xmlns:a16="http://schemas.microsoft.com/office/drawing/2014/main" id="{26EF2044-2082-4DA0-AB46-C7DB87509BF9}"/>
              </a:ext>
            </a:extLst>
          </p:cNvPr>
          <p:cNvSpPr>
            <a:spLocks noGrp="1"/>
          </p:cNvSpPr>
          <p:nvPr>
            <p:ph type="body" sz="quarter" idx="44"/>
          </p:nvPr>
        </p:nvSpPr>
        <p:spPr>
          <a:xfrm>
            <a:off x="8383503"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4" name="Text Placeholder 4">
            <a:extLst>
              <a:ext uri="{FF2B5EF4-FFF2-40B4-BE49-F238E27FC236}">
                <a16:creationId xmlns:a16="http://schemas.microsoft.com/office/drawing/2014/main" id="{CB9EE07C-F88C-4D65-8EEB-342F1340E02E}"/>
              </a:ext>
            </a:extLst>
          </p:cNvPr>
          <p:cNvSpPr>
            <a:spLocks noGrp="1"/>
          </p:cNvSpPr>
          <p:nvPr>
            <p:ph type="body" sz="quarter" idx="45"/>
          </p:nvPr>
        </p:nvSpPr>
        <p:spPr>
          <a:xfrm>
            <a:off x="8383503"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88" name="Straight Connector 87">
            <a:extLst>
              <a:ext uri="{FF2B5EF4-FFF2-40B4-BE49-F238E27FC236}">
                <a16:creationId xmlns:a16="http://schemas.microsoft.com/office/drawing/2014/main" id="{52EFB385-6D0D-41C6-BFC7-687E455D74E4}"/>
              </a:ext>
            </a:extLst>
          </p:cNvPr>
          <p:cNvCxnSpPr/>
          <p:nvPr userDrawn="1"/>
        </p:nvCxnSpPr>
        <p:spPr>
          <a:xfrm>
            <a:off x="510839" y="477217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Text Placeholder 4">
            <a:extLst>
              <a:ext uri="{FF2B5EF4-FFF2-40B4-BE49-F238E27FC236}">
                <a16:creationId xmlns:a16="http://schemas.microsoft.com/office/drawing/2014/main" id="{639748FD-72B5-4B9F-A8F6-163DB4C86F00}"/>
              </a:ext>
            </a:extLst>
          </p:cNvPr>
          <p:cNvSpPr>
            <a:spLocks noGrp="1"/>
          </p:cNvSpPr>
          <p:nvPr>
            <p:ph type="body" sz="quarter" idx="46"/>
          </p:nvPr>
        </p:nvSpPr>
        <p:spPr>
          <a:xfrm>
            <a:off x="510839" y="489109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90" name="Text Placeholder 4">
            <a:extLst>
              <a:ext uri="{FF2B5EF4-FFF2-40B4-BE49-F238E27FC236}">
                <a16:creationId xmlns:a16="http://schemas.microsoft.com/office/drawing/2014/main" id="{F9FBFBD7-3A9E-41DD-A82D-4EFBCD1B648F}"/>
              </a:ext>
            </a:extLst>
          </p:cNvPr>
          <p:cNvSpPr>
            <a:spLocks noGrp="1"/>
          </p:cNvSpPr>
          <p:nvPr>
            <p:ph type="body" sz="quarter" idx="47"/>
          </p:nvPr>
        </p:nvSpPr>
        <p:spPr>
          <a:xfrm>
            <a:off x="510839" y="418825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91" name="Straight Connector 90">
            <a:extLst>
              <a:ext uri="{FF2B5EF4-FFF2-40B4-BE49-F238E27FC236}">
                <a16:creationId xmlns:a16="http://schemas.microsoft.com/office/drawing/2014/main" id="{A7839DCC-95AD-4980-B6FB-09B7662CDB84}"/>
              </a:ext>
            </a:extLst>
          </p:cNvPr>
          <p:cNvCxnSpPr/>
          <p:nvPr userDrawn="1"/>
        </p:nvCxnSpPr>
        <p:spPr>
          <a:xfrm>
            <a:off x="4447171" y="477217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 Placeholder 4">
            <a:extLst>
              <a:ext uri="{FF2B5EF4-FFF2-40B4-BE49-F238E27FC236}">
                <a16:creationId xmlns:a16="http://schemas.microsoft.com/office/drawing/2014/main" id="{9A63AF8C-5E18-494D-8087-FF5EF9517691}"/>
              </a:ext>
            </a:extLst>
          </p:cNvPr>
          <p:cNvSpPr>
            <a:spLocks noGrp="1"/>
          </p:cNvSpPr>
          <p:nvPr>
            <p:ph type="body" sz="quarter" idx="48"/>
          </p:nvPr>
        </p:nvSpPr>
        <p:spPr>
          <a:xfrm>
            <a:off x="4447171" y="489109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93" name="Text Placeholder 4">
            <a:extLst>
              <a:ext uri="{FF2B5EF4-FFF2-40B4-BE49-F238E27FC236}">
                <a16:creationId xmlns:a16="http://schemas.microsoft.com/office/drawing/2014/main" id="{86A0D6F7-D7D4-424E-90E3-B11BAB489E70}"/>
              </a:ext>
            </a:extLst>
          </p:cNvPr>
          <p:cNvSpPr>
            <a:spLocks noGrp="1"/>
          </p:cNvSpPr>
          <p:nvPr>
            <p:ph type="body" sz="quarter" idx="49"/>
          </p:nvPr>
        </p:nvSpPr>
        <p:spPr>
          <a:xfrm>
            <a:off x="4447171" y="418825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19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63" name="Rectangle 62">
            <a:extLst>
              <a:ext uri="{FF2B5EF4-FFF2-40B4-BE49-F238E27FC236}">
                <a16:creationId xmlns:a16="http://schemas.microsoft.com/office/drawing/2014/main" id="{48CDD826-625D-4C41-82DB-7221598FE28D}"/>
              </a:ext>
            </a:extLst>
          </p:cNvPr>
          <p:cNvSpPr/>
          <p:nvPr userDrawn="1"/>
        </p:nvSpPr>
        <p:spPr>
          <a:xfrm>
            <a:off x="297210" y="1196788"/>
            <a:ext cx="3724914" cy="2457178"/>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solidFill>
                <a:schemeClr val="bg1"/>
              </a:solidFill>
            </a:endParaRPr>
          </a:p>
        </p:txBody>
      </p:sp>
      <p:cxnSp>
        <p:nvCxnSpPr>
          <p:cNvPr id="65" name="Straight Connector 64">
            <a:extLst>
              <a:ext uri="{FF2B5EF4-FFF2-40B4-BE49-F238E27FC236}">
                <a16:creationId xmlns:a16="http://schemas.microsoft.com/office/drawing/2014/main" id="{3D4FF28C-B7DF-4A5C-9230-4EEB268C3EA3}"/>
              </a:ext>
            </a:extLst>
          </p:cNvPr>
          <p:cNvCxnSpPr/>
          <p:nvPr userDrawn="1"/>
        </p:nvCxnSpPr>
        <p:spPr>
          <a:xfrm>
            <a:off x="510839"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369220-00EC-4D04-AE5C-E4C544072514}"/>
              </a:ext>
            </a:extLst>
          </p:cNvPr>
          <p:cNvSpPr/>
          <p:nvPr userDrawn="1"/>
        </p:nvSpPr>
        <p:spPr>
          <a:xfrm>
            <a:off x="297210" y="3836912"/>
            <a:ext cx="3724914" cy="2457178"/>
          </a:xfrm>
          <a:prstGeom prst="rect">
            <a:avLst/>
          </a:prstGeom>
          <a:solidFill>
            <a:schemeClr val="accent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67" name="Rectangle 66">
            <a:extLst>
              <a:ext uri="{FF2B5EF4-FFF2-40B4-BE49-F238E27FC236}">
                <a16:creationId xmlns:a16="http://schemas.microsoft.com/office/drawing/2014/main" id="{7589C0EC-1C8A-4828-A888-3A7CBBB0E67C}"/>
              </a:ext>
            </a:extLst>
          </p:cNvPr>
          <p:cNvSpPr/>
          <p:nvPr userDrawn="1"/>
        </p:nvSpPr>
        <p:spPr>
          <a:xfrm>
            <a:off x="4233544" y="1196788"/>
            <a:ext cx="3724914" cy="2457178"/>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cxnSp>
        <p:nvCxnSpPr>
          <p:cNvPr id="69" name="Straight Connector 68">
            <a:extLst>
              <a:ext uri="{FF2B5EF4-FFF2-40B4-BE49-F238E27FC236}">
                <a16:creationId xmlns:a16="http://schemas.microsoft.com/office/drawing/2014/main" id="{53D1C9E4-E83C-46AC-9ECC-CDF406C5F4C3}"/>
              </a:ext>
            </a:extLst>
          </p:cNvPr>
          <p:cNvCxnSpPr/>
          <p:nvPr userDrawn="1"/>
        </p:nvCxnSpPr>
        <p:spPr>
          <a:xfrm>
            <a:off x="4447173"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655981E8-EF3E-4181-A0ED-CE3A3A87F7F0}"/>
              </a:ext>
            </a:extLst>
          </p:cNvPr>
          <p:cNvSpPr/>
          <p:nvPr userDrawn="1"/>
        </p:nvSpPr>
        <p:spPr>
          <a:xfrm>
            <a:off x="4233544" y="3836912"/>
            <a:ext cx="3724914" cy="2457178"/>
          </a:xfrm>
          <a:prstGeom prst="rect">
            <a:avLst/>
          </a:prstGeom>
          <a:solidFill>
            <a:schemeClr val="accent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71" name="Rectangle 70">
            <a:extLst>
              <a:ext uri="{FF2B5EF4-FFF2-40B4-BE49-F238E27FC236}">
                <a16:creationId xmlns:a16="http://schemas.microsoft.com/office/drawing/2014/main" id="{DBF6E09D-E0E6-4FD1-BEBC-F4C84CCB632B}"/>
              </a:ext>
            </a:extLst>
          </p:cNvPr>
          <p:cNvSpPr/>
          <p:nvPr userDrawn="1"/>
        </p:nvSpPr>
        <p:spPr>
          <a:xfrm>
            <a:off x="8169877" y="1196788"/>
            <a:ext cx="3724914" cy="2457178"/>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90000"/>
              </a:lnSpc>
              <a:spcBef>
                <a:spcPct val="0"/>
              </a:spcBef>
              <a:spcAft>
                <a:spcPct val="35000"/>
              </a:spcAft>
            </a:pPr>
            <a:endParaRPr lang="en-US" sz="1600" dirty="0">
              <a:solidFill>
                <a:schemeClr val="bg1"/>
              </a:solidFill>
            </a:endParaRPr>
          </a:p>
        </p:txBody>
      </p:sp>
      <p:cxnSp>
        <p:nvCxnSpPr>
          <p:cNvPr id="73" name="Straight Connector 72">
            <a:extLst>
              <a:ext uri="{FF2B5EF4-FFF2-40B4-BE49-F238E27FC236}">
                <a16:creationId xmlns:a16="http://schemas.microsoft.com/office/drawing/2014/main" id="{CEFF2F88-94FE-49DC-94BF-3306241BE2A2}"/>
              </a:ext>
            </a:extLst>
          </p:cNvPr>
          <p:cNvCxnSpPr/>
          <p:nvPr userDrawn="1"/>
        </p:nvCxnSpPr>
        <p:spPr>
          <a:xfrm>
            <a:off x="8383506" y="216796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Text Placeholder 4">
            <a:extLst>
              <a:ext uri="{FF2B5EF4-FFF2-40B4-BE49-F238E27FC236}">
                <a16:creationId xmlns:a16="http://schemas.microsoft.com/office/drawing/2014/main" id="{61F28FE5-EDEE-4F47-903E-DB678416F60C}"/>
              </a:ext>
            </a:extLst>
          </p:cNvPr>
          <p:cNvSpPr>
            <a:spLocks noGrp="1"/>
          </p:cNvSpPr>
          <p:nvPr>
            <p:ph type="body" sz="quarter" idx="33"/>
          </p:nvPr>
        </p:nvSpPr>
        <p:spPr>
          <a:xfrm>
            <a:off x="510839"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0" name="Text Placeholder 4">
            <a:extLst>
              <a:ext uri="{FF2B5EF4-FFF2-40B4-BE49-F238E27FC236}">
                <a16:creationId xmlns:a16="http://schemas.microsoft.com/office/drawing/2014/main" id="{BA4F54F9-D42D-42C9-86EE-C786FE62297E}"/>
              </a:ext>
            </a:extLst>
          </p:cNvPr>
          <p:cNvSpPr>
            <a:spLocks noGrp="1"/>
          </p:cNvSpPr>
          <p:nvPr>
            <p:ph type="body" sz="quarter" idx="34"/>
          </p:nvPr>
        </p:nvSpPr>
        <p:spPr>
          <a:xfrm>
            <a:off x="510839"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81" name="Text Placeholder 4">
            <a:extLst>
              <a:ext uri="{FF2B5EF4-FFF2-40B4-BE49-F238E27FC236}">
                <a16:creationId xmlns:a16="http://schemas.microsoft.com/office/drawing/2014/main" id="{1C36DF6B-D4B4-4622-95A5-551FC216BFCA}"/>
              </a:ext>
            </a:extLst>
          </p:cNvPr>
          <p:cNvSpPr>
            <a:spLocks noGrp="1"/>
          </p:cNvSpPr>
          <p:nvPr>
            <p:ph type="body" sz="quarter" idx="42"/>
          </p:nvPr>
        </p:nvSpPr>
        <p:spPr>
          <a:xfrm>
            <a:off x="4447171"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2" name="Text Placeholder 4">
            <a:extLst>
              <a:ext uri="{FF2B5EF4-FFF2-40B4-BE49-F238E27FC236}">
                <a16:creationId xmlns:a16="http://schemas.microsoft.com/office/drawing/2014/main" id="{20D8459E-A6A6-41CA-AEBE-F3E701314A15}"/>
              </a:ext>
            </a:extLst>
          </p:cNvPr>
          <p:cNvSpPr>
            <a:spLocks noGrp="1"/>
          </p:cNvSpPr>
          <p:nvPr>
            <p:ph type="body" sz="quarter" idx="43"/>
          </p:nvPr>
        </p:nvSpPr>
        <p:spPr>
          <a:xfrm>
            <a:off x="4447171"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83" name="Text Placeholder 4">
            <a:extLst>
              <a:ext uri="{FF2B5EF4-FFF2-40B4-BE49-F238E27FC236}">
                <a16:creationId xmlns:a16="http://schemas.microsoft.com/office/drawing/2014/main" id="{26EF2044-2082-4DA0-AB46-C7DB87509BF9}"/>
              </a:ext>
            </a:extLst>
          </p:cNvPr>
          <p:cNvSpPr>
            <a:spLocks noGrp="1"/>
          </p:cNvSpPr>
          <p:nvPr>
            <p:ph type="body" sz="quarter" idx="44"/>
          </p:nvPr>
        </p:nvSpPr>
        <p:spPr>
          <a:xfrm>
            <a:off x="8383503" y="228688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4" name="Text Placeholder 4">
            <a:extLst>
              <a:ext uri="{FF2B5EF4-FFF2-40B4-BE49-F238E27FC236}">
                <a16:creationId xmlns:a16="http://schemas.microsoft.com/office/drawing/2014/main" id="{CB9EE07C-F88C-4D65-8EEB-342F1340E02E}"/>
              </a:ext>
            </a:extLst>
          </p:cNvPr>
          <p:cNvSpPr>
            <a:spLocks noGrp="1"/>
          </p:cNvSpPr>
          <p:nvPr>
            <p:ph type="body" sz="quarter" idx="45"/>
          </p:nvPr>
        </p:nvSpPr>
        <p:spPr>
          <a:xfrm>
            <a:off x="8383503" y="158404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88" name="Straight Connector 87">
            <a:extLst>
              <a:ext uri="{FF2B5EF4-FFF2-40B4-BE49-F238E27FC236}">
                <a16:creationId xmlns:a16="http://schemas.microsoft.com/office/drawing/2014/main" id="{52EFB385-6D0D-41C6-BFC7-687E455D74E4}"/>
              </a:ext>
            </a:extLst>
          </p:cNvPr>
          <p:cNvCxnSpPr/>
          <p:nvPr userDrawn="1"/>
        </p:nvCxnSpPr>
        <p:spPr>
          <a:xfrm>
            <a:off x="510839" y="477217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Text Placeholder 4">
            <a:extLst>
              <a:ext uri="{FF2B5EF4-FFF2-40B4-BE49-F238E27FC236}">
                <a16:creationId xmlns:a16="http://schemas.microsoft.com/office/drawing/2014/main" id="{639748FD-72B5-4B9F-A8F6-163DB4C86F00}"/>
              </a:ext>
            </a:extLst>
          </p:cNvPr>
          <p:cNvSpPr>
            <a:spLocks noGrp="1"/>
          </p:cNvSpPr>
          <p:nvPr>
            <p:ph type="body" sz="quarter" idx="46"/>
          </p:nvPr>
        </p:nvSpPr>
        <p:spPr>
          <a:xfrm>
            <a:off x="510839" y="489109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90" name="Text Placeholder 4">
            <a:extLst>
              <a:ext uri="{FF2B5EF4-FFF2-40B4-BE49-F238E27FC236}">
                <a16:creationId xmlns:a16="http://schemas.microsoft.com/office/drawing/2014/main" id="{F9FBFBD7-3A9E-41DD-A82D-4EFBCD1B648F}"/>
              </a:ext>
            </a:extLst>
          </p:cNvPr>
          <p:cNvSpPr>
            <a:spLocks noGrp="1"/>
          </p:cNvSpPr>
          <p:nvPr>
            <p:ph type="body" sz="quarter" idx="47"/>
          </p:nvPr>
        </p:nvSpPr>
        <p:spPr>
          <a:xfrm>
            <a:off x="510839" y="418825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91" name="Straight Connector 90">
            <a:extLst>
              <a:ext uri="{FF2B5EF4-FFF2-40B4-BE49-F238E27FC236}">
                <a16:creationId xmlns:a16="http://schemas.microsoft.com/office/drawing/2014/main" id="{A7839DCC-95AD-4980-B6FB-09B7662CDB84}"/>
              </a:ext>
            </a:extLst>
          </p:cNvPr>
          <p:cNvCxnSpPr/>
          <p:nvPr userDrawn="1"/>
        </p:nvCxnSpPr>
        <p:spPr>
          <a:xfrm>
            <a:off x="4447171" y="477217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 Placeholder 4">
            <a:extLst>
              <a:ext uri="{FF2B5EF4-FFF2-40B4-BE49-F238E27FC236}">
                <a16:creationId xmlns:a16="http://schemas.microsoft.com/office/drawing/2014/main" id="{9A63AF8C-5E18-494D-8087-FF5EF9517691}"/>
              </a:ext>
            </a:extLst>
          </p:cNvPr>
          <p:cNvSpPr>
            <a:spLocks noGrp="1"/>
          </p:cNvSpPr>
          <p:nvPr>
            <p:ph type="body" sz="quarter" idx="48"/>
          </p:nvPr>
        </p:nvSpPr>
        <p:spPr>
          <a:xfrm>
            <a:off x="4447171" y="489109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93" name="Text Placeholder 4">
            <a:extLst>
              <a:ext uri="{FF2B5EF4-FFF2-40B4-BE49-F238E27FC236}">
                <a16:creationId xmlns:a16="http://schemas.microsoft.com/office/drawing/2014/main" id="{86A0D6F7-D7D4-424E-90E3-B11BAB489E70}"/>
              </a:ext>
            </a:extLst>
          </p:cNvPr>
          <p:cNvSpPr>
            <a:spLocks noGrp="1"/>
          </p:cNvSpPr>
          <p:nvPr>
            <p:ph type="body" sz="quarter" idx="49"/>
          </p:nvPr>
        </p:nvSpPr>
        <p:spPr>
          <a:xfrm>
            <a:off x="4447171" y="418825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31" name="Rectangle 30">
            <a:extLst>
              <a:ext uri="{FF2B5EF4-FFF2-40B4-BE49-F238E27FC236}">
                <a16:creationId xmlns:a16="http://schemas.microsoft.com/office/drawing/2014/main" id="{7F302EBC-8AB9-4DD5-A03A-76AE7D98CC72}"/>
              </a:ext>
            </a:extLst>
          </p:cNvPr>
          <p:cNvSpPr/>
          <p:nvPr userDrawn="1"/>
        </p:nvSpPr>
        <p:spPr>
          <a:xfrm>
            <a:off x="8169877" y="3836912"/>
            <a:ext cx="3724914" cy="2457178"/>
          </a:xfrm>
          <a:prstGeom prst="rect">
            <a:avLst/>
          </a:prstGeom>
          <a:solidFill>
            <a:srgbClr val="1A4A6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cxnSp>
        <p:nvCxnSpPr>
          <p:cNvPr id="33" name="Straight Connector 32">
            <a:extLst>
              <a:ext uri="{FF2B5EF4-FFF2-40B4-BE49-F238E27FC236}">
                <a16:creationId xmlns:a16="http://schemas.microsoft.com/office/drawing/2014/main" id="{4323422B-196C-42FA-94F1-CE665376FDE8}"/>
              </a:ext>
            </a:extLst>
          </p:cNvPr>
          <p:cNvCxnSpPr/>
          <p:nvPr userDrawn="1"/>
        </p:nvCxnSpPr>
        <p:spPr>
          <a:xfrm>
            <a:off x="8383503" y="4772173"/>
            <a:ext cx="32976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9C97FA0F-0CD7-4730-A6D7-55B6D33531D7}"/>
              </a:ext>
            </a:extLst>
          </p:cNvPr>
          <p:cNvSpPr>
            <a:spLocks noGrp="1"/>
          </p:cNvSpPr>
          <p:nvPr>
            <p:ph type="body" sz="quarter" idx="50"/>
          </p:nvPr>
        </p:nvSpPr>
        <p:spPr>
          <a:xfrm>
            <a:off x="8383503" y="4891092"/>
            <a:ext cx="3297657"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35" name="Text Placeholder 4">
            <a:extLst>
              <a:ext uri="{FF2B5EF4-FFF2-40B4-BE49-F238E27FC236}">
                <a16:creationId xmlns:a16="http://schemas.microsoft.com/office/drawing/2014/main" id="{9D86AF29-89A3-4E98-97AC-450D9712C1BC}"/>
              </a:ext>
            </a:extLst>
          </p:cNvPr>
          <p:cNvSpPr>
            <a:spLocks noGrp="1"/>
          </p:cNvSpPr>
          <p:nvPr>
            <p:ph type="body" sz="quarter" idx="51"/>
          </p:nvPr>
        </p:nvSpPr>
        <p:spPr>
          <a:xfrm>
            <a:off x="8383503" y="4188257"/>
            <a:ext cx="3297657" cy="492443"/>
          </a:xfrm>
        </p:spPr>
        <p:txBody>
          <a:bodyPr anchor="b" anchorCtr="0"/>
          <a:lstStyle>
            <a:lvl1pPr marL="0" indent="0" algn="ctr">
              <a:lnSpc>
                <a:spcPct val="100000"/>
              </a:lnSpc>
              <a:buNone/>
              <a:defRPr sz="1600" b="1"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693602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46BC1832-9F37-4F1E-874B-A99F4932FEBB}"/>
              </a:ext>
            </a:extLst>
          </p:cNvPr>
          <p:cNvSpPr/>
          <p:nvPr userDrawn="1"/>
        </p:nvSpPr>
        <p:spPr>
          <a:xfrm>
            <a:off x="203200" y="3836912"/>
            <a:ext cx="2826097" cy="2457178"/>
          </a:xfrm>
          <a:prstGeom prst="rect">
            <a:avLst/>
          </a:prstGeom>
          <a:solidFill>
            <a:schemeClr val="accent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90000"/>
              </a:lnSpc>
              <a:spcBef>
                <a:spcPct val="0"/>
              </a:spcBef>
              <a:spcAft>
                <a:spcPct val="35000"/>
              </a:spcAft>
            </a:pPr>
            <a:endParaRPr lang="en-US" sz="1600" b="1" dirty="0">
              <a:solidFill>
                <a:schemeClr val="bg1"/>
              </a:solidFill>
            </a:endParaRPr>
          </a:p>
        </p:txBody>
      </p:sp>
      <p:sp>
        <p:nvSpPr>
          <p:cNvPr id="98" name="Rectangle 97">
            <a:extLst>
              <a:ext uri="{FF2B5EF4-FFF2-40B4-BE49-F238E27FC236}">
                <a16:creationId xmlns:a16="http://schemas.microsoft.com/office/drawing/2014/main" id="{5408B454-36A9-4B96-8398-D987C354EA32}"/>
              </a:ext>
            </a:extLst>
          </p:cNvPr>
          <p:cNvSpPr/>
          <p:nvPr userDrawn="1"/>
        </p:nvSpPr>
        <p:spPr>
          <a:xfrm>
            <a:off x="3189702" y="3836912"/>
            <a:ext cx="2826097" cy="2457178"/>
          </a:xfrm>
          <a:prstGeom prst="rect">
            <a:avLst/>
          </a:prstGeom>
          <a:solidFill>
            <a:schemeClr val="accent4">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90000"/>
              </a:lnSpc>
              <a:spcBef>
                <a:spcPct val="0"/>
              </a:spcBef>
              <a:spcAft>
                <a:spcPct val="35000"/>
              </a:spcAft>
            </a:pPr>
            <a:endParaRPr lang="en-US" sz="1600" b="1" dirty="0">
              <a:solidFill>
                <a:schemeClr val="bg1"/>
              </a:solidFill>
            </a:endParaRPr>
          </a:p>
        </p:txBody>
      </p:sp>
      <p:sp>
        <p:nvSpPr>
          <p:cNvPr id="99" name="Rectangle 98">
            <a:extLst>
              <a:ext uri="{FF2B5EF4-FFF2-40B4-BE49-F238E27FC236}">
                <a16:creationId xmlns:a16="http://schemas.microsoft.com/office/drawing/2014/main" id="{2CD50FE3-298B-4A46-B8DB-60FED5A650FB}"/>
              </a:ext>
            </a:extLst>
          </p:cNvPr>
          <p:cNvSpPr/>
          <p:nvPr userDrawn="1"/>
        </p:nvSpPr>
        <p:spPr>
          <a:xfrm>
            <a:off x="6176202" y="3836912"/>
            <a:ext cx="2826097" cy="2457178"/>
          </a:xfrm>
          <a:prstGeom prst="rect">
            <a:avLst/>
          </a:prstGeom>
          <a:solidFill>
            <a:schemeClr val="accent1">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90000"/>
              </a:lnSpc>
              <a:spcBef>
                <a:spcPct val="0"/>
              </a:spcBef>
              <a:spcAft>
                <a:spcPct val="35000"/>
              </a:spcAft>
            </a:pPr>
            <a:endParaRPr lang="en-US" sz="1600" b="1" dirty="0">
              <a:solidFill>
                <a:schemeClr val="bg1"/>
              </a:solidFill>
            </a:endParaRPr>
          </a:p>
        </p:txBody>
      </p:sp>
      <p:cxnSp>
        <p:nvCxnSpPr>
          <p:cNvPr id="100" name="Straight Connector 99">
            <a:extLst>
              <a:ext uri="{FF2B5EF4-FFF2-40B4-BE49-F238E27FC236}">
                <a16:creationId xmlns:a16="http://schemas.microsoft.com/office/drawing/2014/main" id="{21EE0957-E810-400B-8C24-4E897F5DF337}"/>
              </a:ext>
            </a:extLst>
          </p:cNvPr>
          <p:cNvCxnSpPr/>
          <p:nvPr userDrawn="1"/>
        </p:nvCxnSpPr>
        <p:spPr>
          <a:xfrm>
            <a:off x="365280" y="4808087"/>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 Placeholder 4">
            <a:extLst>
              <a:ext uri="{FF2B5EF4-FFF2-40B4-BE49-F238E27FC236}">
                <a16:creationId xmlns:a16="http://schemas.microsoft.com/office/drawing/2014/main" id="{76CC52DC-6AC7-45EF-8D1A-4940C213FE59}"/>
              </a:ext>
            </a:extLst>
          </p:cNvPr>
          <p:cNvSpPr>
            <a:spLocks noGrp="1"/>
          </p:cNvSpPr>
          <p:nvPr>
            <p:ph type="body" sz="quarter" idx="48"/>
          </p:nvPr>
        </p:nvSpPr>
        <p:spPr>
          <a:xfrm>
            <a:off x="365280" y="4927006"/>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102" name="Text Placeholder 4">
            <a:extLst>
              <a:ext uri="{FF2B5EF4-FFF2-40B4-BE49-F238E27FC236}">
                <a16:creationId xmlns:a16="http://schemas.microsoft.com/office/drawing/2014/main" id="{5A53E9E9-5110-4DD3-8B82-AB4BBF7EBA52}"/>
              </a:ext>
            </a:extLst>
          </p:cNvPr>
          <p:cNvSpPr>
            <a:spLocks noGrp="1"/>
          </p:cNvSpPr>
          <p:nvPr>
            <p:ph type="body" sz="quarter" idx="49"/>
          </p:nvPr>
        </p:nvSpPr>
        <p:spPr>
          <a:xfrm>
            <a:off x="365280" y="4224171"/>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103" name="Straight Connector 102">
            <a:extLst>
              <a:ext uri="{FF2B5EF4-FFF2-40B4-BE49-F238E27FC236}">
                <a16:creationId xmlns:a16="http://schemas.microsoft.com/office/drawing/2014/main" id="{D4DA404F-2200-4698-9A24-BFCDE79C7E99}"/>
              </a:ext>
            </a:extLst>
          </p:cNvPr>
          <p:cNvCxnSpPr/>
          <p:nvPr userDrawn="1"/>
        </p:nvCxnSpPr>
        <p:spPr>
          <a:xfrm>
            <a:off x="3346605" y="4808087"/>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Text Placeholder 4">
            <a:extLst>
              <a:ext uri="{FF2B5EF4-FFF2-40B4-BE49-F238E27FC236}">
                <a16:creationId xmlns:a16="http://schemas.microsoft.com/office/drawing/2014/main" id="{9CA03118-6D0C-4BE0-82CE-1FED12045851}"/>
              </a:ext>
            </a:extLst>
          </p:cNvPr>
          <p:cNvSpPr>
            <a:spLocks noGrp="1"/>
          </p:cNvSpPr>
          <p:nvPr>
            <p:ph type="body" sz="quarter" idx="50"/>
          </p:nvPr>
        </p:nvSpPr>
        <p:spPr>
          <a:xfrm>
            <a:off x="3346605" y="4927006"/>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105" name="Text Placeholder 4">
            <a:extLst>
              <a:ext uri="{FF2B5EF4-FFF2-40B4-BE49-F238E27FC236}">
                <a16:creationId xmlns:a16="http://schemas.microsoft.com/office/drawing/2014/main" id="{045C93EA-7183-4F4D-9050-0FFD2AC5C67D}"/>
              </a:ext>
            </a:extLst>
          </p:cNvPr>
          <p:cNvSpPr>
            <a:spLocks noGrp="1"/>
          </p:cNvSpPr>
          <p:nvPr>
            <p:ph type="body" sz="quarter" idx="51"/>
          </p:nvPr>
        </p:nvSpPr>
        <p:spPr>
          <a:xfrm>
            <a:off x="3346605" y="4224171"/>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106" name="Straight Connector 105">
            <a:extLst>
              <a:ext uri="{FF2B5EF4-FFF2-40B4-BE49-F238E27FC236}">
                <a16:creationId xmlns:a16="http://schemas.microsoft.com/office/drawing/2014/main" id="{C2997D4E-7691-4DBA-B049-739E570456DA}"/>
              </a:ext>
            </a:extLst>
          </p:cNvPr>
          <p:cNvCxnSpPr/>
          <p:nvPr userDrawn="1"/>
        </p:nvCxnSpPr>
        <p:spPr>
          <a:xfrm>
            <a:off x="6327930" y="4808087"/>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7" name="Text Placeholder 4">
            <a:extLst>
              <a:ext uri="{FF2B5EF4-FFF2-40B4-BE49-F238E27FC236}">
                <a16:creationId xmlns:a16="http://schemas.microsoft.com/office/drawing/2014/main" id="{F1DB531D-0537-4D7E-8996-70431D4E47A7}"/>
              </a:ext>
            </a:extLst>
          </p:cNvPr>
          <p:cNvSpPr>
            <a:spLocks noGrp="1"/>
          </p:cNvSpPr>
          <p:nvPr>
            <p:ph type="body" sz="quarter" idx="52"/>
          </p:nvPr>
        </p:nvSpPr>
        <p:spPr>
          <a:xfrm>
            <a:off x="6327930" y="4927006"/>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108" name="Text Placeholder 4">
            <a:extLst>
              <a:ext uri="{FF2B5EF4-FFF2-40B4-BE49-F238E27FC236}">
                <a16:creationId xmlns:a16="http://schemas.microsoft.com/office/drawing/2014/main" id="{890658E9-9600-4E62-9B66-DA77E8072CFC}"/>
              </a:ext>
            </a:extLst>
          </p:cNvPr>
          <p:cNvSpPr>
            <a:spLocks noGrp="1"/>
          </p:cNvSpPr>
          <p:nvPr>
            <p:ph type="body" sz="quarter" idx="53"/>
          </p:nvPr>
        </p:nvSpPr>
        <p:spPr>
          <a:xfrm>
            <a:off x="6327930" y="4224171"/>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sp>
        <p:nvSpPr>
          <p:cNvPr id="36" name="Rectangle 35">
            <a:extLst>
              <a:ext uri="{FF2B5EF4-FFF2-40B4-BE49-F238E27FC236}">
                <a16:creationId xmlns:a16="http://schemas.microsoft.com/office/drawing/2014/main" id="{E218A458-9679-4B44-8ED7-609F8366CC65}"/>
              </a:ext>
            </a:extLst>
          </p:cNvPr>
          <p:cNvSpPr/>
          <p:nvPr userDrawn="1"/>
        </p:nvSpPr>
        <p:spPr>
          <a:xfrm>
            <a:off x="203200" y="1196788"/>
            <a:ext cx="2826097" cy="2457178"/>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marL="0" lvl="0" indent="0" algn="ctr" defTabSz="711200">
              <a:lnSpc>
                <a:spcPct val="100000"/>
              </a:lnSpc>
              <a:spcBef>
                <a:spcPct val="0"/>
              </a:spcBef>
              <a:spcAft>
                <a:spcPct val="35000"/>
              </a:spcAft>
              <a:buNone/>
            </a:pPr>
            <a:endParaRPr lang="en-US" sz="1600" kern="1200" dirty="0">
              <a:solidFill>
                <a:schemeClr val="bg1"/>
              </a:solidFill>
            </a:endParaRPr>
          </a:p>
        </p:txBody>
      </p:sp>
      <p:sp>
        <p:nvSpPr>
          <p:cNvPr id="38" name="Rectangle 37">
            <a:extLst>
              <a:ext uri="{FF2B5EF4-FFF2-40B4-BE49-F238E27FC236}">
                <a16:creationId xmlns:a16="http://schemas.microsoft.com/office/drawing/2014/main" id="{611D792C-48DB-415C-91F8-480A1CCBC114}"/>
              </a:ext>
            </a:extLst>
          </p:cNvPr>
          <p:cNvSpPr/>
          <p:nvPr userDrawn="1"/>
        </p:nvSpPr>
        <p:spPr>
          <a:xfrm>
            <a:off x="3189702" y="1196788"/>
            <a:ext cx="2826097" cy="2457178"/>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algn="ctr" defTabSz="711200">
              <a:lnSpc>
                <a:spcPct val="100000"/>
              </a:lnSpc>
              <a:spcBef>
                <a:spcPct val="0"/>
              </a:spcBef>
              <a:spcAft>
                <a:spcPct val="35000"/>
              </a:spcAft>
            </a:pPr>
            <a:endParaRPr lang="en-US" sz="1600" b="1" dirty="0">
              <a:solidFill>
                <a:schemeClr val="bg1"/>
              </a:solidFill>
            </a:endParaRPr>
          </a:p>
        </p:txBody>
      </p:sp>
      <p:sp>
        <p:nvSpPr>
          <p:cNvPr id="40" name="Rectangle 39">
            <a:extLst>
              <a:ext uri="{FF2B5EF4-FFF2-40B4-BE49-F238E27FC236}">
                <a16:creationId xmlns:a16="http://schemas.microsoft.com/office/drawing/2014/main" id="{3327300C-BF75-44CF-815C-B0E617DED9FD}"/>
              </a:ext>
            </a:extLst>
          </p:cNvPr>
          <p:cNvSpPr/>
          <p:nvPr userDrawn="1"/>
        </p:nvSpPr>
        <p:spPr>
          <a:xfrm>
            <a:off x="6176202" y="1196788"/>
            <a:ext cx="2826097" cy="2457178"/>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100000"/>
              </a:lnSpc>
              <a:spcBef>
                <a:spcPct val="0"/>
              </a:spcBef>
              <a:spcAft>
                <a:spcPct val="35000"/>
              </a:spcAft>
            </a:pPr>
            <a:endParaRPr lang="en-US" sz="1600" dirty="0">
              <a:solidFill>
                <a:schemeClr val="bg1"/>
              </a:solidFill>
            </a:endParaRPr>
          </a:p>
        </p:txBody>
      </p:sp>
      <p:sp>
        <p:nvSpPr>
          <p:cNvPr id="42" name="Rectangle 41">
            <a:extLst>
              <a:ext uri="{FF2B5EF4-FFF2-40B4-BE49-F238E27FC236}">
                <a16:creationId xmlns:a16="http://schemas.microsoft.com/office/drawing/2014/main" id="{74BB0F58-AD81-46FB-BAD0-A511790F6E76}"/>
              </a:ext>
            </a:extLst>
          </p:cNvPr>
          <p:cNvSpPr/>
          <p:nvPr userDrawn="1"/>
        </p:nvSpPr>
        <p:spPr>
          <a:xfrm>
            <a:off x="9162703" y="1196788"/>
            <a:ext cx="2826097" cy="2457178"/>
          </a:xfrm>
          <a:prstGeom prst="rect">
            <a:avLst/>
          </a:prstGeom>
          <a:solidFill>
            <a:schemeClr val="accent4"/>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640080" rIns="91440" bIns="91440" numCol="1" spcCol="1270" anchor="t" anchorCtr="0">
            <a:noAutofit/>
          </a:bodyPr>
          <a:lstStyle/>
          <a:p>
            <a:pPr lvl="0" algn="ctr" defTabSz="711200">
              <a:lnSpc>
                <a:spcPct val="100000"/>
              </a:lnSpc>
              <a:spcBef>
                <a:spcPct val="0"/>
              </a:spcBef>
              <a:spcAft>
                <a:spcPct val="35000"/>
              </a:spcAft>
            </a:pPr>
            <a:endParaRPr lang="en-US" sz="1600" dirty="0">
              <a:solidFill>
                <a:schemeClr val="bg1"/>
              </a:solidFill>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cxnSp>
        <p:nvCxnSpPr>
          <p:cNvPr id="65" name="Straight Connector 64">
            <a:extLst>
              <a:ext uri="{FF2B5EF4-FFF2-40B4-BE49-F238E27FC236}">
                <a16:creationId xmlns:a16="http://schemas.microsoft.com/office/drawing/2014/main" id="{3D4FF28C-B7DF-4A5C-9230-4EEB268C3EA3}"/>
              </a:ext>
            </a:extLst>
          </p:cNvPr>
          <p:cNvCxnSpPr/>
          <p:nvPr userDrawn="1"/>
        </p:nvCxnSpPr>
        <p:spPr>
          <a:xfrm>
            <a:off x="365280" y="2167963"/>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Text Placeholder 4">
            <a:extLst>
              <a:ext uri="{FF2B5EF4-FFF2-40B4-BE49-F238E27FC236}">
                <a16:creationId xmlns:a16="http://schemas.microsoft.com/office/drawing/2014/main" id="{61F28FE5-EDEE-4F47-903E-DB678416F60C}"/>
              </a:ext>
            </a:extLst>
          </p:cNvPr>
          <p:cNvSpPr>
            <a:spLocks noGrp="1"/>
          </p:cNvSpPr>
          <p:nvPr userDrawn="1">
            <p:ph type="body" sz="quarter" idx="33"/>
          </p:nvPr>
        </p:nvSpPr>
        <p:spPr>
          <a:xfrm>
            <a:off x="365280" y="2286882"/>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80" name="Text Placeholder 4">
            <a:extLst>
              <a:ext uri="{FF2B5EF4-FFF2-40B4-BE49-F238E27FC236}">
                <a16:creationId xmlns:a16="http://schemas.microsoft.com/office/drawing/2014/main" id="{BA4F54F9-D42D-42C9-86EE-C786FE62297E}"/>
              </a:ext>
            </a:extLst>
          </p:cNvPr>
          <p:cNvSpPr>
            <a:spLocks noGrp="1"/>
          </p:cNvSpPr>
          <p:nvPr userDrawn="1">
            <p:ph type="body" sz="quarter" idx="34"/>
          </p:nvPr>
        </p:nvSpPr>
        <p:spPr>
          <a:xfrm>
            <a:off x="365280" y="1584047"/>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45" name="Straight Connector 44">
            <a:extLst>
              <a:ext uri="{FF2B5EF4-FFF2-40B4-BE49-F238E27FC236}">
                <a16:creationId xmlns:a16="http://schemas.microsoft.com/office/drawing/2014/main" id="{A3CE2888-AB73-476C-A04A-19CE27394CC9}"/>
              </a:ext>
            </a:extLst>
          </p:cNvPr>
          <p:cNvCxnSpPr/>
          <p:nvPr userDrawn="1"/>
        </p:nvCxnSpPr>
        <p:spPr>
          <a:xfrm>
            <a:off x="3346605" y="2167963"/>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 Placeholder 4">
            <a:extLst>
              <a:ext uri="{FF2B5EF4-FFF2-40B4-BE49-F238E27FC236}">
                <a16:creationId xmlns:a16="http://schemas.microsoft.com/office/drawing/2014/main" id="{3EB101B9-E23F-43EE-92C6-F8E4E5DEE21C}"/>
              </a:ext>
            </a:extLst>
          </p:cNvPr>
          <p:cNvSpPr>
            <a:spLocks noGrp="1"/>
          </p:cNvSpPr>
          <p:nvPr userDrawn="1">
            <p:ph type="body" sz="quarter" idx="42"/>
          </p:nvPr>
        </p:nvSpPr>
        <p:spPr>
          <a:xfrm>
            <a:off x="3346605" y="2286882"/>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47" name="Text Placeholder 4">
            <a:extLst>
              <a:ext uri="{FF2B5EF4-FFF2-40B4-BE49-F238E27FC236}">
                <a16:creationId xmlns:a16="http://schemas.microsoft.com/office/drawing/2014/main" id="{B353F992-A8CA-415B-91C4-10AC18AB3AAB}"/>
              </a:ext>
            </a:extLst>
          </p:cNvPr>
          <p:cNvSpPr>
            <a:spLocks noGrp="1"/>
          </p:cNvSpPr>
          <p:nvPr userDrawn="1">
            <p:ph type="body" sz="quarter" idx="43"/>
          </p:nvPr>
        </p:nvSpPr>
        <p:spPr>
          <a:xfrm>
            <a:off x="3346605" y="1584047"/>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48" name="Straight Connector 47">
            <a:extLst>
              <a:ext uri="{FF2B5EF4-FFF2-40B4-BE49-F238E27FC236}">
                <a16:creationId xmlns:a16="http://schemas.microsoft.com/office/drawing/2014/main" id="{80AA51BE-DC2A-420D-A2F7-29B2B1FC9F4E}"/>
              </a:ext>
            </a:extLst>
          </p:cNvPr>
          <p:cNvCxnSpPr/>
          <p:nvPr userDrawn="1"/>
        </p:nvCxnSpPr>
        <p:spPr>
          <a:xfrm>
            <a:off x="6327930" y="2167963"/>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 Placeholder 4">
            <a:extLst>
              <a:ext uri="{FF2B5EF4-FFF2-40B4-BE49-F238E27FC236}">
                <a16:creationId xmlns:a16="http://schemas.microsoft.com/office/drawing/2014/main" id="{DD76C659-6ADC-45B1-810A-C33B365DF1E3}"/>
              </a:ext>
            </a:extLst>
          </p:cNvPr>
          <p:cNvSpPr>
            <a:spLocks noGrp="1"/>
          </p:cNvSpPr>
          <p:nvPr userDrawn="1">
            <p:ph type="body" sz="quarter" idx="44"/>
          </p:nvPr>
        </p:nvSpPr>
        <p:spPr>
          <a:xfrm>
            <a:off x="6327930" y="2286882"/>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50" name="Text Placeholder 4">
            <a:extLst>
              <a:ext uri="{FF2B5EF4-FFF2-40B4-BE49-F238E27FC236}">
                <a16:creationId xmlns:a16="http://schemas.microsoft.com/office/drawing/2014/main" id="{9228950D-CF68-4FC2-B47D-2BBEF9E827E5}"/>
              </a:ext>
            </a:extLst>
          </p:cNvPr>
          <p:cNvSpPr>
            <a:spLocks noGrp="1"/>
          </p:cNvSpPr>
          <p:nvPr userDrawn="1">
            <p:ph type="body" sz="quarter" idx="45"/>
          </p:nvPr>
        </p:nvSpPr>
        <p:spPr>
          <a:xfrm>
            <a:off x="6327930" y="1584047"/>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cxnSp>
        <p:nvCxnSpPr>
          <p:cNvPr id="51" name="Straight Connector 50">
            <a:extLst>
              <a:ext uri="{FF2B5EF4-FFF2-40B4-BE49-F238E27FC236}">
                <a16:creationId xmlns:a16="http://schemas.microsoft.com/office/drawing/2014/main" id="{0E44C411-A3CC-45DC-BA39-2614B7343CB1}"/>
              </a:ext>
            </a:extLst>
          </p:cNvPr>
          <p:cNvCxnSpPr/>
          <p:nvPr userDrawn="1"/>
        </p:nvCxnSpPr>
        <p:spPr>
          <a:xfrm>
            <a:off x="9309255" y="2167963"/>
            <a:ext cx="250193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 Placeholder 4">
            <a:extLst>
              <a:ext uri="{FF2B5EF4-FFF2-40B4-BE49-F238E27FC236}">
                <a16:creationId xmlns:a16="http://schemas.microsoft.com/office/drawing/2014/main" id="{9DC2740E-231E-4803-BC21-AED09A826FEF}"/>
              </a:ext>
            </a:extLst>
          </p:cNvPr>
          <p:cNvSpPr>
            <a:spLocks noGrp="1"/>
          </p:cNvSpPr>
          <p:nvPr userDrawn="1">
            <p:ph type="body" sz="quarter" idx="46"/>
          </p:nvPr>
        </p:nvSpPr>
        <p:spPr>
          <a:xfrm>
            <a:off x="9309255" y="2286882"/>
            <a:ext cx="2501936" cy="184666"/>
          </a:xfrm>
        </p:spPr>
        <p:txBody>
          <a:bodyPr/>
          <a:lstStyle>
            <a:lvl1pPr marL="0" indent="0" algn="ctr">
              <a:lnSpc>
                <a:spcPct val="100000"/>
              </a:lnSpc>
              <a:spcBef>
                <a:spcPts val="0"/>
              </a:spcBef>
              <a:spcAft>
                <a:spcPts val="1800"/>
              </a:spcAft>
              <a:buNone/>
              <a:defRPr sz="1200">
                <a:solidFill>
                  <a:schemeClr val="bg1"/>
                </a:solidFill>
              </a:defRPr>
            </a:lvl1pPr>
          </a:lstStyle>
          <a:p>
            <a:pPr lvl="0"/>
            <a:r>
              <a:rPr lang="en-US"/>
              <a:t>Click to edit Master text styles</a:t>
            </a:r>
          </a:p>
        </p:txBody>
      </p:sp>
      <p:sp>
        <p:nvSpPr>
          <p:cNvPr id="53" name="Text Placeholder 4">
            <a:extLst>
              <a:ext uri="{FF2B5EF4-FFF2-40B4-BE49-F238E27FC236}">
                <a16:creationId xmlns:a16="http://schemas.microsoft.com/office/drawing/2014/main" id="{1DD47AA9-244E-4158-BAE9-EBF7725AEEA4}"/>
              </a:ext>
            </a:extLst>
          </p:cNvPr>
          <p:cNvSpPr>
            <a:spLocks noGrp="1"/>
          </p:cNvSpPr>
          <p:nvPr userDrawn="1">
            <p:ph type="body" sz="quarter" idx="47"/>
          </p:nvPr>
        </p:nvSpPr>
        <p:spPr>
          <a:xfrm>
            <a:off x="9309255" y="1584047"/>
            <a:ext cx="2501936" cy="492443"/>
          </a:xfrm>
        </p:spPr>
        <p:txBody>
          <a:bodyPr anchor="b" anchorCtr="0">
            <a:spAutoFit/>
          </a:bodyPr>
          <a:lstStyle>
            <a:lvl1pPr marL="0" indent="0" algn="ctr">
              <a:lnSpc>
                <a:spcPct val="100000"/>
              </a:lnSpc>
              <a:buNone/>
              <a:defRPr sz="1600" b="1"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55547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80" name="Text Placeholder 4">
            <a:extLst>
              <a:ext uri="{FF2B5EF4-FFF2-40B4-BE49-F238E27FC236}">
                <a16:creationId xmlns:a16="http://schemas.microsoft.com/office/drawing/2014/main" id="{BA4F54F9-D42D-42C9-86EE-C786FE62297E}"/>
              </a:ext>
            </a:extLst>
          </p:cNvPr>
          <p:cNvSpPr>
            <a:spLocks noGrp="1"/>
          </p:cNvSpPr>
          <p:nvPr userDrawn="1">
            <p:ph type="body" sz="quarter" idx="34" hasCustomPrompt="1"/>
          </p:nvPr>
        </p:nvSpPr>
        <p:spPr>
          <a:xfrm>
            <a:off x="368950" y="1325516"/>
            <a:ext cx="2898315" cy="184666"/>
          </a:xfrm>
        </p:spPr>
        <p:txBody>
          <a:bodyPr anchor="b" anchorCtr="0">
            <a:spAutoFit/>
          </a:bodyPr>
          <a:lstStyle>
            <a:lvl1pPr marL="0" indent="0" algn="l">
              <a:lnSpc>
                <a:spcPct val="100000"/>
              </a:lnSpc>
              <a:buNone/>
              <a:defRPr sz="1200" b="1" cap="all" baseline="0">
                <a:solidFill>
                  <a:schemeClr val="accent1"/>
                </a:solidFill>
              </a:defRPr>
            </a:lvl1pPr>
          </a:lstStyle>
          <a:p>
            <a:pPr lvl="0"/>
            <a:r>
              <a:rPr lang="en-US"/>
              <a:t>CLICK TO EDIT MASTER TEXT STYLES</a:t>
            </a:r>
          </a:p>
        </p:txBody>
      </p:sp>
      <p:sp>
        <p:nvSpPr>
          <p:cNvPr id="39" name="Text Box 56">
            <a:extLst>
              <a:ext uri="{FF2B5EF4-FFF2-40B4-BE49-F238E27FC236}">
                <a16:creationId xmlns:a16="http://schemas.microsoft.com/office/drawing/2014/main" id="{D47B3691-E4CF-47AC-9FF9-4289F5CEFED1}"/>
              </a:ext>
            </a:extLst>
          </p:cNvPr>
          <p:cNvSpPr txBox="1">
            <a:spLocks noChangeArrowheads="1"/>
          </p:cNvSpPr>
          <p:nvPr userDrawn="1"/>
        </p:nvSpPr>
        <p:spPr bwMode="gray">
          <a:xfrm>
            <a:off x="346992" y="1679494"/>
            <a:ext cx="2898315" cy="1492716"/>
          </a:xfrm>
          <a:prstGeom prst="rect">
            <a:avLst/>
          </a:prstGeom>
          <a:solidFill>
            <a:schemeClr val="accent1"/>
          </a:solidFill>
          <a:ln>
            <a:noFill/>
          </a:ln>
        </p:spPr>
        <p:txBody>
          <a:bodyPr wrap="square" tIns="91440" bIns="91440" anchor="ctr">
            <a:noAutofit/>
          </a:bodyPr>
          <a:lstStyle>
            <a:lvl1pPr marL="88900" indent="-88900" eaLnBrk="0" hangingPunct="0">
              <a:defRPr sz="1400">
                <a:solidFill>
                  <a:schemeClr val="tx1"/>
                </a:solidFill>
                <a:latin typeface="Arial" charset="0"/>
                <a:ea typeface="MS PGothic" pitchFamily="34" charset="-128"/>
              </a:defRPr>
            </a:lvl1pPr>
            <a:lvl2pPr marL="742950" indent="-285750" eaLnBrk="0" hangingPunct="0">
              <a:defRPr sz="1400">
                <a:solidFill>
                  <a:schemeClr val="tx1"/>
                </a:solidFill>
                <a:latin typeface="Arial" charset="0"/>
                <a:ea typeface="MS PGothic" pitchFamily="34" charset="-128"/>
              </a:defRPr>
            </a:lvl2pPr>
            <a:lvl3pPr marL="1143000" indent="-228600" eaLnBrk="0" hangingPunct="0">
              <a:defRPr sz="1400">
                <a:solidFill>
                  <a:schemeClr val="tx1"/>
                </a:solidFill>
                <a:latin typeface="Arial" charset="0"/>
                <a:ea typeface="MS PGothic" pitchFamily="34" charset="-128"/>
              </a:defRPr>
            </a:lvl3pPr>
            <a:lvl4pPr marL="1600200" indent="-228600" eaLnBrk="0" hangingPunct="0">
              <a:defRPr sz="1400">
                <a:solidFill>
                  <a:schemeClr val="tx1"/>
                </a:solidFill>
                <a:latin typeface="Arial" charset="0"/>
                <a:ea typeface="MS PGothic" pitchFamily="34" charset="-128"/>
              </a:defRPr>
            </a:lvl4pPr>
            <a:lvl5pPr marL="2057400" indent="-228600" eaLnBrk="0" hangingPunct="0">
              <a:defRPr sz="1400">
                <a:solidFill>
                  <a:schemeClr val="tx1"/>
                </a:solidFill>
                <a:latin typeface="Arial" charset="0"/>
                <a:ea typeface="MS PGothic" pitchFamily="34" charset="-128"/>
              </a:defRPr>
            </a:lvl5pPr>
            <a:lvl6pPr marL="2514600" indent="-228600" algn="just" eaLnBrk="0" fontAlgn="base" hangingPunct="0">
              <a:lnSpc>
                <a:spcPct val="125000"/>
              </a:lnSpc>
              <a:spcBef>
                <a:spcPct val="20000"/>
              </a:spcBef>
              <a:spcAft>
                <a:spcPct val="0"/>
              </a:spcAft>
              <a:buClr>
                <a:srgbClr val="17426B"/>
              </a:buClr>
              <a:buFont typeface="Wingdings" pitchFamily="2" charset="2"/>
              <a:defRPr sz="1400">
                <a:solidFill>
                  <a:schemeClr val="tx1"/>
                </a:solidFill>
                <a:latin typeface="Arial" charset="0"/>
                <a:ea typeface="MS PGothic" pitchFamily="34" charset="-128"/>
              </a:defRPr>
            </a:lvl6pPr>
            <a:lvl7pPr marL="2971800" indent="-228600" algn="just" eaLnBrk="0" fontAlgn="base" hangingPunct="0">
              <a:lnSpc>
                <a:spcPct val="125000"/>
              </a:lnSpc>
              <a:spcBef>
                <a:spcPct val="20000"/>
              </a:spcBef>
              <a:spcAft>
                <a:spcPct val="0"/>
              </a:spcAft>
              <a:buClr>
                <a:srgbClr val="17426B"/>
              </a:buClr>
              <a:buFont typeface="Wingdings" pitchFamily="2" charset="2"/>
              <a:defRPr sz="1400">
                <a:solidFill>
                  <a:schemeClr val="tx1"/>
                </a:solidFill>
                <a:latin typeface="Arial" charset="0"/>
                <a:ea typeface="MS PGothic" pitchFamily="34" charset="-128"/>
              </a:defRPr>
            </a:lvl7pPr>
            <a:lvl8pPr marL="3429000" indent="-228600" algn="just" eaLnBrk="0" fontAlgn="base" hangingPunct="0">
              <a:lnSpc>
                <a:spcPct val="125000"/>
              </a:lnSpc>
              <a:spcBef>
                <a:spcPct val="20000"/>
              </a:spcBef>
              <a:spcAft>
                <a:spcPct val="0"/>
              </a:spcAft>
              <a:buClr>
                <a:srgbClr val="17426B"/>
              </a:buClr>
              <a:buFont typeface="Wingdings" pitchFamily="2" charset="2"/>
              <a:defRPr sz="1400">
                <a:solidFill>
                  <a:schemeClr val="tx1"/>
                </a:solidFill>
                <a:latin typeface="Arial" charset="0"/>
                <a:ea typeface="MS PGothic" pitchFamily="34" charset="-128"/>
              </a:defRPr>
            </a:lvl8pPr>
            <a:lvl9pPr marL="3886200" indent="-228600" algn="just" eaLnBrk="0" fontAlgn="base" hangingPunct="0">
              <a:lnSpc>
                <a:spcPct val="125000"/>
              </a:lnSpc>
              <a:spcBef>
                <a:spcPct val="20000"/>
              </a:spcBef>
              <a:spcAft>
                <a:spcPct val="0"/>
              </a:spcAft>
              <a:buClr>
                <a:srgbClr val="17426B"/>
              </a:buClr>
              <a:buFont typeface="Wingdings" pitchFamily="2" charset="2"/>
              <a:defRPr sz="1400">
                <a:solidFill>
                  <a:schemeClr val="tx1"/>
                </a:solidFill>
                <a:latin typeface="Arial" charset="0"/>
                <a:ea typeface="MS PGothic" pitchFamily="34" charset="-128"/>
              </a:defRPr>
            </a:lvl9pPr>
          </a:lstStyle>
          <a:p>
            <a:pPr marL="171450" indent="-171450" eaLnBrk="1" hangingPunct="1">
              <a:lnSpc>
                <a:spcPct val="100000"/>
              </a:lnSpc>
              <a:spcAft>
                <a:spcPts val="600"/>
              </a:spcAft>
              <a:buFont typeface="Arial" panose="020B0604020202020204" pitchFamily="34" charset="0"/>
              <a:buChar char="•"/>
            </a:pPr>
            <a:endParaRPr lang="en-US" sz="1000" dirty="0">
              <a:solidFill>
                <a:srgbClr val="FFFFFF"/>
              </a:solidFill>
              <a:latin typeface="+mn-lt"/>
            </a:endParaRPr>
          </a:p>
        </p:txBody>
      </p:sp>
      <p:cxnSp>
        <p:nvCxnSpPr>
          <p:cNvPr id="41" name="Straight Connector 40">
            <a:extLst>
              <a:ext uri="{FF2B5EF4-FFF2-40B4-BE49-F238E27FC236}">
                <a16:creationId xmlns:a16="http://schemas.microsoft.com/office/drawing/2014/main" id="{EA76B951-CFDE-4B1A-918C-F67687C931B3}"/>
              </a:ext>
            </a:extLst>
          </p:cNvPr>
          <p:cNvCxnSpPr/>
          <p:nvPr userDrawn="1"/>
        </p:nvCxnSpPr>
        <p:spPr>
          <a:xfrm>
            <a:off x="3722365" y="1583291"/>
            <a:ext cx="8122643"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Text Placeholder 4">
            <a:extLst>
              <a:ext uri="{FF2B5EF4-FFF2-40B4-BE49-F238E27FC236}">
                <a16:creationId xmlns:a16="http://schemas.microsoft.com/office/drawing/2014/main" id="{85333672-091A-40A3-B094-1100891B8EFE}"/>
              </a:ext>
            </a:extLst>
          </p:cNvPr>
          <p:cNvSpPr>
            <a:spLocks noGrp="1"/>
          </p:cNvSpPr>
          <p:nvPr>
            <p:ph type="body" sz="quarter" idx="42" hasCustomPrompt="1"/>
          </p:nvPr>
        </p:nvSpPr>
        <p:spPr>
          <a:xfrm>
            <a:off x="3722365" y="1325516"/>
            <a:ext cx="8122643" cy="184666"/>
          </a:xfrm>
        </p:spPr>
        <p:txBody>
          <a:bodyPr anchor="b" anchorCtr="0">
            <a:spAutoFit/>
          </a:bodyPr>
          <a:lstStyle>
            <a:lvl1pPr marL="0" indent="0" algn="l">
              <a:lnSpc>
                <a:spcPct val="100000"/>
              </a:lnSpc>
              <a:buNone/>
              <a:defRPr sz="1200" b="1" cap="all" baseline="0">
                <a:solidFill>
                  <a:schemeClr val="accent1"/>
                </a:solidFill>
              </a:defRPr>
            </a:lvl1pPr>
          </a:lstStyle>
          <a:p>
            <a:pPr lvl="0"/>
            <a:r>
              <a:rPr lang="en-US"/>
              <a:t>CLICK TO EDIT MASTER TEXT STYLES</a:t>
            </a:r>
          </a:p>
        </p:txBody>
      </p:sp>
      <p:sp>
        <p:nvSpPr>
          <p:cNvPr id="44" name="AutoShape 86">
            <a:extLst>
              <a:ext uri="{FF2B5EF4-FFF2-40B4-BE49-F238E27FC236}">
                <a16:creationId xmlns:a16="http://schemas.microsoft.com/office/drawing/2014/main" id="{6D89D12C-2ACB-40ED-BE69-40527F6EECE0}"/>
              </a:ext>
            </a:extLst>
          </p:cNvPr>
          <p:cNvSpPr>
            <a:spLocks noChangeArrowheads="1"/>
          </p:cNvSpPr>
          <p:nvPr userDrawn="1"/>
        </p:nvSpPr>
        <p:spPr bwMode="auto">
          <a:xfrm>
            <a:off x="346992" y="3258580"/>
            <a:ext cx="2898315" cy="550070"/>
          </a:xfrm>
          <a:prstGeom prst="rect">
            <a:avLst/>
          </a:prstGeom>
          <a:solidFill>
            <a:schemeClr val="accent1"/>
          </a:solidFill>
          <a:ln>
            <a:noFill/>
            <a:headEnd/>
            <a:tailEnd/>
          </a:ln>
        </p:spPr>
        <p:style>
          <a:lnRef idx="1">
            <a:schemeClr val="accent4"/>
          </a:lnRef>
          <a:fillRef idx="2">
            <a:schemeClr val="accent4"/>
          </a:fillRef>
          <a:effectRef idx="1">
            <a:schemeClr val="accent4"/>
          </a:effectRef>
          <a:fontRef idx="minor">
            <a:schemeClr val="dk1"/>
          </a:fontRef>
        </p:style>
        <p:txBody>
          <a:bodyPr wrap="square" tIns="91440" bIns="91440" anchor="ctr">
            <a:noAutofit/>
          </a:bodyPr>
          <a:lstStyle/>
          <a:p>
            <a:pPr>
              <a:lnSpc>
                <a:spcPct val="100000"/>
              </a:lnSpc>
              <a:spcBef>
                <a:spcPct val="0"/>
              </a:spcBef>
              <a:defRPr/>
            </a:pPr>
            <a:endParaRPr lang="en-US" sz="1000" dirty="0">
              <a:solidFill>
                <a:srgbClr val="FFFFFF"/>
              </a:solidFill>
            </a:endParaRPr>
          </a:p>
        </p:txBody>
      </p:sp>
      <p:sp>
        <p:nvSpPr>
          <p:cNvPr id="54" name="AutoShape 87">
            <a:extLst>
              <a:ext uri="{FF2B5EF4-FFF2-40B4-BE49-F238E27FC236}">
                <a16:creationId xmlns:a16="http://schemas.microsoft.com/office/drawing/2014/main" id="{DEDDD3B7-0EAE-493E-931F-BC8CBAFDC792}"/>
              </a:ext>
            </a:extLst>
          </p:cNvPr>
          <p:cNvSpPr>
            <a:spLocks noChangeArrowheads="1"/>
          </p:cNvSpPr>
          <p:nvPr userDrawn="1"/>
        </p:nvSpPr>
        <p:spPr bwMode="auto">
          <a:xfrm>
            <a:off x="346992" y="3895020"/>
            <a:ext cx="2898315" cy="550070"/>
          </a:xfrm>
          <a:prstGeom prst="rect">
            <a:avLst/>
          </a:prstGeom>
          <a:solidFill>
            <a:schemeClr val="accent1"/>
          </a:solidFill>
          <a:ln>
            <a:noFill/>
            <a:headEnd/>
            <a:tailEnd/>
          </a:ln>
        </p:spPr>
        <p:style>
          <a:lnRef idx="1">
            <a:schemeClr val="accent4"/>
          </a:lnRef>
          <a:fillRef idx="2">
            <a:schemeClr val="accent4"/>
          </a:fillRef>
          <a:effectRef idx="1">
            <a:schemeClr val="accent4"/>
          </a:effectRef>
          <a:fontRef idx="minor">
            <a:schemeClr val="dk1"/>
          </a:fontRef>
        </p:style>
        <p:txBody>
          <a:bodyPr wrap="square" tIns="91440" bIns="91440" anchor="ctr">
            <a:noAutofit/>
          </a:bodyPr>
          <a:lstStyle/>
          <a:p>
            <a:pPr>
              <a:lnSpc>
                <a:spcPct val="100000"/>
              </a:lnSpc>
              <a:spcBef>
                <a:spcPct val="0"/>
              </a:spcBef>
              <a:defRPr/>
            </a:pPr>
            <a:endParaRPr lang="en-US" sz="1000" dirty="0">
              <a:solidFill>
                <a:srgbClr val="FFFFFF"/>
              </a:solidFill>
            </a:endParaRPr>
          </a:p>
        </p:txBody>
      </p:sp>
      <p:sp>
        <p:nvSpPr>
          <p:cNvPr id="55" name="Rounded Rectangle 35">
            <a:extLst>
              <a:ext uri="{FF2B5EF4-FFF2-40B4-BE49-F238E27FC236}">
                <a16:creationId xmlns:a16="http://schemas.microsoft.com/office/drawing/2014/main" id="{C7BA8EF7-D741-42EF-BF38-BE694FB7D0BA}"/>
              </a:ext>
            </a:extLst>
          </p:cNvPr>
          <p:cNvSpPr/>
          <p:nvPr userDrawn="1"/>
        </p:nvSpPr>
        <p:spPr>
          <a:xfrm>
            <a:off x="346992" y="4531459"/>
            <a:ext cx="2898315" cy="14927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marL="171450" indent="-171450">
              <a:lnSpc>
                <a:spcPct val="100000"/>
              </a:lnSpc>
              <a:spcAft>
                <a:spcPts val="600"/>
              </a:spcAft>
              <a:buFont typeface="Arial" panose="020B0604020202020204" pitchFamily="34" charset="0"/>
              <a:buChar char="•"/>
            </a:pPr>
            <a:endParaRPr lang="en-IN" sz="1000" dirty="0">
              <a:solidFill>
                <a:srgbClr val="FFFFFF"/>
              </a:solidFill>
              <a:ea typeface="MS PGothic" pitchFamily="34" charset="-128"/>
            </a:endParaRPr>
          </a:p>
        </p:txBody>
      </p:sp>
      <p:sp>
        <p:nvSpPr>
          <p:cNvPr id="56" name="Right Brace 55">
            <a:extLst>
              <a:ext uri="{FF2B5EF4-FFF2-40B4-BE49-F238E27FC236}">
                <a16:creationId xmlns:a16="http://schemas.microsoft.com/office/drawing/2014/main" id="{C1367267-5981-41CC-A3A5-3885E1104A0E}"/>
              </a:ext>
            </a:extLst>
          </p:cNvPr>
          <p:cNvSpPr/>
          <p:nvPr userDrawn="1"/>
        </p:nvSpPr>
        <p:spPr>
          <a:xfrm>
            <a:off x="3350335" y="1678444"/>
            <a:ext cx="186425" cy="4366622"/>
          </a:xfrm>
          <a:prstGeom prst="rightBrace">
            <a:avLst>
              <a:gd name="adj1" fmla="val 42868"/>
              <a:gd name="adj2" fmla="val 4222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00000"/>
              </a:lnSpc>
            </a:pPr>
            <a:endParaRPr lang="en-US" sz="1000" dirty="0"/>
          </a:p>
        </p:txBody>
      </p:sp>
      <p:sp>
        <p:nvSpPr>
          <p:cNvPr id="79" name="Text Placeholder 4">
            <a:extLst>
              <a:ext uri="{FF2B5EF4-FFF2-40B4-BE49-F238E27FC236}">
                <a16:creationId xmlns:a16="http://schemas.microsoft.com/office/drawing/2014/main" id="{61F28FE5-EDEE-4F47-903E-DB678416F60C}"/>
              </a:ext>
            </a:extLst>
          </p:cNvPr>
          <p:cNvSpPr>
            <a:spLocks noGrp="1"/>
          </p:cNvSpPr>
          <p:nvPr userDrawn="1">
            <p:ph type="body" sz="quarter" idx="33"/>
          </p:nvPr>
        </p:nvSpPr>
        <p:spPr>
          <a:xfrm>
            <a:off x="507276" y="1782565"/>
            <a:ext cx="2577747" cy="153888"/>
          </a:xfrm>
        </p:spPr>
        <p:txBody>
          <a:bodyPr/>
          <a:lstStyle>
            <a:lvl1pPr marL="171450" indent="-171450" algn="l">
              <a:lnSpc>
                <a:spcPct val="100000"/>
              </a:lnSpc>
              <a:spcBef>
                <a:spcPts val="0"/>
              </a:spcBef>
              <a:spcAft>
                <a:spcPts val="600"/>
              </a:spcAft>
              <a:buClr>
                <a:schemeClr val="bg1"/>
              </a:buClr>
              <a:buFont typeface="Lato" panose="020F0502020204030203" pitchFamily="34" charset="0"/>
              <a:buChar char="•"/>
              <a:defRPr sz="1000">
                <a:solidFill>
                  <a:schemeClr val="bg1"/>
                </a:solidFill>
              </a:defRPr>
            </a:lvl1pPr>
          </a:lstStyle>
          <a:p>
            <a:pPr lvl="0"/>
            <a:r>
              <a:rPr lang="en-US"/>
              <a:t>Click to edit Master text styles</a:t>
            </a:r>
          </a:p>
        </p:txBody>
      </p:sp>
      <p:sp>
        <p:nvSpPr>
          <p:cNvPr id="57" name="Arc 22">
            <a:extLst>
              <a:ext uri="{FF2B5EF4-FFF2-40B4-BE49-F238E27FC236}">
                <a16:creationId xmlns:a16="http://schemas.microsoft.com/office/drawing/2014/main" id="{34BA548E-52B4-42FB-ACB2-79D595C5312D}"/>
              </a:ext>
            </a:extLst>
          </p:cNvPr>
          <p:cNvSpPr>
            <a:spLocks/>
          </p:cNvSpPr>
          <p:nvPr userDrawn="1"/>
        </p:nvSpPr>
        <p:spPr bwMode="auto">
          <a:xfrm rot="5905252" flipH="1">
            <a:off x="6017987" y="3631313"/>
            <a:ext cx="898583" cy="964758"/>
          </a:xfrm>
          <a:custGeom>
            <a:avLst/>
            <a:gdLst>
              <a:gd name="T0" fmla="*/ 0 w 39072"/>
              <a:gd name="T1" fmla="*/ 2147483647 h 21600"/>
              <a:gd name="T2" fmla="*/ 2147483647 w 39072"/>
              <a:gd name="T3" fmla="*/ 2147483647 h 21600"/>
              <a:gd name="T4" fmla="*/ 2147483647 w 39072"/>
              <a:gd name="T5" fmla="*/ 2147483647 h 21600"/>
              <a:gd name="T6" fmla="*/ 0 60000 65536"/>
              <a:gd name="T7" fmla="*/ 0 60000 65536"/>
              <a:gd name="T8" fmla="*/ 0 60000 65536"/>
              <a:gd name="T9" fmla="*/ 0 w 39072"/>
              <a:gd name="T10" fmla="*/ 0 h 21600"/>
              <a:gd name="T11" fmla="*/ 39072 w 39072"/>
              <a:gd name="T12" fmla="*/ 21600 h 21600"/>
            </a:gdLst>
            <a:ahLst/>
            <a:cxnLst>
              <a:cxn ang="T6">
                <a:pos x="T0" y="T1"/>
              </a:cxn>
              <a:cxn ang="T7">
                <a:pos x="T2" y="T3"/>
              </a:cxn>
              <a:cxn ang="T8">
                <a:pos x="T4" y="T5"/>
              </a:cxn>
            </a:cxnLst>
            <a:rect l="T9" t="T10" r="T11" b="T12"/>
            <a:pathLst>
              <a:path w="39072" h="21600" fill="none" extrusionOk="0">
                <a:moveTo>
                  <a:pt x="0" y="9178"/>
                </a:moveTo>
                <a:cubicBezTo>
                  <a:pt x="4044" y="3424"/>
                  <a:pt x="10637" y="-1"/>
                  <a:pt x="17671" y="0"/>
                </a:cubicBezTo>
                <a:cubicBezTo>
                  <a:pt x="28469" y="0"/>
                  <a:pt x="37608" y="7974"/>
                  <a:pt x="39071" y="18673"/>
                </a:cubicBezTo>
              </a:path>
              <a:path w="39072" h="21600" stroke="0" extrusionOk="0">
                <a:moveTo>
                  <a:pt x="0" y="9178"/>
                </a:moveTo>
                <a:cubicBezTo>
                  <a:pt x="4044" y="3424"/>
                  <a:pt x="10637" y="-1"/>
                  <a:pt x="17671" y="0"/>
                </a:cubicBezTo>
                <a:cubicBezTo>
                  <a:pt x="28469" y="0"/>
                  <a:pt x="37608" y="7974"/>
                  <a:pt x="39071" y="18673"/>
                </a:cubicBezTo>
                <a:lnTo>
                  <a:pt x="17671" y="21600"/>
                </a:lnTo>
                <a:lnTo>
                  <a:pt x="0" y="9178"/>
                </a:lnTo>
                <a:close/>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noAutofit/>
          </a:bodyPr>
          <a:lstStyle/>
          <a:p>
            <a:pPr>
              <a:lnSpc>
                <a:spcPct val="100000"/>
              </a:lnSpc>
            </a:pPr>
            <a:endParaRPr lang="en-IN" sz="1000" dirty="0">
              <a:solidFill>
                <a:srgbClr val="000000"/>
              </a:solidFill>
            </a:endParaRPr>
          </a:p>
        </p:txBody>
      </p:sp>
      <p:sp>
        <p:nvSpPr>
          <p:cNvPr id="59" name="Oval 70">
            <a:extLst>
              <a:ext uri="{FF2B5EF4-FFF2-40B4-BE49-F238E27FC236}">
                <a16:creationId xmlns:a16="http://schemas.microsoft.com/office/drawing/2014/main" id="{B24DEC5E-B51C-4682-9A23-19DE9485B0EF}"/>
              </a:ext>
            </a:extLst>
          </p:cNvPr>
          <p:cNvSpPr>
            <a:spLocks noChangeArrowheads="1"/>
          </p:cNvSpPr>
          <p:nvPr userDrawn="1"/>
        </p:nvSpPr>
        <p:spPr bwMode="auto">
          <a:xfrm>
            <a:off x="3981442" y="1755228"/>
            <a:ext cx="1280160" cy="1282101"/>
          </a:xfrm>
          <a:prstGeom prst="ellipse">
            <a:avLst/>
          </a:prstGeom>
          <a:solidFill>
            <a:schemeClr val="accent6"/>
          </a:solidFill>
          <a:ln>
            <a:noFill/>
            <a:headEnd/>
            <a:tailEnd/>
          </a:ln>
          <a:effectLst/>
        </p:spPr>
        <p:style>
          <a:lnRef idx="0">
            <a:schemeClr val="accent5"/>
          </a:lnRef>
          <a:fillRef idx="3">
            <a:schemeClr val="accent5"/>
          </a:fillRef>
          <a:effectRef idx="3">
            <a:schemeClr val="accent5"/>
          </a:effectRef>
          <a:fontRef idx="minor">
            <a:schemeClr val="lt1"/>
          </a:fontRef>
        </p:style>
        <p:txBody>
          <a:bodyPr>
            <a:noAutofit/>
          </a:bodyPr>
          <a:lstStyle/>
          <a:p>
            <a:pPr>
              <a:lnSpc>
                <a:spcPct val="100000"/>
              </a:lnSpc>
              <a:spcBef>
                <a:spcPct val="0"/>
              </a:spcBef>
              <a:defRPr/>
            </a:pPr>
            <a:endParaRPr lang="en-GB" sz="1000" dirty="0">
              <a:solidFill>
                <a:schemeClr val="bg1"/>
              </a:solidFill>
            </a:endParaRPr>
          </a:p>
        </p:txBody>
      </p:sp>
      <p:cxnSp>
        <p:nvCxnSpPr>
          <p:cNvPr id="61" name="Straight Arrow Connector 60">
            <a:extLst>
              <a:ext uri="{FF2B5EF4-FFF2-40B4-BE49-F238E27FC236}">
                <a16:creationId xmlns:a16="http://schemas.microsoft.com/office/drawing/2014/main" id="{02264990-AC45-4991-AF02-4DAB905EBE11}"/>
              </a:ext>
            </a:extLst>
          </p:cNvPr>
          <p:cNvCxnSpPr/>
          <p:nvPr userDrawn="1"/>
        </p:nvCxnSpPr>
        <p:spPr>
          <a:xfrm>
            <a:off x="4688495" y="3494492"/>
            <a:ext cx="0" cy="15730"/>
          </a:xfrm>
          <a:prstGeom prst="straightConnector1">
            <a:avLst/>
          </a:prstGeom>
          <a:noFill/>
          <a:ln w="222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2" name="AutoShape 140">
            <a:extLst>
              <a:ext uri="{FF2B5EF4-FFF2-40B4-BE49-F238E27FC236}">
                <a16:creationId xmlns:a16="http://schemas.microsoft.com/office/drawing/2014/main" id="{08AA1BE0-11CB-4C1C-98BB-06A8375C933D}"/>
              </a:ext>
            </a:extLst>
          </p:cNvPr>
          <p:cNvSpPr>
            <a:spLocks noChangeArrowheads="1"/>
          </p:cNvSpPr>
          <p:nvPr userDrawn="1"/>
        </p:nvSpPr>
        <p:spPr bwMode="gray">
          <a:xfrm>
            <a:off x="3722365" y="3209570"/>
            <a:ext cx="1798314" cy="585574"/>
          </a:xfrm>
          <a:prstGeom prst="rect">
            <a:avLst/>
          </a:prstGeom>
          <a:solidFill>
            <a:schemeClr val="accent3"/>
          </a:solidFill>
          <a:ln>
            <a:noFill/>
            <a:headEnd/>
            <a:tailEnd/>
          </a:ln>
          <a:effectLst/>
        </p:spPr>
        <p:style>
          <a:lnRef idx="0">
            <a:schemeClr val="accent2"/>
          </a:lnRef>
          <a:fillRef idx="3">
            <a:schemeClr val="accent2"/>
          </a:fillRef>
          <a:effectRef idx="3">
            <a:schemeClr val="accent2"/>
          </a:effectRef>
          <a:fontRef idx="minor">
            <a:schemeClr val="lt1"/>
          </a:fontRef>
        </p:style>
        <p:txBody>
          <a:bodyPr wrap="none" anchor="ctr">
            <a:noAutofit/>
          </a:bodyPr>
          <a:lstStyle/>
          <a:p>
            <a:pPr algn="ctr">
              <a:lnSpc>
                <a:spcPct val="100000"/>
              </a:lnSpc>
              <a:spcBef>
                <a:spcPct val="0"/>
              </a:spcBef>
              <a:defRPr/>
            </a:pPr>
            <a:endParaRPr lang="en-US" sz="1000" dirty="0">
              <a:solidFill>
                <a:srgbClr val="FFFFFF"/>
              </a:solidFill>
            </a:endParaRPr>
          </a:p>
        </p:txBody>
      </p:sp>
      <p:sp>
        <p:nvSpPr>
          <p:cNvPr id="63" name="Oval 70">
            <a:extLst>
              <a:ext uri="{FF2B5EF4-FFF2-40B4-BE49-F238E27FC236}">
                <a16:creationId xmlns:a16="http://schemas.microsoft.com/office/drawing/2014/main" id="{10C444F8-065C-43BE-9329-6A0E8D2DF659}"/>
              </a:ext>
            </a:extLst>
          </p:cNvPr>
          <p:cNvSpPr>
            <a:spLocks noChangeArrowheads="1"/>
          </p:cNvSpPr>
          <p:nvPr userDrawn="1"/>
        </p:nvSpPr>
        <p:spPr bwMode="auto">
          <a:xfrm>
            <a:off x="6229062" y="2861307"/>
            <a:ext cx="1280160" cy="1282101"/>
          </a:xfrm>
          <a:prstGeom prst="ellipse">
            <a:avLst/>
          </a:prstGeom>
          <a:solidFill>
            <a:schemeClr val="accent6"/>
          </a:solidFill>
          <a:ln>
            <a:noFill/>
            <a:headEnd/>
            <a:tailEnd/>
          </a:ln>
          <a:effectLst/>
        </p:spPr>
        <p:style>
          <a:lnRef idx="0">
            <a:schemeClr val="accent5"/>
          </a:lnRef>
          <a:fillRef idx="3">
            <a:schemeClr val="accent5"/>
          </a:fillRef>
          <a:effectRef idx="3">
            <a:schemeClr val="accent5"/>
          </a:effectRef>
          <a:fontRef idx="minor">
            <a:schemeClr val="lt1"/>
          </a:fontRef>
        </p:style>
        <p:txBody>
          <a:bodyPr>
            <a:noAutofit/>
          </a:bodyPr>
          <a:lstStyle/>
          <a:p>
            <a:pPr>
              <a:lnSpc>
                <a:spcPct val="100000"/>
              </a:lnSpc>
              <a:spcBef>
                <a:spcPct val="0"/>
              </a:spcBef>
              <a:defRPr/>
            </a:pPr>
            <a:endParaRPr lang="en-GB" sz="1000" dirty="0">
              <a:solidFill>
                <a:schemeClr val="bg1"/>
              </a:solidFill>
            </a:endParaRPr>
          </a:p>
        </p:txBody>
      </p:sp>
      <p:sp>
        <p:nvSpPr>
          <p:cNvPr id="66" name="Oval 70">
            <a:extLst>
              <a:ext uri="{FF2B5EF4-FFF2-40B4-BE49-F238E27FC236}">
                <a16:creationId xmlns:a16="http://schemas.microsoft.com/office/drawing/2014/main" id="{8A0CFEA1-C7C8-496A-83D4-B2B2D80FE7B7}"/>
              </a:ext>
            </a:extLst>
          </p:cNvPr>
          <p:cNvSpPr>
            <a:spLocks noChangeArrowheads="1"/>
          </p:cNvSpPr>
          <p:nvPr userDrawn="1"/>
        </p:nvSpPr>
        <p:spPr bwMode="auto">
          <a:xfrm>
            <a:off x="4900544" y="3994162"/>
            <a:ext cx="1280160" cy="1282101"/>
          </a:xfrm>
          <a:prstGeom prst="ellipse">
            <a:avLst/>
          </a:prstGeom>
          <a:solidFill>
            <a:schemeClr val="accent6"/>
          </a:solidFill>
          <a:ln>
            <a:noFill/>
            <a:headEnd/>
            <a:tailEnd/>
          </a:ln>
          <a:effectLst/>
        </p:spPr>
        <p:style>
          <a:lnRef idx="0">
            <a:schemeClr val="accent5"/>
          </a:lnRef>
          <a:fillRef idx="3">
            <a:schemeClr val="accent5"/>
          </a:fillRef>
          <a:effectRef idx="3">
            <a:schemeClr val="accent5"/>
          </a:effectRef>
          <a:fontRef idx="minor">
            <a:schemeClr val="lt1"/>
          </a:fontRef>
        </p:style>
        <p:txBody>
          <a:bodyPr>
            <a:noAutofit/>
          </a:bodyPr>
          <a:lstStyle/>
          <a:p>
            <a:pPr>
              <a:lnSpc>
                <a:spcPct val="100000"/>
              </a:lnSpc>
              <a:spcBef>
                <a:spcPct val="0"/>
              </a:spcBef>
              <a:defRPr/>
            </a:pPr>
            <a:endParaRPr lang="en-GB" sz="1000" dirty="0">
              <a:solidFill>
                <a:schemeClr val="bg1"/>
              </a:solidFill>
            </a:endParaRPr>
          </a:p>
        </p:txBody>
      </p:sp>
      <p:cxnSp>
        <p:nvCxnSpPr>
          <p:cNvPr id="67" name="Connector: Elbow 66">
            <a:extLst>
              <a:ext uri="{FF2B5EF4-FFF2-40B4-BE49-F238E27FC236}">
                <a16:creationId xmlns:a16="http://schemas.microsoft.com/office/drawing/2014/main" id="{AC9D3587-4920-4D19-8190-62F112CD3698}"/>
              </a:ext>
            </a:extLst>
          </p:cNvPr>
          <p:cNvCxnSpPr>
            <a:cxnSpLocks/>
            <a:stCxn id="62" idx="2"/>
            <a:endCxn id="66" idx="2"/>
          </p:cNvCxnSpPr>
          <p:nvPr userDrawn="1"/>
        </p:nvCxnSpPr>
        <p:spPr>
          <a:xfrm rot="16200000" flipH="1">
            <a:off x="4340999" y="4075667"/>
            <a:ext cx="840069" cy="279022"/>
          </a:xfrm>
          <a:prstGeom prst="bentConnector2">
            <a:avLst/>
          </a:prstGeom>
          <a:ln w="190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Connector: Elbow 60">
            <a:extLst>
              <a:ext uri="{FF2B5EF4-FFF2-40B4-BE49-F238E27FC236}">
                <a16:creationId xmlns:a16="http://schemas.microsoft.com/office/drawing/2014/main" id="{79A941D3-7DD9-4266-BD6C-8E88435BD856}"/>
              </a:ext>
            </a:extLst>
          </p:cNvPr>
          <p:cNvCxnSpPr>
            <a:cxnSpLocks/>
            <a:stCxn id="62" idx="3"/>
            <a:endCxn id="63" idx="2"/>
          </p:cNvCxnSpPr>
          <p:nvPr userDrawn="1"/>
        </p:nvCxnSpPr>
        <p:spPr>
          <a:xfrm>
            <a:off x="5520679" y="3502357"/>
            <a:ext cx="708383" cy="1"/>
          </a:xfrm>
          <a:prstGeom prst="straightConnector1">
            <a:avLst/>
          </a:prstGeom>
          <a:ln w="190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AutoShape 140">
            <a:extLst>
              <a:ext uri="{FF2B5EF4-FFF2-40B4-BE49-F238E27FC236}">
                <a16:creationId xmlns:a16="http://schemas.microsoft.com/office/drawing/2014/main" id="{FB40E951-8CB5-47FD-A36A-F197A41DBA53}"/>
              </a:ext>
            </a:extLst>
          </p:cNvPr>
          <p:cNvSpPr>
            <a:spLocks noChangeArrowheads="1"/>
          </p:cNvSpPr>
          <p:nvPr userDrawn="1"/>
        </p:nvSpPr>
        <p:spPr bwMode="gray">
          <a:xfrm>
            <a:off x="4481285" y="5459492"/>
            <a:ext cx="2118679" cy="585574"/>
          </a:xfrm>
          <a:prstGeom prst="rect">
            <a:avLst/>
          </a:prstGeom>
          <a:solidFill>
            <a:schemeClr val="accent3"/>
          </a:solidFill>
          <a:ln>
            <a:noFill/>
            <a:headEnd/>
            <a:tailEnd/>
          </a:ln>
          <a:effectLst/>
        </p:spPr>
        <p:style>
          <a:lnRef idx="0">
            <a:schemeClr val="accent2"/>
          </a:lnRef>
          <a:fillRef idx="3">
            <a:schemeClr val="accent2"/>
          </a:fillRef>
          <a:effectRef idx="3">
            <a:schemeClr val="accent2"/>
          </a:effectRef>
          <a:fontRef idx="minor">
            <a:schemeClr val="lt1"/>
          </a:fontRef>
        </p:style>
        <p:txBody>
          <a:bodyPr wrap="none" anchor="ctr">
            <a:noAutofit/>
          </a:bodyPr>
          <a:lstStyle/>
          <a:p>
            <a:pPr algn="ctr">
              <a:lnSpc>
                <a:spcPct val="100000"/>
              </a:lnSpc>
              <a:spcBef>
                <a:spcPct val="0"/>
              </a:spcBef>
              <a:defRPr/>
            </a:pPr>
            <a:endParaRPr lang="en-US" sz="1000" dirty="0">
              <a:solidFill>
                <a:srgbClr val="FFFFFF"/>
              </a:solidFill>
            </a:endParaRPr>
          </a:p>
        </p:txBody>
      </p:sp>
      <p:cxnSp>
        <p:nvCxnSpPr>
          <p:cNvPr id="71" name="Connector: Elbow 60">
            <a:extLst>
              <a:ext uri="{FF2B5EF4-FFF2-40B4-BE49-F238E27FC236}">
                <a16:creationId xmlns:a16="http://schemas.microsoft.com/office/drawing/2014/main" id="{A0F8D04D-0FD3-4F57-BAB1-2FA06F4B804D}"/>
              </a:ext>
            </a:extLst>
          </p:cNvPr>
          <p:cNvCxnSpPr>
            <a:cxnSpLocks/>
            <a:stCxn id="66" idx="4"/>
            <a:endCxn id="70" idx="0"/>
          </p:cNvCxnSpPr>
          <p:nvPr userDrawn="1"/>
        </p:nvCxnSpPr>
        <p:spPr>
          <a:xfrm>
            <a:off x="5540624" y="5276263"/>
            <a:ext cx="1" cy="183229"/>
          </a:xfrm>
          <a:prstGeom prst="straightConnector1">
            <a:avLst/>
          </a:prstGeom>
          <a:ln w="19050">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8634DA41-6E68-4CCE-9015-07971867C763}"/>
              </a:ext>
            </a:extLst>
          </p:cNvPr>
          <p:cNvCxnSpPr>
            <a:cxnSpLocks/>
            <a:stCxn id="70" idx="3"/>
            <a:endCxn id="63" idx="4"/>
          </p:cNvCxnSpPr>
          <p:nvPr userDrawn="1"/>
        </p:nvCxnSpPr>
        <p:spPr>
          <a:xfrm flipV="1">
            <a:off x="6599964" y="4143408"/>
            <a:ext cx="269178" cy="1608871"/>
          </a:xfrm>
          <a:prstGeom prst="bentConnector2">
            <a:avLst/>
          </a:prstGeom>
          <a:ln w="190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Connector: Elbow 60">
            <a:extLst>
              <a:ext uri="{FF2B5EF4-FFF2-40B4-BE49-F238E27FC236}">
                <a16:creationId xmlns:a16="http://schemas.microsoft.com/office/drawing/2014/main" id="{D0FF0771-DAC4-444C-89B3-4B98A68E4A8B}"/>
              </a:ext>
            </a:extLst>
          </p:cNvPr>
          <p:cNvCxnSpPr>
            <a:cxnSpLocks/>
            <a:stCxn id="59" idx="4"/>
            <a:endCxn id="62" idx="0"/>
          </p:cNvCxnSpPr>
          <p:nvPr userDrawn="1"/>
        </p:nvCxnSpPr>
        <p:spPr>
          <a:xfrm>
            <a:off x="4621522" y="3037329"/>
            <a:ext cx="0" cy="172241"/>
          </a:xfrm>
          <a:prstGeom prst="straightConnector1">
            <a:avLst/>
          </a:prstGeom>
          <a:ln w="19050">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D8232CA-6D5C-4B2D-BB9C-5B822D764B95}"/>
              </a:ext>
            </a:extLst>
          </p:cNvPr>
          <p:cNvSpPr/>
          <p:nvPr userDrawn="1"/>
        </p:nvSpPr>
        <p:spPr>
          <a:xfrm>
            <a:off x="8217177" y="2626733"/>
            <a:ext cx="3174850" cy="1746653"/>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p>
        </p:txBody>
      </p:sp>
      <p:sp>
        <p:nvSpPr>
          <p:cNvPr id="75" name="AutoShape 162">
            <a:extLst>
              <a:ext uri="{FF2B5EF4-FFF2-40B4-BE49-F238E27FC236}">
                <a16:creationId xmlns:a16="http://schemas.microsoft.com/office/drawing/2014/main" id="{EBC7C15B-D2B6-4A3D-8758-47FA216D47A2}"/>
              </a:ext>
            </a:extLst>
          </p:cNvPr>
          <p:cNvSpPr>
            <a:spLocks noChangeArrowheads="1"/>
          </p:cNvSpPr>
          <p:nvPr userDrawn="1"/>
        </p:nvSpPr>
        <p:spPr bwMode="auto">
          <a:xfrm>
            <a:off x="8321969" y="2718834"/>
            <a:ext cx="2965267" cy="461752"/>
          </a:xfrm>
          <a:prstGeom prst="rect">
            <a:avLst/>
          </a:prstGeom>
          <a:solidFill>
            <a:schemeClr val="accent3"/>
          </a:solidFill>
          <a:ln w="15875">
            <a:noFill/>
            <a:headEnd/>
            <a:tailEnd/>
          </a:ln>
        </p:spPr>
        <p:style>
          <a:lnRef idx="1">
            <a:schemeClr val="accent4"/>
          </a:lnRef>
          <a:fillRef idx="2">
            <a:schemeClr val="accent4"/>
          </a:fillRef>
          <a:effectRef idx="1">
            <a:schemeClr val="accent4"/>
          </a:effectRef>
          <a:fontRef idx="minor">
            <a:schemeClr val="dk1"/>
          </a:fontRef>
        </p:style>
        <p:txBody>
          <a:bodyPr wrap="none" anchor="ctr">
            <a:noAutofit/>
          </a:bodyPr>
          <a:lstStyle/>
          <a:p>
            <a:pPr algn="ctr">
              <a:lnSpc>
                <a:spcPct val="100000"/>
              </a:lnSpc>
              <a:spcBef>
                <a:spcPct val="0"/>
              </a:spcBef>
              <a:defRPr/>
            </a:pPr>
            <a:endParaRPr lang="en-US" sz="1000" dirty="0">
              <a:solidFill>
                <a:srgbClr val="FFFFFF"/>
              </a:solidFill>
              <a:cs typeface="Arial" charset="0"/>
            </a:endParaRPr>
          </a:p>
        </p:txBody>
      </p:sp>
      <p:sp>
        <p:nvSpPr>
          <p:cNvPr id="76" name="AutoShape 165">
            <a:extLst>
              <a:ext uri="{FF2B5EF4-FFF2-40B4-BE49-F238E27FC236}">
                <a16:creationId xmlns:a16="http://schemas.microsoft.com/office/drawing/2014/main" id="{621BECC1-5B9B-452B-B0CF-C0881047647D}"/>
              </a:ext>
            </a:extLst>
          </p:cNvPr>
          <p:cNvSpPr>
            <a:spLocks noChangeArrowheads="1"/>
          </p:cNvSpPr>
          <p:nvPr userDrawn="1"/>
        </p:nvSpPr>
        <p:spPr bwMode="auto">
          <a:xfrm>
            <a:off x="8324711" y="3269184"/>
            <a:ext cx="2959782" cy="461752"/>
          </a:xfrm>
          <a:prstGeom prst="rect">
            <a:avLst/>
          </a:prstGeom>
          <a:solidFill>
            <a:schemeClr val="accent3"/>
          </a:solidFill>
          <a:ln w="15875">
            <a:noFill/>
            <a:headEnd/>
            <a:tailEnd/>
          </a:ln>
        </p:spPr>
        <p:style>
          <a:lnRef idx="1">
            <a:schemeClr val="accent4"/>
          </a:lnRef>
          <a:fillRef idx="2">
            <a:schemeClr val="accent4"/>
          </a:fillRef>
          <a:effectRef idx="1">
            <a:schemeClr val="accent4"/>
          </a:effectRef>
          <a:fontRef idx="minor">
            <a:schemeClr val="dk1"/>
          </a:fontRef>
        </p:style>
        <p:txBody>
          <a:bodyPr wrap="none" anchor="ctr">
            <a:noAutofit/>
          </a:bodyPr>
          <a:lstStyle/>
          <a:p>
            <a:pPr algn="ctr">
              <a:lnSpc>
                <a:spcPct val="100000"/>
              </a:lnSpc>
              <a:spcBef>
                <a:spcPct val="0"/>
              </a:spcBef>
              <a:defRPr/>
            </a:pPr>
            <a:endParaRPr lang="en-US" sz="1000" dirty="0">
              <a:solidFill>
                <a:srgbClr val="FFFFFF"/>
              </a:solidFill>
              <a:cs typeface="Arial" charset="0"/>
            </a:endParaRPr>
          </a:p>
        </p:txBody>
      </p:sp>
      <p:sp>
        <p:nvSpPr>
          <p:cNvPr id="77" name="AutoShape 167">
            <a:extLst>
              <a:ext uri="{FF2B5EF4-FFF2-40B4-BE49-F238E27FC236}">
                <a16:creationId xmlns:a16="http://schemas.microsoft.com/office/drawing/2014/main" id="{D6D2522C-1D66-4782-BAD0-82A4C1CE8AD1}"/>
              </a:ext>
            </a:extLst>
          </p:cNvPr>
          <p:cNvSpPr>
            <a:spLocks noChangeArrowheads="1"/>
          </p:cNvSpPr>
          <p:nvPr userDrawn="1"/>
        </p:nvSpPr>
        <p:spPr bwMode="auto">
          <a:xfrm>
            <a:off x="8320109" y="3819533"/>
            <a:ext cx="2968986" cy="461752"/>
          </a:xfrm>
          <a:prstGeom prst="rect">
            <a:avLst/>
          </a:prstGeom>
          <a:solidFill>
            <a:schemeClr val="accent3"/>
          </a:solidFill>
          <a:ln w="15875">
            <a:noFill/>
            <a:headEnd/>
            <a:tailEnd/>
          </a:ln>
        </p:spPr>
        <p:style>
          <a:lnRef idx="1">
            <a:schemeClr val="accent4"/>
          </a:lnRef>
          <a:fillRef idx="2">
            <a:schemeClr val="accent4"/>
          </a:fillRef>
          <a:effectRef idx="1">
            <a:schemeClr val="accent4"/>
          </a:effectRef>
          <a:fontRef idx="minor">
            <a:schemeClr val="dk1"/>
          </a:fontRef>
        </p:style>
        <p:txBody>
          <a:bodyPr wrap="none" anchor="ctr">
            <a:noAutofit/>
          </a:bodyPr>
          <a:lstStyle/>
          <a:p>
            <a:pPr algn="ctr">
              <a:lnSpc>
                <a:spcPct val="100000"/>
              </a:lnSpc>
              <a:spcBef>
                <a:spcPct val="0"/>
              </a:spcBef>
              <a:defRPr/>
            </a:pPr>
            <a:endParaRPr lang="en-US" sz="1000" dirty="0">
              <a:solidFill>
                <a:srgbClr val="FFFFFF"/>
              </a:solidFill>
              <a:cs typeface="Arial" charset="0"/>
            </a:endParaRPr>
          </a:p>
        </p:txBody>
      </p:sp>
      <p:cxnSp>
        <p:nvCxnSpPr>
          <p:cNvPr id="78" name="Connector: Elbow 60">
            <a:extLst>
              <a:ext uri="{FF2B5EF4-FFF2-40B4-BE49-F238E27FC236}">
                <a16:creationId xmlns:a16="http://schemas.microsoft.com/office/drawing/2014/main" id="{1237C4AE-8C6E-48DC-A007-65F7963FAB1E}"/>
              </a:ext>
            </a:extLst>
          </p:cNvPr>
          <p:cNvCxnSpPr>
            <a:cxnSpLocks/>
            <a:stCxn id="63" idx="6"/>
            <a:endCxn id="74" idx="1"/>
          </p:cNvCxnSpPr>
          <p:nvPr userDrawn="1"/>
        </p:nvCxnSpPr>
        <p:spPr>
          <a:xfrm flipV="1">
            <a:off x="7509222" y="3500060"/>
            <a:ext cx="707955" cy="2298"/>
          </a:xfrm>
          <a:prstGeom prst="straightConnector1">
            <a:avLst/>
          </a:prstGeom>
          <a:ln w="190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AutoShape 162">
            <a:extLst>
              <a:ext uri="{FF2B5EF4-FFF2-40B4-BE49-F238E27FC236}">
                <a16:creationId xmlns:a16="http://schemas.microsoft.com/office/drawing/2014/main" id="{9D03FEC4-4D5F-4BAF-A656-1046153E3A2C}"/>
              </a:ext>
            </a:extLst>
          </p:cNvPr>
          <p:cNvSpPr>
            <a:spLocks noChangeArrowheads="1"/>
          </p:cNvSpPr>
          <p:nvPr userDrawn="1"/>
        </p:nvSpPr>
        <p:spPr bwMode="auto">
          <a:xfrm>
            <a:off x="8217177" y="4789100"/>
            <a:ext cx="3174850" cy="912590"/>
          </a:xfrm>
          <a:prstGeom prst="rect">
            <a:avLst/>
          </a:prstGeom>
          <a:solidFill>
            <a:schemeClr val="accent3"/>
          </a:solidFill>
          <a:ln w="15875">
            <a:noFill/>
            <a:headEnd/>
            <a:tailEnd/>
          </a:ln>
        </p:spPr>
        <p:style>
          <a:lnRef idx="1">
            <a:schemeClr val="accent4"/>
          </a:lnRef>
          <a:fillRef idx="2">
            <a:schemeClr val="accent4"/>
          </a:fillRef>
          <a:effectRef idx="1">
            <a:schemeClr val="accent4"/>
          </a:effectRef>
          <a:fontRef idx="minor">
            <a:schemeClr val="dk1"/>
          </a:fontRef>
        </p:style>
        <p:txBody>
          <a:bodyPr wrap="square" anchor="ctr">
            <a:noAutofit/>
          </a:bodyPr>
          <a:lstStyle/>
          <a:p>
            <a:pPr marL="171450" indent="-171450">
              <a:lnSpc>
                <a:spcPct val="100000"/>
              </a:lnSpc>
              <a:spcBef>
                <a:spcPct val="0"/>
              </a:spcBef>
              <a:spcAft>
                <a:spcPts val="600"/>
              </a:spcAft>
              <a:buFont typeface="Wingdings" panose="05000000000000000000" pitchFamily="2" charset="2"/>
              <a:buChar char="ü"/>
              <a:defRPr/>
            </a:pPr>
            <a:endParaRPr lang="en-US" sz="1000" dirty="0">
              <a:solidFill>
                <a:srgbClr val="FFFFFF"/>
              </a:solidFill>
              <a:cs typeface="Arial" charset="0"/>
            </a:endParaRPr>
          </a:p>
        </p:txBody>
      </p:sp>
      <p:cxnSp>
        <p:nvCxnSpPr>
          <p:cNvPr id="82" name="Connector: Elbow 81">
            <a:extLst>
              <a:ext uri="{FF2B5EF4-FFF2-40B4-BE49-F238E27FC236}">
                <a16:creationId xmlns:a16="http://schemas.microsoft.com/office/drawing/2014/main" id="{2133631D-88E9-4013-8965-DED9781D7B52}"/>
              </a:ext>
            </a:extLst>
          </p:cNvPr>
          <p:cNvCxnSpPr>
            <a:cxnSpLocks/>
            <a:stCxn id="74" idx="3"/>
            <a:endCxn id="81" idx="3"/>
          </p:cNvCxnSpPr>
          <p:nvPr userDrawn="1"/>
        </p:nvCxnSpPr>
        <p:spPr>
          <a:xfrm>
            <a:off x="11392027" y="3500060"/>
            <a:ext cx="12700" cy="1745335"/>
          </a:xfrm>
          <a:prstGeom prst="bentConnector3">
            <a:avLst>
              <a:gd name="adj1" fmla="val 1800000"/>
            </a:avLst>
          </a:prstGeom>
          <a:ln w="1905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Text Placeholder 4">
            <a:extLst>
              <a:ext uri="{FF2B5EF4-FFF2-40B4-BE49-F238E27FC236}">
                <a16:creationId xmlns:a16="http://schemas.microsoft.com/office/drawing/2014/main" id="{72D91A45-1D21-48CF-A23B-C5B65B021728}"/>
              </a:ext>
            </a:extLst>
          </p:cNvPr>
          <p:cNvSpPr>
            <a:spLocks noGrp="1"/>
          </p:cNvSpPr>
          <p:nvPr>
            <p:ph type="body" sz="quarter" idx="43"/>
          </p:nvPr>
        </p:nvSpPr>
        <p:spPr>
          <a:xfrm>
            <a:off x="507276" y="3457416"/>
            <a:ext cx="2577747" cy="153888"/>
          </a:xfrm>
        </p:spPr>
        <p:txBody>
          <a:bodyPr/>
          <a:lstStyle>
            <a:lvl1pPr marL="0" indent="0" algn="l">
              <a:lnSpc>
                <a:spcPct val="100000"/>
              </a:lnSpc>
              <a:spcBef>
                <a:spcPts val="0"/>
              </a:spcBef>
              <a:spcAft>
                <a:spcPts val="600"/>
              </a:spcAft>
              <a:buClr>
                <a:schemeClr val="bg1"/>
              </a:buClr>
              <a:buFontTx/>
              <a:buNone/>
              <a:defRPr sz="1000" b="1">
                <a:solidFill>
                  <a:schemeClr val="bg1"/>
                </a:solidFill>
              </a:defRPr>
            </a:lvl1pPr>
          </a:lstStyle>
          <a:p>
            <a:pPr lvl="0"/>
            <a:r>
              <a:rPr lang="en-US"/>
              <a:t>Click to edit Master text styles</a:t>
            </a:r>
          </a:p>
        </p:txBody>
      </p:sp>
      <p:sp>
        <p:nvSpPr>
          <p:cNvPr id="84" name="Text Placeholder 4">
            <a:extLst>
              <a:ext uri="{FF2B5EF4-FFF2-40B4-BE49-F238E27FC236}">
                <a16:creationId xmlns:a16="http://schemas.microsoft.com/office/drawing/2014/main" id="{D3B6DBAA-7C54-4D5B-B4BD-6B7680B72749}"/>
              </a:ext>
            </a:extLst>
          </p:cNvPr>
          <p:cNvSpPr>
            <a:spLocks noGrp="1"/>
          </p:cNvSpPr>
          <p:nvPr>
            <p:ph type="body" sz="quarter" idx="44"/>
          </p:nvPr>
        </p:nvSpPr>
        <p:spPr>
          <a:xfrm>
            <a:off x="507276" y="4093111"/>
            <a:ext cx="2577747" cy="153888"/>
          </a:xfrm>
        </p:spPr>
        <p:txBody>
          <a:bodyPr/>
          <a:lstStyle>
            <a:lvl1pPr marL="0" indent="0" algn="l">
              <a:lnSpc>
                <a:spcPct val="100000"/>
              </a:lnSpc>
              <a:spcBef>
                <a:spcPts val="0"/>
              </a:spcBef>
              <a:spcAft>
                <a:spcPts val="600"/>
              </a:spcAft>
              <a:buClr>
                <a:schemeClr val="bg1"/>
              </a:buClr>
              <a:buFontTx/>
              <a:buNone/>
              <a:defRPr sz="1000" b="1">
                <a:solidFill>
                  <a:schemeClr val="bg1"/>
                </a:solidFill>
              </a:defRPr>
            </a:lvl1pPr>
          </a:lstStyle>
          <a:p>
            <a:pPr lvl="0"/>
            <a:r>
              <a:rPr lang="en-US"/>
              <a:t>Click to edit Master text styles</a:t>
            </a:r>
          </a:p>
        </p:txBody>
      </p:sp>
      <p:sp>
        <p:nvSpPr>
          <p:cNvPr id="85" name="Text Placeholder 4">
            <a:extLst>
              <a:ext uri="{FF2B5EF4-FFF2-40B4-BE49-F238E27FC236}">
                <a16:creationId xmlns:a16="http://schemas.microsoft.com/office/drawing/2014/main" id="{20D8AC16-D3CC-410C-992D-183BA34036A5}"/>
              </a:ext>
            </a:extLst>
          </p:cNvPr>
          <p:cNvSpPr>
            <a:spLocks noGrp="1"/>
          </p:cNvSpPr>
          <p:nvPr>
            <p:ph type="body" sz="quarter" idx="45"/>
          </p:nvPr>
        </p:nvSpPr>
        <p:spPr>
          <a:xfrm>
            <a:off x="507276" y="4635212"/>
            <a:ext cx="2577747" cy="153888"/>
          </a:xfrm>
        </p:spPr>
        <p:txBody>
          <a:bodyPr/>
          <a:lstStyle>
            <a:lvl1pPr marL="171450" indent="-171450" algn="l">
              <a:lnSpc>
                <a:spcPct val="100000"/>
              </a:lnSpc>
              <a:spcBef>
                <a:spcPts val="0"/>
              </a:spcBef>
              <a:spcAft>
                <a:spcPts val="600"/>
              </a:spcAft>
              <a:buClr>
                <a:schemeClr val="bg1"/>
              </a:buClr>
              <a:buFont typeface="Lato" panose="020F0502020204030203" pitchFamily="34" charset="0"/>
              <a:buChar char="•"/>
              <a:defRPr sz="1000">
                <a:solidFill>
                  <a:schemeClr val="bg1"/>
                </a:solidFill>
              </a:defRPr>
            </a:lvl1pPr>
          </a:lstStyle>
          <a:p>
            <a:pPr lvl="0"/>
            <a:r>
              <a:rPr lang="en-US"/>
              <a:t>Click to edit Master text styles</a:t>
            </a:r>
          </a:p>
        </p:txBody>
      </p:sp>
      <p:sp>
        <p:nvSpPr>
          <p:cNvPr id="86" name="Text Placeholder 4">
            <a:extLst>
              <a:ext uri="{FF2B5EF4-FFF2-40B4-BE49-F238E27FC236}">
                <a16:creationId xmlns:a16="http://schemas.microsoft.com/office/drawing/2014/main" id="{4B47C40C-1547-4D9F-9EB5-15C5E95C7BB9}"/>
              </a:ext>
            </a:extLst>
          </p:cNvPr>
          <p:cNvSpPr>
            <a:spLocks noGrp="1"/>
          </p:cNvSpPr>
          <p:nvPr>
            <p:ph type="body" sz="quarter" idx="46"/>
          </p:nvPr>
        </p:nvSpPr>
        <p:spPr>
          <a:xfrm>
            <a:off x="4125589" y="2242390"/>
            <a:ext cx="991866" cy="307777"/>
          </a:xfrm>
        </p:spPr>
        <p:txBody>
          <a:bodyPr anchor="ctr" anchorCtr="0"/>
          <a:lstStyle>
            <a:lvl1pPr marL="0" indent="0" algn="ctr">
              <a:lnSpc>
                <a:spcPct val="100000"/>
              </a:lnSpc>
              <a:spcBef>
                <a:spcPts val="0"/>
              </a:spcBef>
              <a:spcAft>
                <a:spcPts val="600"/>
              </a:spcAft>
              <a:buClr>
                <a:schemeClr val="bg1"/>
              </a:buClr>
              <a:buFont typeface="+mj-lt"/>
              <a:buNone/>
              <a:defRPr sz="1000">
                <a:solidFill>
                  <a:schemeClr val="bg1"/>
                </a:solidFill>
              </a:defRPr>
            </a:lvl1pPr>
          </a:lstStyle>
          <a:p>
            <a:pPr lvl="0"/>
            <a:r>
              <a:rPr lang="en-US"/>
              <a:t>Click to edit Master text styles</a:t>
            </a:r>
          </a:p>
        </p:txBody>
      </p:sp>
      <p:sp>
        <p:nvSpPr>
          <p:cNvPr id="87" name="Text Placeholder 4">
            <a:extLst>
              <a:ext uri="{FF2B5EF4-FFF2-40B4-BE49-F238E27FC236}">
                <a16:creationId xmlns:a16="http://schemas.microsoft.com/office/drawing/2014/main" id="{B5D26897-5388-4416-9EDB-D2B9BEF53255}"/>
              </a:ext>
            </a:extLst>
          </p:cNvPr>
          <p:cNvSpPr>
            <a:spLocks noGrp="1"/>
          </p:cNvSpPr>
          <p:nvPr>
            <p:ph type="body" sz="quarter" idx="47"/>
          </p:nvPr>
        </p:nvSpPr>
        <p:spPr>
          <a:xfrm>
            <a:off x="6373209" y="3348469"/>
            <a:ext cx="991866" cy="307777"/>
          </a:xfrm>
        </p:spPr>
        <p:txBody>
          <a:bodyPr anchor="ctr" anchorCtr="0"/>
          <a:lstStyle>
            <a:lvl1pPr marL="0" indent="0" algn="ctr">
              <a:lnSpc>
                <a:spcPct val="100000"/>
              </a:lnSpc>
              <a:spcBef>
                <a:spcPts val="0"/>
              </a:spcBef>
              <a:spcAft>
                <a:spcPts val="600"/>
              </a:spcAft>
              <a:buClr>
                <a:schemeClr val="bg1"/>
              </a:buClr>
              <a:buFont typeface="+mj-lt"/>
              <a:buNone/>
              <a:defRPr sz="1000">
                <a:solidFill>
                  <a:schemeClr val="bg1"/>
                </a:solidFill>
              </a:defRPr>
            </a:lvl1pPr>
          </a:lstStyle>
          <a:p>
            <a:pPr lvl="0"/>
            <a:r>
              <a:rPr lang="en-US"/>
              <a:t>Click to edit Master text styles</a:t>
            </a:r>
          </a:p>
        </p:txBody>
      </p:sp>
      <p:sp>
        <p:nvSpPr>
          <p:cNvPr id="88" name="Text Placeholder 4">
            <a:extLst>
              <a:ext uri="{FF2B5EF4-FFF2-40B4-BE49-F238E27FC236}">
                <a16:creationId xmlns:a16="http://schemas.microsoft.com/office/drawing/2014/main" id="{318C6171-9D4A-4C4A-ACCB-11A619B6CCA3}"/>
              </a:ext>
            </a:extLst>
          </p:cNvPr>
          <p:cNvSpPr>
            <a:spLocks noGrp="1"/>
          </p:cNvSpPr>
          <p:nvPr>
            <p:ph type="body" sz="quarter" idx="48"/>
          </p:nvPr>
        </p:nvSpPr>
        <p:spPr>
          <a:xfrm>
            <a:off x="5044984" y="4481324"/>
            <a:ext cx="991866" cy="307777"/>
          </a:xfrm>
        </p:spPr>
        <p:txBody>
          <a:bodyPr anchor="ctr" anchorCtr="0"/>
          <a:lstStyle>
            <a:lvl1pPr marL="0" indent="0" algn="ctr">
              <a:lnSpc>
                <a:spcPct val="100000"/>
              </a:lnSpc>
              <a:spcBef>
                <a:spcPts val="0"/>
              </a:spcBef>
              <a:spcAft>
                <a:spcPts val="600"/>
              </a:spcAft>
              <a:buClr>
                <a:schemeClr val="bg1"/>
              </a:buClr>
              <a:buFont typeface="+mj-lt"/>
              <a:buNone/>
              <a:defRPr sz="1000">
                <a:solidFill>
                  <a:schemeClr val="bg1"/>
                </a:solidFill>
              </a:defRPr>
            </a:lvl1pPr>
          </a:lstStyle>
          <a:p>
            <a:pPr lvl="0"/>
            <a:r>
              <a:rPr lang="en-US"/>
              <a:t>Click to edit Master text styles</a:t>
            </a:r>
          </a:p>
        </p:txBody>
      </p:sp>
      <p:sp>
        <p:nvSpPr>
          <p:cNvPr id="89" name="Text Placeholder 4">
            <a:extLst>
              <a:ext uri="{FF2B5EF4-FFF2-40B4-BE49-F238E27FC236}">
                <a16:creationId xmlns:a16="http://schemas.microsoft.com/office/drawing/2014/main" id="{B0FEAE4D-5922-4A07-8F99-18A4A037454A}"/>
              </a:ext>
            </a:extLst>
          </p:cNvPr>
          <p:cNvSpPr>
            <a:spLocks noGrp="1"/>
          </p:cNvSpPr>
          <p:nvPr>
            <p:ph type="body" sz="quarter" idx="49"/>
          </p:nvPr>
        </p:nvSpPr>
        <p:spPr>
          <a:xfrm>
            <a:off x="3771292" y="3425413"/>
            <a:ext cx="1700460" cy="153888"/>
          </a:xfrm>
        </p:spPr>
        <p:txBody>
          <a:bodyPr anchor="ctr" anchorCtr="0"/>
          <a:lstStyle>
            <a:lvl1pPr marL="0" indent="0" algn="l">
              <a:lnSpc>
                <a:spcPct val="100000"/>
              </a:lnSpc>
              <a:spcBef>
                <a:spcPts val="0"/>
              </a:spcBef>
              <a:spcAft>
                <a:spcPts val="600"/>
              </a:spcAft>
              <a:buClr>
                <a:schemeClr val="bg1"/>
              </a:buClr>
              <a:buFontTx/>
              <a:buNone/>
              <a:defRPr sz="1000">
                <a:solidFill>
                  <a:schemeClr val="bg1"/>
                </a:solidFill>
              </a:defRPr>
            </a:lvl1pPr>
          </a:lstStyle>
          <a:p>
            <a:pPr lvl="0"/>
            <a:r>
              <a:rPr lang="en-US"/>
              <a:t>Click to edit Master text styles</a:t>
            </a:r>
          </a:p>
        </p:txBody>
      </p:sp>
      <p:sp>
        <p:nvSpPr>
          <p:cNvPr id="90" name="Text Placeholder 4">
            <a:extLst>
              <a:ext uri="{FF2B5EF4-FFF2-40B4-BE49-F238E27FC236}">
                <a16:creationId xmlns:a16="http://schemas.microsoft.com/office/drawing/2014/main" id="{154616DF-6271-47AF-817B-DC700094AC5B}"/>
              </a:ext>
            </a:extLst>
          </p:cNvPr>
          <p:cNvSpPr>
            <a:spLocks noGrp="1"/>
          </p:cNvSpPr>
          <p:nvPr>
            <p:ph type="body" sz="quarter" idx="50"/>
          </p:nvPr>
        </p:nvSpPr>
        <p:spPr>
          <a:xfrm>
            <a:off x="4690394" y="5675335"/>
            <a:ext cx="1700460" cy="153888"/>
          </a:xfrm>
        </p:spPr>
        <p:txBody>
          <a:bodyPr anchor="ctr" anchorCtr="0"/>
          <a:lstStyle>
            <a:lvl1pPr marL="0" indent="0" algn="l">
              <a:lnSpc>
                <a:spcPct val="100000"/>
              </a:lnSpc>
              <a:spcBef>
                <a:spcPts val="0"/>
              </a:spcBef>
              <a:spcAft>
                <a:spcPts val="600"/>
              </a:spcAft>
              <a:buClr>
                <a:schemeClr val="bg1"/>
              </a:buClr>
              <a:buFontTx/>
              <a:buNone/>
              <a:defRPr sz="1000">
                <a:solidFill>
                  <a:schemeClr val="bg1"/>
                </a:solidFill>
              </a:defRPr>
            </a:lvl1pPr>
          </a:lstStyle>
          <a:p>
            <a:pPr lvl="0"/>
            <a:r>
              <a:rPr lang="en-US"/>
              <a:t>Click to edit Master text styles</a:t>
            </a:r>
          </a:p>
        </p:txBody>
      </p:sp>
      <p:sp>
        <p:nvSpPr>
          <p:cNvPr id="91" name="Text Placeholder 4">
            <a:extLst>
              <a:ext uri="{FF2B5EF4-FFF2-40B4-BE49-F238E27FC236}">
                <a16:creationId xmlns:a16="http://schemas.microsoft.com/office/drawing/2014/main" id="{AFC6D3A3-BF41-42D6-B9F9-52D0ACF75D9E}"/>
              </a:ext>
            </a:extLst>
          </p:cNvPr>
          <p:cNvSpPr>
            <a:spLocks noGrp="1"/>
          </p:cNvSpPr>
          <p:nvPr>
            <p:ph type="body" sz="quarter" idx="51"/>
          </p:nvPr>
        </p:nvSpPr>
        <p:spPr>
          <a:xfrm>
            <a:off x="8588119" y="2872766"/>
            <a:ext cx="2432967" cy="153888"/>
          </a:xfrm>
        </p:spPr>
        <p:txBody>
          <a:bodyPr anchor="ctr" anchorCtr="0"/>
          <a:lstStyle>
            <a:lvl1pPr marL="0" indent="0" algn="ctr">
              <a:lnSpc>
                <a:spcPct val="100000"/>
              </a:lnSpc>
              <a:spcBef>
                <a:spcPts val="0"/>
              </a:spcBef>
              <a:spcAft>
                <a:spcPts val="600"/>
              </a:spcAft>
              <a:buClr>
                <a:schemeClr val="bg1"/>
              </a:buClr>
              <a:buFontTx/>
              <a:buNone/>
              <a:defRPr sz="1000">
                <a:solidFill>
                  <a:schemeClr val="bg1"/>
                </a:solidFill>
              </a:defRPr>
            </a:lvl1pPr>
          </a:lstStyle>
          <a:p>
            <a:pPr lvl="0"/>
            <a:r>
              <a:rPr lang="en-US"/>
              <a:t>Click to edit Master text styles</a:t>
            </a:r>
          </a:p>
        </p:txBody>
      </p:sp>
      <p:sp>
        <p:nvSpPr>
          <p:cNvPr id="92" name="Text Placeholder 4">
            <a:extLst>
              <a:ext uri="{FF2B5EF4-FFF2-40B4-BE49-F238E27FC236}">
                <a16:creationId xmlns:a16="http://schemas.microsoft.com/office/drawing/2014/main" id="{C1EBA1B2-4C1B-46A6-AF71-22C808D2EF32}"/>
              </a:ext>
            </a:extLst>
          </p:cNvPr>
          <p:cNvSpPr>
            <a:spLocks noGrp="1"/>
          </p:cNvSpPr>
          <p:nvPr>
            <p:ph type="body" sz="quarter" idx="52"/>
          </p:nvPr>
        </p:nvSpPr>
        <p:spPr>
          <a:xfrm>
            <a:off x="8588119" y="3423116"/>
            <a:ext cx="2432967" cy="153888"/>
          </a:xfrm>
        </p:spPr>
        <p:txBody>
          <a:bodyPr anchor="ctr" anchorCtr="0"/>
          <a:lstStyle>
            <a:lvl1pPr marL="0" indent="0" algn="ctr">
              <a:lnSpc>
                <a:spcPct val="100000"/>
              </a:lnSpc>
              <a:spcBef>
                <a:spcPts val="0"/>
              </a:spcBef>
              <a:spcAft>
                <a:spcPts val="600"/>
              </a:spcAft>
              <a:buClr>
                <a:schemeClr val="bg1"/>
              </a:buClr>
              <a:buFontTx/>
              <a:buNone/>
              <a:defRPr sz="1000">
                <a:solidFill>
                  <a:schemeClr val="bg1"/>
                </a:solidFill>
              </a:defRPr>
            </a:lvl1pPr>
          </a:lstStyle>
          <a:p>
            <a:pPr lvl="0"/>
            <a:r>
              <a:rPr lang="en-US"/>
              <a:t>Click to edit Master text styles</a:t>
            </a:r>
          </a:p>
        </p:txBody>
      </p:sp>
      <p:sp>
        <p:nvSpPr>
          <p:cNvPr id="110" name="Text Placeholder 4">
            <a:extLst>
              <a:ext uri="{FF2B5EF4-FFF2-40B4-BE49-F238E27FC236}">
                <a16:creationId xmlns:a16="http://schemas.microsoft.com/office/drawing/2014/main" id="{BB3303CD-4719-465C-9395-0DBADBC6EE5A}"/>
              </a:ext>
            </a:extLst>
          </p:cNvPr>
          <p:cNvSpPr>
            <a:spLocks noGrp="1"/>
          </p:cNvSpPr>
          <p:nvPr>
            <p:ph type="body" sz="quarter" idx="53"/>
          </p:nvPr>
        </p:nvSpPr>
        <p:spPr>
          <a:xfrm>
            <a:off x="8588119" y="3973465"/>
            <a:ext cx="2432967" cy="153888"/>
          </a:xfrm>
        </p:spPr>
        <p:txBody>
          <a:bodyPr anchor="ctr" anchorCtr="0"/>
          <a:lstStyle>
            <a:lvl1pPr marL="0" indent="0" algn="ctr">
              <a:lnSpc>
                <a:spcPct val="100000"/>
              </a:lnSpc>
              <a:spcBef>
                <a:spcPts val="0"/>
              </a:spcBef>
              <a:spcAft>
                <a:spcPts val="600"/>
              </a:spcAft>
              <a:buClr>
                <a:schemeClr val="bg1"/>
              </a:buClr>
              <a:buFontTx/>
              <a:buNone/>
              <a:defRPr sz="1000">
                <a:solidFill>
                  <a:schemeClr val="bg1"/>
                </a:solidFill>
              </a:defRPr>
            </a:lvl1pPr>
          </a:lstStyle>
          <a:p>
            <a:pPr lvl="0"/>
            <a:r>
              <a:rPr lang="en-US"/>
              <a:t>Click to edit Master text styles</a:t>
            </a:r>
          </a:p>
        </p:txBody>
      </p:sp>
      <p:sp>
        <p:nvSpPr>
          <p:cNvPr id="112" name="Text Placeholder 6">
            <a:extLst>
              <a:ext uri="{FF2B5EF4-FFF2-40B4-BE49-F238E27FC236}">
                <a16:creationId xmlns:a16="http://schemas.microsoft.com/office/drawing/2014/main" id="{F2D73EAB-C2B5-40EB-92EE-DE3846B953F8}"/>
              </a:ext>
            </a:extLst>
          </p:cNvPr>
          <p:cNvSpPr>
            <a:spLocks noGrp="1"/>
          </p:cNvSpPr>
          <p:nvPr>
            <p:ph type="body" sz="quarter" idx="55" hasCustomPrompt="1"/>
          </p:nvPr>
        </p:nvSpPr>
        <p:spPr>
          <a:xfrm>
            <a:off x="8322411" y="4901818"/>
            <a:ext cx="2964383" cy="184666"/>
          </a:xfrm>
        </p:spPr>
        <p:txBody>
          <a:bodyPr/>
          <a:lstStyle>
            <a:lvl1pPr marL="237744" indent="-237744">
              <a:lnSpc>
                <a:spcPct val="100000"/>
              </a:lnSpc>
              <a:spcBef>
                <a:spcPts val="0"/>
              </a:spcBef>
              <a:spcAft>
                <a:spcPts val="1500"/>
              </a:spcAft>
              <a:buClr>
                <a:schemeClr val="bg1"/>
              </a:buClr>
              <a:buFont typeface="Wingdings" panose="05000000000000000000" pitchFamily="2" charset="2"/>
              <a:buChar char="ü"/>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42913096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180" name="Rectangle 179">
            <a:extLst>
              <a:ext uri="{FF2B5EF4-FFF2-40B4-BE49-F238E27FC236}">
                <a16:creationId xmlns:a16="http://schemas.microsoft.com/office/drawing/2014/main" id="{9CC680AE-6626-4AC0-B64C-BB4479BFF797}"/>
              </a:ext>
            </a:extLst>
          </p:cNvPr>
          <p:cNvSpPr/>
          <p:nvPr userDrawn="1"/>
        </p:nvSpPr>
        <p:spPr>
          <a:xfrm>
            <a:off x="5011902" y="4341957"/>
            <a:ext cx="2208434"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cxnSp>
        <p:nvCxnSpPr>
          <p:cNvPr id="181" name="Straight Connector 180">
            <a:extLst>
              <a:ext uri="{FF2B5EF4-FFF2-40B4-BE49-F238E27FC236}">
                <a16:creationId xmlns:a16="http://schemas.microsoft.com/office/drawing/2014/main" id="{3A7F95CF-78FF-4AE6-B39D-5F05294A980D}"/>
              </a:ext>
            </a:extLst>
          </p:cNvPr>
          <p:cNvCxnSpPr>
            <a:cxnSpLocks/>
          </p:cNvCxnSpPr>
          <p:nvPr userDrawn="1"/>
        </p:nvCxnSpPr>
        <p:spPr>
          <a:xfrm>
            <a:off x="5049190" y="5105141"/>
            <a:ext cx="213385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2" name="Text Placeholder 4">
            <a:extLst>
              <a:ext uri="{FF2B5EF4-FFF2-40B4-BE49-F238E27FC236}">
                <a16:creationId xmlns:a16="http://schemas.microsoft.com/office/drawing/2014/main" id="{B8633ECF-31D2-4C05-A37C-6178353B52FF}"/>
              </a:ext>
            </a:extLst>
          </p:cNvPr>
          <p:cNvSpPr>
            <a:spLocks noGrp="1"/>
          </p:cNvSpPr>
          <p:nvPr>
            <p:ph type="body" sz="quarter" idx="57" hasCustomPrompt="1"/>
          </p:nvPr>
        </p:nvSpPr>
        <p:spPr>
          <a:xfrm>
            <a:off x="5092163" y="5168666"/>
            <a:ext cx="2047912"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83" name="Text Placeholder 4">
            <a:extLst>
              <a:ext uri="{FF2B5EF4-FFF2-40B4-BE49-F238E27FC236}">
                <a16:creationId xmlns:a16="http://schemas.microsoft.com/office/drawing/2014/main" id="{584F1669-BA83-418E-9E76-867393E0F6BC}"/>
              </a:ext>
            </a:extLst>
          </p:cNvPr>
          <p:cNvSpPr>
            <a:spLocks noGrp="1"/>
          </p:cNvSpPr>
          <p:nvPr>
            <p:ph type="body" sz="quarter" idx="58" hasCustomPrompt="1"/>
          </p:nvPr>
        </p:nvSpPr>
        <p:spPr>
          <a:xfrm>
            <a:off x="5092163" y="4831630"/>
            <a:ext cx="2047912" cy="184666"/>
          </a:xfrm>
        </p:spPr>
        <p:txBody>
          <a:bodyPr wrap="square"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96" name="Arrow: Pentagon 95">
            <a:extLst>
              <a:ext uri="{FF2B5EF4-FFF2-40B4-BE49-F238E27FC236}">
                <a16:creationId xmlns:a16="http://schemas.microsoft.com/office/drawing/2014/main" id="{01B923AF-C32B-403A-9124-D25F1BBCBE02}"/>
              </a:ext>
            </a:extLst>
          </p:cNvPr>
          <p:cNvSpPr/>
          <p:nvPr userDrawn="1"/>
        </p:nvSpPr>
        <p:spPr>
          <a:xfrm>
            <a:off x="624694" y="3656134"/>
            <a:ext cx="1568348" cy="153888"/>
          </a:xfrm>
          <a:prstGeom prst="homePlate">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Arrow: Chevron 96">
            <a:extLst>
              <a:ext uri="{FF2B5EF4-FFF2-40B4-BE49-F238E27FC236}">
                <a16:creationId xmlns:a16="http://schemas.microsoft.com/office/drawing/2014/main" id="{D4BABC26-E0DD-4C0C-9799-FDFE167D2584}"/>
              </a:ext>
            </a:extLst>
          </p:cNvPr>
          <p:cNvSpPr/>
          <p:nvPr userDrawn="1"/>
        </p:nvSpPr>
        <p:spPr>
          <a:xfrm>
            <a:off x="2193041"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Arrow: Chevron 97">
            <a:extLst>
              <a:ext uri="{FF2B5EF4-FFF2-40B4-BE49-F238E27FC236}">
                <a16:creationId xmlns:a16="http://schemas.microsoft.com/office/drawing/2014/main" id="{D867BC7E-95BA-4C8F-9E43-151D66347F4B}"/>
              </a:ext>
            </a:extLst>
          </p:cNvPr>
          <p:cNvSpPr/>
          <p:nvPr userDrawn="1"/>
        </p:nvSpPr>
        <p:spPr>
          <a:xfrm>
            <a:off x="3761390"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Arrow: Chevron 98">
            <a:extLst>
              <a:ext uri="{FF2B5EF4-FFF2-40B4-BE49-F238E27FC236}">
                <a16:creationId xmlns:a16="http://schemas.microsoft.com/office/drawing/2014/main" id="{B5A24667-CD16-4079-8ECC-769011EC5C2C}"/>
              </a:ext>
            </a:extLst>
          </p:cNvPr>
          <p:cNvSpPr/>
          <p:nvPr userDrawn="1"/>
        </p:nvSpPr>
        <p:spPr>
          <a:xfrm>
            <a:off x="5329737"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Arrow: Chevron 99">
            <a:extLst>
              <a:ext uri="{FF2B5EF4-FFF2-40B4-BE49-F238E27FC236}">
                <a16:creationId xmlns:a16="http://schemas.microsoft.com/office/drawing/2014/main" id="{5CCF2230-3284-4F9D-9DE4-42622EE844F5}"/>
              </a:ext>
            </a:extLst>
          </p:cNvPr>
          <p:cNvSpPr/>
          <p:nvPr userDrawn="1"/>
        </p:nvSpPr>
        <p:spPr>
          <a:xfrm>
            <a:off x="6898086"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Arrow: Chevron 100">
            <a:extLst>
              <a:ext uri="{FF2B5EF4-FFF2-40B4-BE49-F238E27FC236}">
                <a16:creationId xmlns:a16="http://schemas.microsoft.com/office/drawing/2014/main" id="{A70C7B20-729E-4B0A-AB18-C2AF040F27A9}"/>
              </a:ext>
            </a:extLst>
          </p:cNvPr>
          <p:cNvSpPr/>
          <p:nvPr userDrawn="1"/>
        </p:nvSpPr>
        <p:spPr>
          <a:xfrm>
            <a:off x="8466433"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Arrow: Chevron 101">
            <a:extLst>
              <a:ext uri="{FF2B5EF4-FFF2-40B4-BE49-F238E27FC236}">
                <a16:creationId xmlns:a16="http://schemas.microsoft.com/office/drawing/2014/main" id="{9B234B41-4C37-41CF-8283-B919691BF377}"/>
              </a:ext>
            </a:extLst>
          </p:cNvPr>
          <p:cNvSpPr/>
          <p:nvPr userDrawn="1"/>
        </p:nvSpPr>
        <p:spPr>
          <a:xfrm>
            <a:off x="10034782" y="3656134"/>
            <a:ext cx="1568348" cy="153888"/>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102">
            <a:extLst>
              <a:ext uri="{FF2B5EF4-FFF2-40B4-BE49-F238E27FC236}">
                <a16:creationId xmlns:a16="http://schemas.microsoft.com/office/drawing/2014/main" id="{52409F90-8F9A-44CD-8D87-588057350A20}"/>
              </a:ext>
            </a:extLst>
          </p:cNvPr>
          <p:cNvGrpSpPr/>
          <p:nvPr userDrawn="1"/>
        </p:nvGrpSpPr>
        <p:grpSpPr>
          <a:xfrm>
            <a:off x="1223957" y="3577684"/>
            <a:ext cx="310896" cy="310789"/>
            <a:chOff x="999265" y="3711034"/>
            <a:chExt cx="310789" cy="310789"/>
          </a:xfrm>
        </p:grpSpPr>
        <p:sp>
          <p:nvSpPr>
            <p:cNvPr id="104" name="Oval 103">
              <a:extLst>
                <a:ext uri="{FF2B5EF4-FFF2-40B4-BE49-F238E27FC236}">
                  <a16:creationId xmlns:a16="http://schemas.microsoft.com/office/drawing/2014/main" id="{3E1F4B5D-1D1E-430E-82AA-6CC89E45411F}"/>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a:extLst>
                <a:ext uri="{FF2B5EF4-FFF2-40B4-BE49-F238E27FC236}">
                  <a16:creationId xmlns:a16="http://schemas.microsoft.com/office/drawing/2014/main" id="{0BACE12A-17D3-4E28-B790-408FB724915C}"/>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6" name="Group 105">
            <a:extLst>
              <a:ext uri="{FF2B5EF4-FFF2-40B4-BE49-F238E27FC236}">
                <a16:creationId xmlns:a16="http://schemas.microsoft.com/office/drawing/2014/main" id="{03C028AE-9840-4C1D-8031-E6E1A73C8359}"/>
              </a:ext>
            </a:extLst>
          </p:cNvPr>
          <p:cNvGrpSpPr/>
          <p:nvPr userDrawn="1"/>
        </p:nvGrpSpPr>
        <p:grpSpPr>
          <a:xfrm>
            <a:off x="2828126" y="3577684"/>
            <a:ext cx="310896" cy="310789"/>
            <a:chOff x="999265" y="3711034"/>
            <a:chExt cx="310789" cy="310789"/>
          </a:xfrm>
        </p:grpSpPr>
        <p:sp>
          <p:nvSpPr>
            <p:cNvPr id="107" name="Oval 106">
              <a:extLst>
                <a:ext uri="{FF2B5EF4-FFF2-40B4-BE49-F238E27FC236}">
                  <a16:creationId xmlns:a16="http://schemas.microsoft.com/office/drawing/2014/main" id="{69764C5E-0371-47E5-8F9D-EDF1414C0EC4}"/>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a:extLst>
                <a:ext uri="{FF2B5EF4-FFF2-40B4-BE49-F238E27FC236}">
                  <a16:creationId xmlns:a16="http://schemas.microsoft.com/office/drawing/2014/main" id="{3BDCD8DC-DC32-42CC-9BA0-FC830BC32E44}"/>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9" name="Group 108">
            <a:extLst>
              <a:ext uri="{FF2B5EF4-FFF2-40B4-BE49-F238E27FC236}">
                <a16:creationId xmlns:a16="http://schemas.microsoft.com/office/drawing/2014/main" id="{C6E71096-2E97-4E08-AA33-F715FBF2388A}"/>
              </a:ext>
            </a:extLst>
          </p:cNvPr>
          <p:cNvGrpSpPr/>
          <p:nvPr userDrawn="1"/>
        </p:nvGrpSpPr>
        <p:grpSpPr>
          <a:xfrm>
            <a:off x="4396474" y="3577684"/>
            <a:ext cx="310896" cy="310789"/>
            <a:chOff x="999265" y="3711034"/>
            <a:chExt cx="310789" cy="310789"/>
          </a:xfrm>
        </p:grpSpPr>
        <p:sp>
          <p:nvSpPr>
            <p:cNvPr id="110" name="Oval 109">
              <a:extLst>
                <a:ext uri="{FF2B5EF4-FFF2-40B4-BE49-F238E27FC236}">
                  <a16:creationId xmlns:a16="http://schemas.microsoft.com/office/drawing/2014/main" id="{A406F7EA-4200-4699-8F61-91E1E0C8A561}"/>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10">
              <a:extLst>
                <a:ext uri="{FF2B5EF4-FFF2-40B4-BE49-F238E27FC236}">
                  <a16:creationId xmlns:a16="http://schemas.microsoft.com/office/drawing/2014/main" id="{482B1795-8D7B-4234-AE5B-067E07BAE0C2}"/>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2" name="Group 111">
            <a:extLst>
              <a:ext uri="{FF2B5EF4-FFF2-40B4-BE49-F238E27FC236}">
                <a16:creationId xmlns:a16="http://schemas.microsoft.com/office/drawing/2014/main" id="{848101FB-BD54-494F-8443-F27E71E518AF}"/>
              </a:ext>
            </a:extLst>
          </p:cNvPr>
          <p:cNvGrpSpPr/>
          <p:nvPr userDrawn="1"/>
        </p:nvGrpSpPr>
        <p:grpSpPr>
          <a:xfrm>
            <a:off x="5964822" y="3577684"/>
            <a:ext cx="310896" cy="310789"/>
            <a:chOff x="999265" y="3711034"/>
            <a:chExt cx="310789" cy="310789"/>
          </a:xfrm>
        </p:grpSpPr>
        <p:sp>
          <p:nvSpPr>
            <p:cNvPr id="113" name="Oval 112">
              <a:extLst>
                <a:ext uri="{FF2B5EF4-FFF2-40B4-BE49-F238E27FC236}">
                  <a16:creationId xmlns:a16="http://schemas.microsoft.com/office/drawing/2014/main" id="{3DBB5C91-0262-40D9-B5AB-B8F63CF30266}"/>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CEB9F09B-0F16-4DA5-963F-A1EC8EAE7F05}"/>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5" name="Group 114">
            <a:extLst>
              <a:ext uri="{FF2B5EF4-FFF2-40B4-BE49-F238E27FC236}">
                <a16:creationId xmlns:a16="http://schemas.microsoft.com/office/drawing/2014/main" id="{2FCDB955-44AE-4695-BC80-AD36D1BBB37A}"/>
              </a:ext>
            </a:extLst>
          </p:cNvPr>
          <p:cNvGrpSpPr/>
          <p:nvPr userDrawn="1"/>
        </p:nvGrpSpPr>
        <p:grpSpPr>
          <a:xfrm>
            <a:off x="7533170" y="3577684"/>
            <a:ext cx="310896" cy="310789"/>
            <a:chOff x="999265" y="3711034"/>
            <a:chExt cx="310789" cy="310789"/>
          </a:xfrm>
        </p:grpSpPr>
        <p:sp>
          <p:nvSpPr>
            <p:cNvPr id="116" name="Oval 115">
              <a:extLst>
                <a:ext uri="{FF2B5EF4-FFF2-40B4-BE49-F238E27FC236}">
                  <a16:creationId xmlns:a16="http://schemas.microsoft.com/office/drawing/2014/main" id="{DC89F7EA-25A4-475B-85BA-32A5AE486B22}"/>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C18E7E28-65A2-4ACE-94DF-689894F314D7}"/>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8" name="Group 117">
            <a:extLst>
              <a:ext uri="{FF2B5EF4-FFF2-40B4-BE49-F238E27FC236}">
                <a16:creationId xmlns:a16="http://schemas.microsoft.com/office/drawing/2014/main" id="{9043C26E-5A2C-4446-9C83-9221FBCF0441}"/>
              </a:ext>
            </a:extLst>
          </p:cNvPr>
          <p:cNvGrpSpPr/>
          <p:nvPr userDrawn="1"/>
        </p:nvGrpSpPr>
        <p:grpSpPr>
          <a:xfrm>
            <a:off x="9101518" y="3577684"/>
            <a:ext cx="310896" cy="310789"/>
            <a:chOff x="999265" y="3711034"/>
            <a:chExt cx="310789" cy="310789"/>
          </a:xfrm>
        </p:grpSpPr>
        <p:sp>
          <p:nvSpPr>
            <p:cNvPr id="119" name="Oval 118">
              <a:extLst>
                <a:ext uri="{FF2B5EF4-FFF2-40B4-BE49-F238E27FC236}">
                  <a16:creationId xmlns:a16="http://schemas.microsoft.com/office/drawing/2014/main" id="{E9472CE0-54E8-4E26-AA98-FD2BFACC16CC}"/>
                </a:ext>
              </a:extLst>
            </p:cNvPr>
            <p:cNvSpPr/>
            <p:nvPr/>
          </p:nvSpPr>
          <p:spPr>
            <a:xfrm>
              <a:off x="999265" y="3711034"/>
              <a:ext cx="310789"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Oval 119">
              <a:extLst>
                <a:ext uri="{FF2B5EF4-FFF2-40B4-BE49-F238E27FC236}">
                  <a16:creationId xmlns:a16="http://schemas.microsoft.com/office/drawing/2014/main" id="{F99CB174-AFCE-4F58-959A-F0FED7EA2593}"/>
                </a:ext>
              </a:extLst>
            </p:cNvPr>
            <p:cNvSpPr/>
            <p:nvPr/>
          </p:nvSpPr>
          <p:spPr>
            <a:xfrm>
              <a:off x="1077714" y="3789485"/>
              <a:ext cx="153890"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1" name="Group 120">
            <a:extLst>
              <a:ext uri="{FF2B5EF4-FFF2-40B4-BE49-F238E27FC236}">
                <a16:creationId xmlns:a16="http://schemas.microsoft.com/office/drawing/2014/main" id="{684A7822-C787-4534-8787-27F78A3AC5F9}"/>
              </a:ext>
            </a:extLst>
          </p:cNvPr>
          <p:cNvGrpSpPr/>
          <p:nvPr userDrawn="1"/>
        </p:nvGrpSpPr>
        <p:grpSpPr>
          <a:xfrm>
            <a:off x="10669866" y="3577684"/>
            <a:ext cx="310896" cy="310789"/>
            <a:chOff x="10669866" y="3577684"/>
            <a:chExt cx="310896" cy="310789"/>
          </a:xfrm>
        </p:grpSpPr>
        <p:sp>
          <p:nvSpPr>
            <p:cNvPr id="122" name="Oval 121">
              <a:extLst>
                <a:ext uri="{FF2B5EF4-FFF2-40B4-BE49-F238E27FC236}">
                  <a16:creationId xmlns:a16="http://schemas.microsoft.com/office/drawing/2014/main" id="{95040A55-4B63-4750-B2F1-A20D9C973FE6}"/>
                </a:ext>
              </a:extLst>
            </p:cNvPr>
            <p:cNvSpPr/>
            <p:nvPr/>
          </p:nvSpPr>
          <p:spPr>
            <a:xfrm>
              <a:off x="10669866" y="3577684"/>
              <a:ext cx="310896" cy="310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Oval 122">
              <a:extLst>
                <a:ext uri="{FF2B5EF4-FFF2-40B4-BE49-F238E27FC236}">
                  <a16:creationId xmlns:a16="http://schemas.microsoft.com/office/drawing/2014/main" id="{D5EF5ADC-B0E3-4F08-B843-F9009B24DA1D}"/>
                </a:ext>
              </a:extLst>
            </p:cNvPr>
            <p:cNvSpPr/>
            <p:nvPr/>
          </p:nvSpPr>
          <p:spPr>
            <a:xfrm>
              <a:off x="10748342" y="3656135"/>
              <a:ext cx="153943" cy="1538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4" name="Rectangle 123">
            <a:extLst>
              <a:ext uri="{FF2B5EF4-FFF2-40B4-BE49-F238E27FC236}">
                <a16:creationId xmlns:a16="http://schemas.microsoft.com/office/drawing/2014/main" id="{221E8CFD-0037-4F30-B151-E365307BD23E}"/>
              </a:ext>
            </a:extLst>
          </p:cNvPr>
          <p:cNvSpPr/>
          <p:nvPr userDrawn="1"/>
        </p:nvSpPr>
        <p:spPr>
          <a:xfrm>
            <a:off x="346992" y="1267734"/>
            <a:ext cx="2052109"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sp>
        <p:nvSpPr>
          <p:cNvPr id="126" name="Rectangle 125">
            <a:extLst>
              <a:ext uri="{FF2B5EF4-FFF2-40B4-BE49-F238E27FC236}">
                <a16:creationId xmlns:a16="http://schemas.microsoft.com/office/drawing/2014/main" id="{4C348BA7-D832-4EFD-80B2-DAF548472279}"/>
              </a:ext>
            </a:extLst>
          </p:cNvPr>
          <p:cNvSpPr/>
          <p:nvPr userDrawn="1"/>
        </p:nvSpPr>
        <p:spPr>
          <a:xfrm>
            <a:off x="3519509" y="1267734"/>
            <a:ext cx="2052109"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sp>
        <p:nvSpPr>
          <p:cNvPr id="128" name="Rectangle 127">
            <a:extLst>
              <a:ext uri="{FF2B5EF4-FFF2-40B4-BE49-F238E27FC236}">
                <a16:creationId xmlns:a16="http://schemas.microsoft.com/office/drawing/2014/main" id="{95D3925A-BB80-443E-895A-EE77A4014BB0}"/>
              </a:ext>
            </a:extLst>
          </p:cNvPr>
          <p:cNvSpPr/>
          <p:nvPr userDrawn="1"/>
        </p:nvSpPr>
        <p:spPr>
          <a:xfrm>
            <a:off x="6656205" y="1267734"/>
            <a:ext cx="2052109"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sp>
        <p:nvSpPr>
          <p:cNvPr id="130" name="Rectangle 129">
            <a:extLst>
              <a:ext uri="{FF2B5EF4-FFF2-40B4-BE49-F238E27FC236}">
                <a16:creationId xmlns:a16="http://schemas.microsoft.com/office/drawing/2014/main" id="{C1832D7B-53CE-4199-A8BC-643577736F40}"/>
              </a:ext>
            </a:extLst>
          </p:cNvPr>
          <p:cNvSpPr/>
          <p:nvPr userDrawn="1"/>
        </p:nvSpPr>
        <p:spPr>
          <a:xfrm>
            <a:off x="9792901" y="1267734"/>
            <a:ext cx="2052109"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sp>
        <p:nvSpPr>
          <p:cNvPr id="139" name="Freeform: Shape 138">
            <a:extLst>
              <a:ext uri="{FF2B5EF4-FFF2-40B4-BE49-F238E27FC236}">
                <a16:creationId xmlns:a16="http://schemas.microsoft.com/office/drawing/2014/main" id="{84195AB7-3A22-47E2-9F1D-D1CD567BAD6B}"/>
              </a:ext>
            </a:extLst>
          </p:cNvPr>
          <p:cNvSpPr/>
          <p:nvPr userDrawn="1"/>
        </p:nvSpPr>
        <p:spPr>
          <a:xfrm>
            <a:off x="1379405" y="3124200"/>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Freeform: Shape 139">
            <a:extLst>
              <a:ext uri="{FF2B5EF4-FFF2-40B4-BE49-F238E27FC236}">
                <a16:creationId xmlns:a16="http://schemas.microsoft.com/office/drawing/2014/main" id="{B525BEA9-C736-4563-8934-DBD1BF3E21FC}"/>
              </a:ext>
            </a:extLst>
          </p:cNvPr>
          <p:cNvSpPr/>
          <p:nvPr userDrawn="1"/>
        </p:nvSpPr>
        <p:spPr>
          <a:xfrm>
            <a:off x="4545563" y="3124200"/>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Freeform: Shape 140">
            <a:extLst>
              <a:ext uri="{FF2B5EF4-FFF2-40B4-BE49-F238E27FC236}">
                <a16:creationId xmlns:a16="http://schemas.microsoft.com/office/drawing/2014/main" id="{807802C7-B7C3-4659-B593-5FBBC991BD7B}"/>
              </a:ext>
            </a:extLst>
          </p:cNvPr>
          <p:cNvSpPr/>
          <p:nvPr userDrawn="1"/>
        </p:nvSpPr>
        <p:spPr>
          <a:xfrm>
            <a:off x="7682259" y="3124200"/>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Freeform: Shape 141">
            <a:extLst>
              <a:ext uri="{FF2B5EF4-FFF2-40B4-BE49-F238E27FC236}">
                <a16:creationId xmlns:a16="http://schemas.microsoft.com/office/drawing/2014/main" id="{35E56F3C-0822-4DD0-A611-CC5514A18D71}"/>
              </a:ext>
            </a:extLst>
          </p:cNvPr>
          <p:cNvSpPr/>
          <p:nvPr userDrawn="1"/>
        </p:nvSpPr>
        <p:spPr>
          <a:xfrm>
            <a:off x="10818955" y="3124200"/>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Freeform: Shape 142">
            <a:extLst>
              <a:ext uri="{FF2B5EF4-FFF2-40B4-BE49-F238E27FC236}">
                <a16:creationId xmlns:a16="http://schemas.microsoft.com/office/drawing/2014/main" id="{0E167745-FAE9-4E73-B486-40AA06E1210F}"/>
              </a:ext>
            </a:extLst>
          </p:cNvPr>
          <p:cNvSpPr/>
          <p:nvPr userDrawn="1"/>
        </p:nvSpPr>
        <p:spPr>
          <a:xfrm>
            <a:off x="2983572" y="3888473"/>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Freeform: Shape 143">
            <a:extLst>
              <a:ext uri="{FF2B5EF4-FFF2-40B4-BE49-F238E27FC236}">
                <a16:creationId xmlns:a16="http://schemas.microsoft.com/office/drawing/2014/main" id="{932EFE4C-B974-4D2D-8C89-152A0CDF54F8}"/>
              </a:ext>
            </a:extLst>
          </p:cNvPr>
          <p:cNvSpPr/>
          <p:nvPr userDrawn="1"/>
        </p:nvSpPr>
        <p:spPr>
          <a:xfrm>
            <a:off x="6120270" y="3888473"/>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Freeform: Shape 144">
            <a:extLst>
              <a:ext uri="{FF2B5EF4-FFF2-40B4-BE49-F238E27FC236}">
                <a16:creationId xmlns:a16="http://schemas.microsoft.com/office/drawing/2014/main" id="{C781D5E0-35DD-4320-9DD9-CB83A9249FE2}"/>
              </a:ext>
            </a:extLst>
          </p:cNvPr>
          <p:cNvSpPr/>
          <p:nvPr userDrawn="1"/>
        </p:nvSpPr>
        <p:spPr>
          <a:xfrm>
            <a:off x="9256964" y="3888473"/>
            <a:ext cx="0" cy="466725"/>
          </a:xfrm>
          <a:custGeom>
            <a:avLst/>
            <a:gdLst>
              <a:gd name="connsiteX0" fmla="*/ 0 w 0"/>
              <a:gd name="connsiteY0" fmla="*/ 0 h 466725"/>
              <a:gd name="connsiteX1" fmla="*/ 0 w 0"/>
              <a:gd name="connsiteY1" fmla="*/ 466725 h 466725"/>
            </a:gdLst>
            <a:ahLst/>
            <a:cxnLst>
              <a:cxn ang="0">
                <a:pos x="connsiteX0" y="connsiteY0"/>
              </a:cxn>
              <a:cxn ang="0">
                <a:pos x="connsiteX1" y="connsiteY1"/>
              </a:cxn>
            </a:cxnLst>
            <a:rect l="l" t="t" r="r" b="b"/>
            <a:pathLst>
              <a:path h="466725">
                <a:moveTo>
                  <a:pt x="0" y="0"/>
                </a:moveTo>
                <a:lnTo>
                  <a:pt x="0" y="46672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1184742" y="1333500"/>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cxnSp>
        <p:nvCxnSpPr>
          <p:cNvPr id="150" name="Straight Connector 149">
            <a:extLst>
              <a:ext uri="{FF2B5EF4-FFF2-40B4-BE49-F238E27FC236}">
                <a16:creationId xmlns:a16="http://schemas.microsoft.com/office/drawing/2014/main" id="{4A5E5D17-2EC9-40DA-8ECE-2C5C9921AD18}"/>
              </a:ext>
            </a:extLst>
          </p:cNvPr>
          <p:cNvCxnSpPr/>
          <p:nvPr userDrawn="1"/>
        </p:nvCxnSpPr>
        <p:spPr>
          <a:xfrm>
            <a:off x="421571" y="2030918"/>
            <a:ext cx="19029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1" name="Text Placeholder 4">
            <a:extLst>
              <a:ext uri="{FF2B5EF4-FFF2-40B4-BE49-F238E27FC236}">
                <a16:creationId xmlns:a16="http://schemas.microsoft.com/office/drawing/2014/main" id="{761E79B4-B09D-4730-9852-D3F79F940C29}"/>
              </a:ext>
            </a:extLst>
          </p:cNvPr>
          <p:cNvSpPr>
            <a:spLocks noGrp="1"/>
          </p:cNvSpPr>
          <p:nvPr>
            <p:ph type="body" sz="quarter" idx="33" hasCustomPrompt="1"/>
          </p:nvPr>
        </p:nvSpPr>
        <p:spPr>
          <a:xfrm>
            <a:off x="421571" y="2094443"/>
            <a:ext cx="1902950"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52" name="Text Placeholder 4">
            <a:extLst>
              <a:ext uri="{FF2B5EF4-FFF2-40B4-BE49-F238E27FC236}">
                <a16:creationId xmlns:a16="http://schemas.microsoft.com/office/drawing/2014/main" id="{960853B1-EB1D-44F7-86A9-5B0641118147}"/>
              </a:ext>
            </a:extLst>
          </p:cNvPr>
          <p:cNvSpPr>
            <a:spLocks noGrp="1"/>
          </p:cNvSpPr>
          <p:nvPr>
            <p:ph type="body" sz="quarter" idx="34" hasCustomPrompt="1"/>
          </p:nvPr>
        </p:nvSpPr>
        <p:spPr>
          <a:xfrm>
            <a:off x="421571" y="1757407"/>
            <a:ext cx="1902950" cy="184666"/>
          </a:xfrm>
        </p:spPr>
        <p:txBody>
          <a:bodyPr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53" name="Picture Placeholder 2">
            <a:extLst>
              <a:ext uri="{FF2B5EF4-FFF2-40B4-BE49-F238E27FC236}">
                <a16:creationId xmlns:a16="http://schemas.microsoft.com/office/drawing/2014/main" id="{C3E1F5CE-3F32-499F-B901-960255F696EE}"/>
              </a:ext>
            </a:extLst>
          </p:cNvPr>
          <p:cNvSpPr>
            <a:spLocks noGrp="1"/>
          </p:cNvSpPr>
          <p:nvPr>
            <p:ph type="pic" sz="quarter" idx="44" hasCustomPrompt="1"/>
          </p:nvPr>
        </p:nvSpPr>
        <p:spPr>
          <a:xfrm>
            <a:off x="4357259" y="1333500"/>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cxnSp>
        <p:nvCxnSpPr>
          <p:cNvPr id="154" name="Straight Connector 153">
            <a:extLst>
              <a:ext uri="{FF2B5EF4-FFF2-40B4-BE49-F238E27FC236}">
                <a16:creationId xmlns:a16="http://schemas.microsoft.com/office/drawing/2014/main" id="{4B446BDC-56A8-40E4-BE77-6E2B05C01206}"/>
              </a:ext>
            </a:extLst>
          </p:cNvPr>
          <p:cNvCxnSpPr/>
          <p:nvPr userDrawn="1"/>
        </p:nvCxnSpPr>
        <p:spPr>
          <a:xfrm>
            <a:off x="3594088" y="2030918"/>
            <a:ext cx="19029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5" name="Text Placeholder 4">
            <a:extLst>
              <a:ext uri="{FF2B5EF4-FFF2-40B4-BE49-F238E27FC236}">
                <a16:creationId xmlns:a16="http://schemas.microsoft.com/office/drawing/2014/main" id="{F74659C0-9A4F-465A-922F-7A70B331D840}"/>
              </a:ext>
            </a:extLst>
          </p:cNvPr>
          <p:cNvSpPr>
            <a:spLocks noGrp="1"/>
          </p:cNvSpPr>
          <p:nvPr>
            <p:ph type="body" sz="quarter" idx="45" hasCustomPrompt="1"/>
          </p:nvPr>
        </p:nvSpPr>
        <p:spPr>
          <a:xfrm>
            <a:off x="3594088" y="2094443"/>
            <a:ext cx="1902950"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56" name="Text Placeholder 4">
            <a:extLst>
              <a:ext uri="{FF2B5EF4-FFF2-40B4-BE49-F238E27FC236}">
                <a16:creationId xmlns:a16="http://schemas.microsoft.com/office/drawing/2014/main" id="{BC28DC52-BEC1-44DF-93A5-A616703D8794}"/>
              </a:ext>
            </a:extLst>
          </p:cNvPr>
          <p:cNvSpPr>
            <a:spLocks noGrp="1"/>
          </p:cNvSpPr>
          <p:nvPr>
            <p:ph type="body" sz="quarter" idx="46" hasCustomPrompt="1"/>
          </p:nvPr>
        </p:nvSpPr>
        <p:spPr>
          <a:xfrm>
            <a:off x="3594088" y="1757407"/>
            <a:ext cx="1902950" cy="184666"/>
          </a:xfrm>
        </p:spPr>
        <p:txBody>
          <a:bodyPr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57" name="Picture Placeholder 2">
            <a:extLst>
              <a:ext uri="{FF2B5EF4-FFF2-40B4-BE49-F238E27FC236}">
                <a16:creationId xmlns:a16="http://schemas.microsoft.com/office/drawing/2014/main" id="{CEEE8013-41E8-4A08-A7F2-65100353201F}"/>
              </a:ext>
            </a:extLst>
          </p:cNvPr>
          <p:cNvSpPr>
            <a:spLocks noGrp="1"/>
          </p:cNvSpPr>
          <p:nvPr>
            <p:ph type="pic" sz="quarter" idx="47" hasCustomPrompt="1"/>
          </p:nvPr>
        </p:nvSpPr>
        <p:spPr>
          <a:xfrm>
            <a:off x="7493955" y="1333500"/>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cxnSp>
        <p:nvCxnSpPr>
          <p:cNvPr id="158" name="Straight Connector 157">
            <a:extLst>
              <a:ext uri="{FF2B5EF4-FFF2-40B4-BE49-F238E27FC236}">
                <a16:creationId xmlns:a16="http://schemas.microsoft.com/office/drawing/2014/main" id="{9C795AC0-5A99-45E7-9452-CA4D8659DA89}"/>
              </a:ext>
            </a:extLst>
          </p:cNvPr>
          <p:cNvCxnSpPr/>
          <p:nvPr userDrawn="1"/>
        </p:nvCxnSpPr>
        <p:spPr>
          <a:xfrm>
            <a:off x="6730784" y="2030918"/>
            <a:ext cx="19029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9" name="Text Placeholder 4">
            <a:extLst>
              <a:ext uri="{FF2B5EF4-FFF2-40B4-BE49-F238E27FC236}">
                <a16:creationId xmlns:a16="http://schemas.microsoft.com/office/drawing/2014/main" id="{06B5D7EE-AC02-4C06-8D09-B85595B2D974}"/>
              </a:ext>
            </a:extLst>
          </p:cNvPr>
          <p:cNvSpPr>
            <a:spLocks noGrp="1"/>
          </p:cNvSpPr>
          <p:nvPr>
            <p:ph type="body" sz="quarter" idx="48" hasCustomPrompt="1"/>
          </p:nvPr>
        </p:nvSpPr>
        <p:spPr>
          <a:xfrm>
            <a:off x="6730784" y="2094443"/>
            <a:ext cx="1902950"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60" name="Text Placeholder 4">
            <a:extLst>
              <a:ext uri="{FF2B5EF4-FFF2-40B4-BE49-F238E27FC236}">
                <a16:creationId xmlns:a16="http://schemas.microsoft.com/office/drawing/2014/main" id="{47C3A867-D918-4F24-9164-B841A13E1D36}"/>
              </a:ext>
            </a:extLst>
          </p:cNvPr>
          <p:cNvSpPr>
            <a:spLocks noGrp="1"/>
          </p:cNvSpPr>
          <p:nvPr>
            <p:ph type="body" sz="quarter" idx="49" hasCustomPrompt="1"/>
          </p:nvPr>
        </p:nvSpPr>
        <p:spPr>
          <a:xfrm>
            <a:off x="6730784" y="1757407"/>
            <a:ext cx="1902950" cy="184666"/>
          </a:xfrm>
        </p:spPr>
        <p:txBody>
          <a:bodyPr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61" name="Picture Placeholder 2">
            <a:extLst>
              <a:ext uri="{FF2B5EF4-FFF2-40B4-BE49-F238E27FC236}">
                <a16:creationId xmlns:a16="http://schemas.microsoft.com/office/drawing/2014/main" id="{187B4FAB-F79A-489F-A25F-C004732CEA46}"/>
              </a:ext>
            </a:extLst>
          </p:cNvPr>
          <p:cNvSpPr>
            <a:spLocks noGrp="1"/>
          </p:cNvSpPr>
          <p:nvPr>
            <p:ph type="pic" sz="quarter" idx="50" hasCustomPrompt="1"/>
          </p:nvPr>
        </p:nvSpPr>
        <p:spPr>
          <a:xfrm>
            <a:off x="10630651" y="1333500"/>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cxnSp>
        <p:nvCxnSpPr>
          <p:cNvPr id="162" name="Straight Connector 161">
            <a:extLst>
              <a:ext uri="{FF2B5EF4-FFF2-40B4-BE49-F238E27FC236}">
                <a16:creationId xmlns:a16="http://schemas.microsoft.com/office/drawing/2014/main" id="{B2BA7D23-DF15-496D-9BA2-1A6400D11815}"/>
              </a:ext>
            </a:extLst>
          </p:cNvPr>
          <p:cNvCxnSpPr/>
          <p:nvPr userDrawn="1"/>
        </p:nvCxnSpPr>
        <p:spPr>
          <a:xfrm>
            <a:off x="9867480" y="2030918"/>
            <a:ext cx="19029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3" name="Text Placeholder 4">
            <a:extLst>
              <a:ext uri="{FF2B5EF4-FFF2-40B4-BE49-F238E27FC236}">
                <a16:creationId xmlns:a16="http://schemas.microsoft.com/office/drawing/2014/main" id="{1AD4E8AB-5D37-4EE6-81E9-527F6BFB99AD}"/>
              </a:ext>
            </a:extLst>
          </p:cNvPr>
          <p:cNvSpPr>
            <a:spLocks noGrp="1"/>
          </p:cNvSpPr>
          <p:nvPr>
            <p:ph type="body" sz="quarter" idx="51" hasCustomPrompt="1"/>
          </p:nvPr>
        </p:nvSpPr>
        <p:spPr>
          <a:xfrm>
            <a:off x="9867480" y="2094443"/>
            <a:ext cx="1902950"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64" name="Text Placeholder 4">
            <a:extLst>
              <a:ext uri="{FF2B5EF4-FFF2-40B4-BE49-F238E27FC236}">
                <a16:creationId xmlns:a16="http://schemas.microsoft.com/office/drawing/2014/main" id="{2D9D7250-5E79-416D-B4A5-E4700CBFF756}"/>
              </a:ext>
            </a:extLst>
          </p:cNvPr>
          <p:cNvSpPr>
            <a:spLocks noGrp="1"/>
          </p:cNvSpPr>
          <p:nvPr>
            <p:ph type="body" sz="quarter" idx="52" hasCustomPrompt="1"/>
          </p:nvPr>
        </p:nvSpPr>
        <p:spPr>
          <a:xfrm>
            <a:off x="9867480" y="1757407"/>
            <a:ext cx="1902950" cy="184666"/>
          </a:xfrm>
        </p:spPr>
        <p:txBody>
          <a:bodyPr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70" name="Rectangle 169">
            <a:extLst>
              <a:ext uri="{FF2B5EF4-FFF2-40B4-BE49-F238E27FC236}">
                <a16:creationId xmlns:a16="http://schemas.microsoft.com/office/drawing/2014/main" id="{5A5EAE97-2220-4820-A9AF-45B16286FFC8}"/>
              </a:ext>
            </a:extLst>
          </p:cNvPr>
          <p:cNvSpPr/>
          <p:nvPr userDrawn="1"/>
        </p:nvSpPr>
        <p:spPr>
          <a:xfrm>
            <a:off x="1955222" y="4341957"/>
            <a:ext cx="2052109"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sp>
        <p:nvSpPr>
          <p:cNvPr id="171" name="Picture Placeholder 2">
            <a:extLst>
              <a:ext uri="{FF2B5EF4-FFF2-40B4-BE49-F238E27FC236}">
                <a16:creationId xmlns:a16="http://schemas.microsoft.com/office/drawing/2014/main" id="{FC9D68CD-BDA2-4181-B1A8-0F8BE352B9BF}"/>
              </a:ext>
            </a:extLst>
          </p:cNvPr>
          <p:cNvSpPr>
            <a:spLocks noGrp="1"/>
          </p:cNvSpPr>
          <p:nvPr>
            <p:ph type="pic" sz="quarter" idx="53" hasCustomPrompt="1"/>
          </p:nvPr>
        </p:nvSpPr>
        <p:spPr>
          <a:xfrm>
            <a:off x="2792972" y="4407723"/>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cxnSp>
        <p:nvCxnSpPr>
          <p:cNvPr id="172" name="Straight Connector 171">
            <a:extLst>
              <a:ext uri="{FF2B5EF4-FFF2-40B4-BE49-F238E27FC236}">
                <a16:creationId xmlns:a16="http://schemas.microsoft.com/office/drawing/2014/main" id="{41490A59-C79C-4721-9410-B5B2DE1CDD51}"/>
              </a:ext>
            </a:extLst>
          </p:cNvPr>
          <p:cNvCxnSpPr/>
          <p:nvPr userDrawn="1"/>
        </p:nvCxnSpPr>
        <p:spPr>
          <a:xfrm>
            <a:off x="2029801" y="5105141"/>
            <a:ext cx="19029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3" name="Text Placeholder 4">
            <a:extLst>
              <a:ext uri="{FF2B5EF4-FFF2-40B4-BE49-F238E27FC236}">
                <a16:creationId xmlns:a16="http://schemas.microsoft.com/office/drawing/2014/main" id="{00EF5BE0-EDED-49D5-ADC6-6B0490E1368E}"/>
              </a:ext>
            </a:extLst>
          </p:cNvPr>
          <p:cNvSpPr>
            <a:spLocks noGrp="1"/>
          </p:cNvSpPr>
          <p:nvPr>
            <p:ph type="body" sz="quarter" idx="54" hasCustomPrompt="1"/>
          </p:nvPr>
        </p:nvSpPr>
        <p:spPr>
          <a:xfrm>
            <a:off x="2029801" y="5168666"/>
            <a:ext cx="1902950"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74" name="Text Placeholder 4">
            <a:extLst>
              <a:ext uri="{FF2B5EF4-FFF2-40B4-BE49-F238E27FC236}">
                <a16:creationId xmlns:a16="http://schemas.microsoft.com/office/drawing/2014/main" id="{2E54BC90-088E-4C2E-B425-A2FF4DA94109}"/>
              </a:ext>
            </a:extLst>
          </p:cNvPr>
          <p:cNvSpPr>
            <a:spLocks noGrp="1"/>
          </p:cNvSpPr>
          <p:nvPr>
            <p:ph type="body" sz="quarter" idx="55" hasCustomPrompt="1"/>
          </p:nvPr>
        </p:nvSpPr>
        <p:spPr>
          <a:xfrm>
            <a:off x="2029801" y="4831630"/>
            <a:ext cx="1902950" cy="184666"/>
          </a:xfrm>
        </p:spPr>
        <p:txBody>
          <a:bodyPr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76" name="Picture Placeholder 2">
            <a:extLst>
              <a:ext uri="{FF2B5EF4-FFF2-40B4-BE49-F238E27FC236}">
                <a16:creationId xmlns:a16="http://schemas.microsoft.com/office/drawing/2014/main" id="{0C288455-E6C7-4803-BA3E-5B26E5D2E8EE}"/>
              </a:ext>
            </a:extLst>
          </p:cNvPr>
          <p:cNvSpPr>
            <a:spLocks noGrp="1"/>
          </p:cNvSpPr>
          <p:nvPr>
            <p:ph type="pic" sz="quarter" idx="56" hasCustomPrompt="1"/>
          </p:nvPr>
        </p:nvSpPr>
        <p:spPr>
          <a:xfrm>
            <a:off x="5927815" y="4407723"/>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sp>
        <p:nvSpPr>
          <p:cNvPr id="189" name="Rectangle 188">
            <a:extLst>
              <a:ext uri="{FF2B5EF4-FFF2-40B4-BE49-F238E27FC236}">
                <a16:creationId xmlns:a16="http://schemas.microsoft.com/office/drawing/2014/main" id="{E973410B-20B7-49BD-BA4F-A4BA59A3222E}"/>
              </a:ext>
            </a:extLst>
          </p:cNvPr>
          <p:cNvSpPr/>
          <p:nvPr userDrawn="1"/>
        </p:nvSpPr>
        <p:spPr>
          <a:xfrm>
            <a:off x="8155236" y="4341957"/>
            <a:ext cx="2208434" cy="1852803"/>
          </a:xfrm>
          <a:prstGeom prst="rect">
            <a:avLst/>
          </a:prstGeom>
          <a:solidFill>
            <a:schemeClr val="bg1"/>
          </a:solidFill>
          <a:ln>
            <a:solidFill>
              <a:schemeClr val="accent1"/>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548640" rIns="91440" bIns="91440" numCol="1" spcCol="1270" anchor="t" anchorCtr="0">
            <a:noAutofit/>
          </a:bodyPr>
          <a:lstStyle/>
          <a:p>
            <a:pPr lvl="0" algn="ctr" defTabSz="711200">
              <a:lnSpc>
                <a:spcPct val="90000"/>
              </a:lnSpc>
              <a:spcBef>
                <a:spcPct val="0"/>
              </a:spcBef>
              <a:spcAft>
                <a:spcPct val="35000"/>
              </a:spcAft>
            </a:pPr>
            <a:endParaRPr lang="en-US" sz="1200" b="1" dirty="0">
              <a:solidFill>
                <a:schemeClr val="accent1"/>
              </a:solidFill>
            </a:endParaRPr>
          </a:p>
        </p:txBody>
      </p:sp>
      <p:cxnSp>
        <p:nvCxnSpPr>
          <p:cNvPr id="190" name="Straight Connector 189">
            <a:extLst>
              <a:ext uri="{FF2B5EF4-FFF2-40B4-BE49-F238E27FC236}">
                <a16:creationId xmlns:a16="http://schemas.microsoft.com/office/drawing/2014/main" id="{0F1AEF8E-62A6-425F-83EB-24BEFD4450BE}"/>
              </a:ext>
            </a:extLst>
          </p:cNvPr>
          <p:cNvCxnSpPr>
            <a:cxnSpLocks/>
          </p:cNvCxnSpPr>
          <p:nvPr userDrawn="1"/>
        </p:nvCxnSpPr>
        <p:spPr>
          <a:xfrm>
            <a:off x="8192524" y="5105141"/>
            <a:ext cx="213385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1" name="Text Placeholder 4">
            <a:extLst>
              <a:ext uri="{FF2B5EF4-FFF2-40B4-BE49-F238E27FC236}">
                <a16:creationId xmlns:a16="http://schemas.microsoft.com/office/drawing/2014/main" id="{4F27A295-4570-4024-9E36-1B6AA911DA7F}"/>
              </a:ext>
            </a:extLst>
          </p:cNvPr>
          <p:cNvSpPr>
            <a:spLocks noGrp="1"/>
          </p:cNvSpPr>
          <p:nvPr>
            <p:ph type="body" sz="quarter" idx="59" hasCustomPrompt="1"/>
          </p:nvPr>
        </p:nvSpPr>
        <p:spPr>
          <a:xfrm>
            <a:off x="8235497" y="5168666"/>
            <a:ext cx="2047912" cy="169277"/>
          </a:xfrm>
        </p:spPr>
        <p:txBody>
          <a:bodyPr/>
          <a:lstStyle>
            <a:lvl1pPr marL="0" indent="0" algn="ctr">
              <a:lnSpc>
                <a:spcPct val="100000"/>
              </a:lnSpc>
              <a:spcBef>
                <a:spcPts val="0"/>
              </a:spcBef>
              <a:spcAft>
                <a:spcPts val="600"/>
              </a:spcAft>
              <a:buNone/>
              <a:defRPr sz="1100">
                <a:solidFill>
                  <a:schemeClr val="tx1"/>
                </a:solidFill>
              </a:defRPr>
            </a:lvl1pPr>
          </a:lstStyle>
          <a:p>
            <a:pPr lvl="0"/>
            <a:r>
              <a:rPr lang="en-US"/>
              <a:t>Edit Master text styles</a:t>
            </a:r>
          </a:p>
        </p:txBody>
      </p:sp>
      <p:sp>
        <p:nvSpPr>
          <p:cNvPr id="192" name="Text Placeholder 4">
            <a:extLst>
              <a:ext uri="{FF2B5EF4-FFF2-40B4-BE49-F238E27FC236}">
                <a16:creationId xmlns:a16="http://schemas.microsoft.com/office/drawing/2014/main" id="{6908863D-25B2-4124-A82D-0640727E10D6}"/>
              </a:ext>
            </a:extLst>
          </p:cNvPr>
          <p:cNvSpPr>
            <a:spLocks noGrp="1"/>
          </p:cNvSpPr>
          <p:nvPr>
            <p:ph type="body" sz="quarter" idx="60" hasCustomPrompt="1"/>
          </p:nvPr>
        </p:nvSpPr>
        <p:spPr>
          <a:xfrm>
            <a:off x="8235497" y="4831630"/>
            <a:ext cx="2047912" cy="184666"/>
          </a:xfrm>
        </p:spPr>
        <p:txBody>
          <a:bodyPr wrap="square" anchor="b" anchorCtr="0">
            <a:spAutoFit/>
          </a:bodyPr>
          <a:lstStyle>
            <a:lvl1pPr marL="0" indent="0" algn="ctr">
              <a:lnSpc>
                <a:spcPct val="100000"/>
              </a:lnSpc>
              <a:buNone/>
              <a:defRPr sz="1200" b="1" cap="all" baseline="0">
                <a:solidFill>
                  <a:schemeClr val="accent1"/>
                </a:solidFill>
              </a:defRPr>
            </a:lvl1pPr>
          </a:lstStyle>
          <a:p>
            <a:pPr lvl="0"/>
            <a:r>
              <a:rPr lang="en-US"/>
              <a:t>Header</a:t>
            </a:r>
          </a:p>
        </p:txBody>
      </p:sp>
      <p:sp>
        <p:nvSpPr>
          <p:cNvPr id="193" name="Picture Placeholder 2">
            <a:extLst>
              <a:ext uri="{FF2B5EF4-FFF2-40B4-BE49-F238E27FC236}">
                <a16:creationId xmlns:a16="http://schemas.microsoft.com/office/drawing/2014/main" id="{ED5C57F4-55F8-4D48-B8E6-D30FFC24564D}"/>
              </a:ext>
            </a:extLst>
          </p:cNvPr>
          <p:cNvSpPr>
            <a:spLocks noGrp="1"/>
          </p:cNvSpPr>
          <p:nvPr>
            <p:ph type="pic" sz="quarter" idx="61" hasCustomPrompt="1"/>
          </p:nvPr>
        </p:nvSpPr>
        <p:spPr>
          <a:xfrm>
            <a:off x="9071149" y="4407723"/>
            <a:ext cx="376608" cy="376608"/>
          </a:xfrm>
          <a:prstGeom prst="ellipse">
            <a:avLst/>
          </a:prstGeom>
        </p:spPr>
        <p:txBody>
          <a:bodyPr anchor="ctr" anchorCtr="1">
            <a:noAutofit/>
          </a:bodyPr>
          <a:lstStyle>
            <a:lvl1pPr marL="0" indent="0">
              <a:buNone/>
              <a:defRPr sz="1100">
                <a:solidFill>
                  <a:schemeClr val="accent1"/>
                </a:solidFill>
              </a:defRPr>
            </a:lvl1pPr>
          </a:lstStyle>
          <a:p>
            <a:r>
              <a:rPr lang="en-US" dirty="0"/>
              <a:t>Icon</a:t>
            </a:r>
          </a:p>
        </p:txBody>
      </p:sp>
    </p:spTree>
    <p:extLst>
      <p:ext uri="{BB962C8B-B14F-4D97-AF65-F5344CB8AC3E}">
        <p14:creationId xmlns:p14="http://schemas.microsoft.com/office/powerpoint/2010/main" val="4075504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B48EDB-CBAC-47CF-B324-37BD3CD4F93E}"/>
              </a:ext>
            </a:extLst>
          </p:cNvPr>
          <p:cNvGraphicFramePr>
            <a:graphicFrameLocks noChangeAspect="1"/>
          </p:cNvGraphicFramePr>
          <p:nvPr userDrawn="1">
            <p:custDataLst>
              <p:tags r:id="rId1"/>
            </p:custDataLst>
            <p:extLst>
              <p:ext uri="{D42A27DB-BD31-4B8C-83A1-F6EECF244321}">
                <p14:modId xmlns:p14="http://schemas.microsoft.com/office/powerpoint/2010/main" val="184771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3EB48EDB-CBAC-47CF-B324-37BD3CD4F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12BC7-17F4-41AF-9E50-8D0EA96D6FF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Lato" panose="020F0502020204030203" pitchFamily="34" charset="0"/>
              <a:ea typeface="+mj-ea"/>
              <a:cs typeface="+mj-cs"/>
              <a:sym typeface="Lato" panose="020F0502020204030203" pitchFamily="34" charset="0"/>
            </a:endParaRPr>
          </a:p>
        </p:txBody>
      </p:sp>
      <p:sp>
        <p:nvSpPr>
          <p:cNvPr id="18" name="Slide Number Placeholder 5">
            <a:extLst>
              <a:ext uri="{FF2B5EF4-FFF2-40B4-BE49-F238E27FC236}">
                <a16:creationId xmlns:a16="http://schemas.microsoft.com/office/drawing/2014/main" id="{D2D4E172-9E33-4576-B0CB-1F515CA6F2CB}"/>
              </a:ext>
            </a:extLst>
          </p:cNvPr>
          <p:cNvSpPr txBox="1">
            <a:spLocks/>
          </p:cNvSpPr>
          <p:nvPr userDrawn="1"/>
        </p:nvSpPr>
        <p:spPr>
          <a:xfrm>
            <a:off x="211667" y="6583712"/>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EAEB50-A066-45AB-BA9F-ED56D3A46F93}" type="slidenum">
              <a:rPr lang="fr-FR" smtClean="0"/>
              <a:pPr/>
              <a:t>‹#›</a:t>
            </a:fld>
            <a:endParaRPr lang="fr-FR" dirty="0"/>
          </a:p>
        </p:txBody>
      </p:sp>
      <p:sp>
        <p:nvSpPr>
          <p:cNvPr id="21" name="Rectangle 20">
            <a:extLst>
              <a:ext uri="{FF2B5EF4-FFF2-40B4-BE49-F238E27FC236}">
                <a16:creationId xmlns:a16="http://schemas.microsoft.com/office/drawing/2014/main" id="{43F1C30C-A715-4FE3-831B-4E3C187AAB6C}"/>
              </a:ext>
            </a:extLst>
          </p:cNvPr>
          <p:cNvSpPr/>
          <p:nvPr userDrawn="1"/>
        </p:nvSpPr>
        <p:spPr>
          <a:xfrm>
            <a:off x="376500" y="3160665"/>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22" name="Rectangle 21">
            <a:extLst>
              <a:ext uri="{FF2B5EF4-FFF2-40B4-BE49-F238E27FC236}">
                <a16:creationId xmlns:a16="http://schemas.microsoft.com/office/drawing/2014/main" id="{4232AC17-7D32-4B79-8BBA-8B0637753073}"/>
              </a:ext>
            </a:extLst>
          </p:cNvPr>
          <p:cNvSpPr/>
          <p:nvPr userDrawn="1"/>
        </p:nvSpPr>
        <p:spPr>
          <a:xfrm>
            <a:off x="2776285" y="3160665"/>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23" name="Rectangle 22">
            <a:extLst>
              <a:ext uri="{FF2B5EF4-FFF2-40B4-BE49-F238E27FC236}">
                <a16:creationId xmlns:a16="http://schemas.microsoft.com/office/drawing/2014/main" id="{63C4A0FC-2A7B-42F4-A037-5DC6A3A45596}"/>
              </a:ext>
            </a:extLst>
          </p:cNvPr>
          <p:cNvSpPr/>
          <p:nvPr userDrawn="1"/>
        </p:nvSpPr>
        <p:spPr>
          <a:xfrm>
            <a:off x="5176070" y="3160665"/>
            <a:ext cx="2285728" cy="436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1200">
              <a:solidFill>
                <a:schemeClr val="bg1"/>
              </a:solidFill>
            </a:endParaRPr>
          </a:p>
        </p:txBody>
      </p:sp>
      <p:sp>
        <p:nvSpPr>
          <p:cNvPr id="2" name="Title 1">
            <a:extLst>
              <a:ext uri="{FF2B5EF4-FFF2-40B4-BE49-F238E27FC236}">
                <a16:creationId xmlns:a16="http://schemas.microsoft.com/office/drawing/2014/main" id="{83D8EB92-943C-4502-8FF6-1E35C10B266D}"/>
              </a:ext>
            </a:extLst>
          </p:cNvPr>
          <p:cNvSpPr>
            <a:spLocks noGrp="1"/>
          </p:cNvSpPr>
          <p:nvPr>
            <p:ph type="ctrTitle" hasCustomPrompt="1"/>
          </p:nvPr>
        </p:nvSpPr>
        <p:spPr>
          <a:xfrm>
            <a:off x="376501" y="697674"/>
            <a:ext cx="7015124" cy="1107996"/>
          </a:xfrm>
        </p:spPr>
        <p:txBody>
          <a:bodyPr wrap="square" lIns="0" tIns="0" rIns="0" bIns="0" anchor="t" anchorCtr="0">
            <a:spAutoFit/>
          </a:bodyPr>
          <a:lstStyle>
            <a:lvl1pPr algn="l">
              <a:lnSpc>
                <a:spcPct val="100000"/>
              </a:lnSpc>
              <a:defRPr sz="3600" b="1" cap="all" baseline="0">
                <a:solidFill>
                  <a:schemeClr val="accent3"/>
                </a:solidFill>
              </a:defRPr>
            </a:lvl1pPr>
          </a:lstStyle>
          <a:p>
            <a:r>
              <a:rPr lang="en-US"/>
              <a:t>CLICK TO EDIT MASTER </a:t>
            </a:r>
            <a:br>
              <a:rPr lang="en-US"/>
            </a:br>
            <a:r>
              <a:rPr lang="en-US"/>
              <a:t>TITLE STYLE</a:t>
            </a:r>
            <a:endParaRPr lang="fr-FR"/>
          </a:p>
        </p:txBody>
      </p:sp>
      <p:sp>
        <p:nvSpPr>
          <p:cNvPr id="36" name="Text Placeholder 35">
            <a:extLst>
              <a:ext uri="{FF2B5EF4-FFF2-40B4-BE49-F238E27FC236}">
                <a16:creationId xmlns:a16="http://schemas.microsoft.com/office/drawing/2014/main" id="{9703ABA2-BA7D-4729-8FE5-9227E20105E0}"/>
              </a:ext>
            </a:extLst>
          </p:cNvPr>
          <p:cNvSpPr>
            <a:spLocks noGrp="1"/>
          </p:cNvSpPr>
          <p:nvPr>
            <p:ph type="body" sz="quarter" idx="17"/>
          </p:nvPr>
        </p:nvSpPr>
        <p:spPr>
          <a:xfrm>
            <a:off x="487832" y="3296043"/>
            <a:ext cx="2063065" cy="166199"/>
          </a:xfrm>
        </p:spPr>
        <p:txBody>
          <a:bodyPr wrap="square" anchor="ctr"/>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37" name="Text Placeholder 35">
            <a:extLst>
              <a:ext uri="{FF2B5EF4-FFF2-40B4-BE49-F238E27FC236}">
                <a16:creationId xmlns:a16="http://schemas.microsoft.com/office/drawing/2014/main" id="{E510E1B9-EACE-4A2E-A028-E36D839AA56C}"/>
              </a:ext>
            </a:extLst>
          </p:cNvPr>
          <p:cNvSpPr>
            <a:spLocks noGrp="1"/>
          </p:cNvSpPr>
          <p:nvPr>
            <p:ph type="body" sz="quarter" idx="18"/>
          </p:nvPr>
        </p:nvSpPr>
        <p:spPr>
          <a:xfrm>
            <a:off x="2887617" y="3296043"/>
            <a:ext cx="2063065" cy="166199"/>
          </a:xfrm>
        </p:spPr>
        <p:txBody>
          <a:bodyPr wrap="square" anchor="ctr"/>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38" name="Text Placeholder 35">
            <a:extLst>
              <a:ext uri="{FF2B5EF4-FFF2-40B4-BE49-F238E27FC236}">
                <a16:creationId xmlns:a16="http://schemas.microsoft.com/office/drawing/2014/main" id="{8553568B-106F-4A81-94B6-904DB5E393ED}"/>
              </a:ext>
            </a:extLst>
          </p:cNvPr>
          <p:cNvSpPr>
            <a:spLocks noGrp="1"/>
          </p:cNvSpPr>
          <p:nvPr>
            <p:ph type="body" sz="quarter" idx="19"/>
          </p:nvPr>
        </p:nvSpPr>
        <p:spPr>
          <a:xfrm>
            <a:off x="5287402" y="3296043"/>
            <a:ext cx="2063065" cy="166199"/>
          </a:xfrm>
        </p:spPr>
        <p:txBody>
          <a:bodyPr wrap="square" anchor="ctr"/>
          <a:lstStyle>
            <a:lvl1pPr marL="0" indent="0" algn="ctr">
              <a:buNone/>
              <a:defRPr sz="1200">
                <a:solidFill>
                  <a:schemeClr val="bg1"/>
                </a:solidFill>
              </a:defRPr>
            </a:lvl1pPr>
            <a:lvl2pPr marL="241300" indent="0">
              <a:buNone/>
              <a:defRPr/>
            </a:lvl2pPr>
          </a:lstStyle>
          <a:p>
            <a:pPr lvl="0"/>
            <a:r>
              <a:rPr lang="en-US"/>
              <a:t>Click to edit Master text styles</a:t>
            </a:r>
          </a:p>
        </p:txBody>
      </p:sp>
      <p:sp>
        <p:nvSpPr>
          <p:cNvPr id="39" name="Text Placeholder 35">
            <a:extLst>
              <a:ext uri="{FF2B5EF4-FFF2-40B4-BE49-F238E27FC236}">
                <a16:creationId xmlns:a16="http://schemas.microsoft.com/office/drawing/2014/main" id="{491828B8-F676-48DC-B5A2-85AC942DA395}"/>
              </a:ext>
            </a:extLst>
          </p:cNvPr>
          <p:cNvSpPr>
            <a:spLocks noGrp="1"/>
          </p:cNvSpPr>
          <p:nvPr>
            <p:ph type="body" sz="quarter" idx="20"/>
          </p:nvPr>
        </p:nvSpPr>
        <p:spPr>
          <a:xfrm>
            <a:off x="376500" y="1908899"/>
            <a:ext cx="6996075" cy="184666"/>
          </a:xfrm>
        </p:spPr>
        <p:txBody>
          <a:bodyPr wrap="square" anchor="t">
            <a:spAutoFit/>
          </a:bodyPr>
          <a:lstStyle>
            <a:lvl1pPr marL="0" marR="0" indent="0"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lang="en-US" sz="1200" b="1" kern="1200" dirty="0" smtClean="0">
                <a:solidFill>
                  <a:schemeClr val="accent1"/>
                </a:solidFill>
                <a:latin typeface="+mn-lt"/>
                <a:ea typeface="+mn-ea"/>
                <a:cs typeface="+mn-cs"/>
              </a:defRPr>
            </a:lvl1pPr>
            <a:lvl2pPr marL="241300" indent="0">
              <a:buNone/>
              <a:defRPr/>
            </a:lvl2pPr>
          </a:lstStyle>
          <a:p>
            <a:pPr lvl="0"/>
            <a:r>
              <a:rPr lang="en-US"/>
              <a:t>Click to edit Master text styles</a:t>
            </a:r>
          </a:p>
        </p:txBody>
      </p:sp>
      <p:sp>
        <p:nvSpPr>
          <p:cNvPr id="44" name="Text Placeholder 43">
            <a:extLst>
              <a:ext uri="{FF2B5EF4-FFF2-40B4-BE49-F238E27FC236}">
                <a16:creationId xmlns:a16="http://schemas.microsoft.com/office/drawing/2014/main" id="{E4D6ADC0-4AE9-4CFF-B1B3-37DF6ACFE5BF}"/>
              </a:ext>
            </a:extLst>
          </p:cNvPr>
          <p:cNvSpPr>
            <a:spLocks noGrp="1"/>
          </p:cNvSpPr>
          <p:nvPr>
            <p:ph type="body" sz="quarter" idx="22"/>
          </p:nvPr>
        </p:nvSpPr>
        <p:spPr>
          <a:xfrm>
            <a:off x="395549" y="428450"/>
            <a:ext cx="6996075" cy="221599"/>
          </a:xfrm>
        </p:spPr>
        <p:txBody>
          <a:bodyPr anchor="t"/>
          <a:lstStyle>
            <a:lvl1pPr marL="0" indent="0">
              <a:buNone/>
              <a:defRPr sz="1600" cap="all" spc="300" baseline="0">
                <a:solidFill>
                  <a:schemeClr val="tx1"/>
                </a:solidFill>
              </a:defRPr>
            </a:lvl1pPr>
          </a:lstStyle>
          <a:p>
            <a:pPr lvl="0"/>
            <a:r>
              <a:rPr lang="en-US"/>
              <a:t>Click to edit Master text styles</a:t>
            </a:r>
          </a:p>
        </p:txBody>
      </p:sp>
      <p:sp>
        <p:nvSpPr>
          <p:cNvPr id="45" name="Text Placeholder 43">
            <a:extLst>
              <a:ext uri="{FF2B5EF4-FFF2-40B4-BE49-F238E27FC236}">
                <a16:creationId xmlns:a16="http://schemas.microsoft.com/office/drawing/2014/main" id="{53ECA5B7-F4F8-46E8-85F7-492D50C17439}"/>
              </a:ext>
            </a:extLst>
          </p:cNvPr>
          <p:cNvSpPr>
            <a:spLocks noGrp="1"/>
          </p:cNvSpPr>
          <p:nvPr>
            <p:ph type="body" sz="quarter" idx="23"/>
          </p:nvPr>
        </p:nvSpPr>
        <p:spPr>
          <a:xfrm>
            <a:off x="6793166" y="6219148"/>
            <a:ext cx="4741683" cy="145424"/>
          </a:xfrm>
        </p:spPr>
        <p:txBody>
          <a:bodyPr/>
          <a:lstStyle>
            <a:lvl1pPr marL="0" indent="0">
              <a:buNone/>
              <a:defRPr sz="1050">
                <a:solidFill>
                  <a:schemeClr val="tx1"/>
                </a:solidFill>
              </a:defRPr>
            </a:lvl1pPr>
          </a:lstStyle>
          <a:p>
            <a:pPr lvl="0"/>
            <a:r>
              <a:rPr lang="en-US"/>
              <a:t>Click to edit Master text styles</a:t>
            </a:r>
          </a:p>
        </p:txBody>
      </p:sp>
      <p:sp>
        <p:nvSpPr>
          <p:cNvPr id="47" name="Text Placeholder 35">
            <a:extLst>
              <a:ext uri="{FF2B5EF4-FFF2-40B4-BE49-F238E27FC236}">
                <a16:creationId xmlns:a16="http://schemas.microsoft.com/office/drawing/2014/main" id="{C4FC94C0-5629-43EC-9A12-59159F173D2E}"/>
              </a:ext>
            </a:extLst>
          </p:cNvPr>
          <p:cNvSpPr>
            <a:spLocks noGrp="1"/>
          </p:cNvSpPr>
          <p:nvPr>
            <p:ph type="body" sz="quarter" idx="24"/>
          </p:nvPr>
        </p:nvSpPr>
        <p:spPr>
          <a:xfrm>
            <a:off x="376499" y="2182884"/>
            <a:ext cx="6996075" cy="184666"/>
          </a:xfrm>
        </p:spPr>
        <p:txBody>
          <a:bodyPr wrap="square" anchor="t">
            <a:spAutoFit/>
          </a:bodyPr>
          <a:lstStyle>
            <a:lvl1pPr marL="171450" marR="0" indent="-17145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lang="en-US" sz="1200" b="0" kern="1200" dirty="0" smtClean="0">
                <a:solidFill>
                  <a:schemeClr val="tx1"/>
                </a:solidFill>
                <a:latin typeface="+mn-lt"/>
                <a:ea typeface="+mn-ea"/>
                <a:cs typeface="+mn-cs"/>
              </a:defRPr>
            </a:lvl1pPr>
            <a:lvl2pPr marL="241300" indent="0">
              <a:buNone/>
              <a:defRPr/>
            </a:lvl2pPr>
          </a:lstStyle>
          <a:p>
            <a:pPr lvl="0"/>
            <a:r>
              <a:rPr lang="en-US"/>
              <a:t>Click to edit Master text styles</a:t>
            </a:r>
          </a:p>
        </p:txBody>
      </p:sp>
      <p:pic>
        <p:nvPicPr>
          <p:cNvPr id="48" name="Picture 47">
            <a:extLst>
              <a:ext uri="{FF2B5EF4-FFF2-40B4-BE49-F238E27FC236}">
                <a16:creationId xmlns:a16="http://schemas.microsoft.com/office/drawing/2014/main" id="{B0DF2153-D70B-4742-A5AF-315FB744913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793166" y="5798095"/>
            <a:ext cx="2855304" cy="356910"/>
          </a:xfrm>
          <a:prstGeom prst="rect">
            <a:avLst/>
          </a:prstGeom>
        </p:spPr>
      </p:pic>
      <p:grpSp>
        <p:nvGrpSpPr>
          <p:cNvPr id="24" name="Group 23">
            <a:extLst>
              <a:ext uri="{FF2B5EF4-FFF2-40B4-BE49-F238E27FC236}">
                <a16:creationId xmlns:a16="http://schemas.microsoft.com/office/drawing/2014/main" id="{B0041B86-D8F3-431C-9D3E-50580642D359}"/>
              </a:ext>
            </a:extLst>
          </p:cNvPr>
          <p:cNvGrpSpPr/>
          <p:nvPr userDrawn="1"/>
        </p:nvGrpSpPr>
        <p:grpSpPr>
          <a:xfrm>
            <a:off x="7732321" y="-1"/>
            <a:ext cx="4459679" cy="6858001"/>
            <a:chOff x="7732321" y="-1"/>
            <a:chExt cx="4459679" cy="6858001"/>
          </a:xfrm>
        </p:grpSpPr>
        <p:sp>
          <p:nvSpPr>
            <p:cNvPr id="29" name="Freeform: Shape 28">
              <a:extLst>
                <a:ext uri="{FF2B5EF4-FFF2-40B4-BE49-F238E27FC236}">
                  <a16:creationId xmlns:a16="http://schemas.microsoft.com/office/drawing/2014/main" id="{7548D7D2-F247-48FB-AE3E-E8B0FA1F9C35}"/>
                </a:ext>
              </a:extLst>
            </p:cNvPr>
            <p:cNvSpPr/>
            <p:nvPr/>
          </p:nvSpPr>
          <p:spPr>
            <a:xfrm>
              <a:off x="9358938" y="0"/>
              <a:ext cx="2833062" cy="6858000"/>
            </a:xfrm>
            <a:custGeom>
              <a:avLst/>
              <a:gdLst>
                <a:gd name="connsiteX0" fmla="*/ 1710371 w 2833062"/>
                <a:gd name="connsiteY0" fmla="*/ 0 h 6858000"/>
                <a:gd name="connsiteX1" fmla="*/ 2833062 w 2833062"/>
                <a:gd name="connsiteY1" fmla="*/ 0 h 6858000"/>
                <a:gd name="connsiteX2" fmla="*/ 2833062 w 2833062"/>
                <a:gd name="connsiteY2" fmla="*/ 6858000 h 6858000"/>
                <a:gd name="connsiteX3" fmla="*/ 2654269 w 2833062"/>
                <a:gd name="connsiteY3" fmla="*/ 6858000 h 6858000"/>
                <a:gd name="connsiteX4" fmla="*/ 2189624 w 2833062"/>
                <a:gd name="connsiteY4" fmla="*/ 6146305 h 6858000"/>
                <a:gd name="connsiteX5" fmla="*/ 0 w 2833062"/>
                <a:gd name="connsiteY5" fmla="*/ 2619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062" h="6858000">
                  <a:moveTo>
                    <a:pt x="1710371" y="0"/>
                  </a:moveTo>
                  <a:lnTo>
                    <a:pt x="2833062" y="0"/>
                  </a:lnTo>
                  <a:lnTo>
                    <a:pt x="2833062" y="6858000"/>
                  </a:lnTo>
                  <a:lnTo>
                    <a:pt x="2654269" y="6858000"/>
                  </a:lnTo>
                  <a:lnTo>
                    <a:pt x="2189624" y="6146305"/>
                  </a:lnTo>
                  <a:lnTo>
                    <a:pt x="0" y="261977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Freeform: Shape 29">
              <a:extLst>
                <a:ext uri="{FF2B5EF4-FFF2-40B4-BE49-F238E27FC236}">
                  <a16:creationId xmlns:a16="http://schemas.microsoft.com/office/drawing/2014/main" id="{1574D6EF-0468-47A1-92ED-C99E8EDDC5A9}"/>
                </a:ext>
              </a:extLst>
            </p:cNvPr>
            <p:cNvSpPr/>
            <p:nvPr/>
          </p:nvSpPr>
          <p:spPr>
            <a:xfrm flipH="1" flipV="1">
              <a:off x="7732321"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31" name="Freeform: Shape 30">
            <a:extLst>
              <a:ext uri="{FF2B5EF4-FFF2-40B4-BE49-F238E27FC236}">
                <a16:creationId xmlns:a16="http://schemas.microsoft.com/office/drawing/2014/main" id="{2FB447B7-72EC-4A5A-81EB-137E5DA8EA77}"/>
              </a:ext>
            </a:extLst>
          </p:cNvPr>
          <p:cNvSpPr/>
          <p:nvPr userDrawn="1"/>
        </p:nvSpPr>
        <p:spPr>
          <a:xfrm flipH="1">
            <a:off x="1" y="3694069"/>
            <a:ext cx="1964485" cy="3163930"/>
          </a:xfrm>
          <a:custGeom>
            <a:avLst/>
            <a:gdLst>
              <a:gd name="connsiteX0" fmla="*/ 1964485 w 1964485"/>
              <a:gd name="connsiteY0" fmla="*/ 0 h 3163930"/>
              <a:gd name="connsiteX1" fmla="*/ 0 w 1964485"/>
              <a:gd name="connsiteY1" fmla="*/ 3163930 h 3163930"/>
              <a:gd name="connsiteX2" fmla="*/ 1964485 w 1964485"/>
              <a:gd name="connsiteY2" fmla="*/ 3163930 h 3163930"/>
            </a:gdLst>
            <a:ahLst/>
            <a:cxnLst>
              <a:cxn ang="0">
                <a:pos x="connsiteX0" y="connsiteY0"/>
              </a:cxn>
              <a:cxn ang="0">
                <a:pos x="connsiteX1" y="connsiteY1"/>
              </a:cxn>
              <a:cxn ang="0">
                <a:pos x="connsiteX2" y="connsiteY2"/>
              </a:cxn>
            </a:cxnLst>
            <a:rect l="l" t="t" r="r" b="b"/>
            <a:pathLst>
              <a:path w="1964485" h="3163930">
                <a:moveTo>
                  <a:pt x="1964485" y="0"/>
                </a:moveTo>
                <a:lnTo>
                  <a:pt x="0" y="3163930"/>
                </a:lnTo>
                <a:lnTo>
                  <a:pt x="1964485" y="316393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88121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81" name="Rectangle 80">
            <a:extLst>
              <a:ext uri="{FF2B5EF4-FFF2-40B4-BE49-F238E27FC236}">
                <a16:creationId xmlns:a16="http://schemas.microsoft.com/office/drawing/2014/main" id="{D790C279-D035-4414-A0F2-A30F19806814}"/>
              </a:ext>
            </a:extLst>
          </p:cNvPr>
          <p:cNvSpPr/>
          <p:nvPr userDrawn="1"/>
        </p:nvSpPr>
        <p:spPr>
          <a:xfrm>
            <a:off x="6292044" y="1298649"/>
            <a:ext cx="5553771" cy="47416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 Placeholder 4">
            <a:extLst>
              <a:ext uri="{FF2B5EF4-FFF2-40B4-BE49-F238E27FC236}">
                <a16:creationId xmlns:a16="http://schemas.microsoft.com/office/drawing/2014/main" id="{61E35A95-92CD-4477-B322-5CC1C791DE15}"/>
              </a:ext>
            </a:extLst>
          </p:cNvPr>
          <p:cNvSpPr>
            <a:spLocks noGrp="1"/>
          </p:cNvSpPr>
          <p:nvPr>
            <p:ph type="body" sz="quarter" idx="33" hasCustomPrompt="1"/>
          </p:nvPr>
        </p:nvSpPr>
        <p:spPr>
          <a:xfrm>
            <a:off x="6796970" y="1462025"/>
            <a:ext cx="4886881"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95" name="Text Placeholder 4">
            <a:extLst>
              <a:ext uri="{FF2B5EF4-FFF2-40B4-BE49-F238E27FC236}">
                <a16:creationId xmlns:a16="http://schemas.microsoft.com/office/drawing/2014/main" id="{8C624AB4-1CB7-4E6C-8E89-1ACBC2DDF044}"/>
              </a:ext>
            </a:extLst>
          </p:cNvPr>
          <p:cNvSpPr>
            <a:spLocks noGrp="1"/>
          </p:cNvSpPr>
          <p:nvPr>
            <p:ph type="body" sz="quarter" idx="34" hasCustomPrompt="1"/>
          </p:nvPr>
        </p:nvSpPr>
        <p:spPr>
          <a:xfrm>
            <a:off x="6796970" y="2656118"/>
            <a:ext cx="4886881"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127" name="Text Placeholder 4">
            <a:extLst>
              <a:ext uri="{FF2B5EF4-FFF2-40B4-BE49-F238E27FC236}">
                <a16:creationId xmlns:a16="http://schemas.microsoft.com/office/drawing/2014/main" id="{32C4E190-4958-4A01-9309-DB774441A9E5}"/>
              </a:ext>
            </a:extLst>
          </p:cNvPr>
          <p:cNvSpPr>
            <a:spLocks noGrp="1"/>
          </p:cNvSpPr>
          <p:nvPr>
            <p:ph type="body" sz="quarter" idx="35" hasCustomPrompt="1"/>
          </p:nvPr>
        </p:nvSpPr>
        <p:spPr>
          <a:xfrm>
            <a:off x="6796970" y="3443946"/>
            <a:ext cx="4886881"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131" name="Text Placeholder 4">
            <a:extLst>
              <a:ext uri="{FF2B5EF4-FFF2-40B4-BE49-F238E27FC236}">
                <a16:creationId xmlns:a16="http://schemas.microsoft.com/office/drawing/2014/main" id="{C4799668-EB5C-447E-828F-61ABF77D4AF5}"/>
              </a:ext>
            </a:extLst>
          </p:cNvPr>
          <p:cNvSpPr>
            <a:spLocks noGrp="1"/>
          </p:cNvSpPr>
          <p:nvPr>
            <p:ph type="body" sz="quarter" idx="36" hasCustomPrompt="1"/>
          </p:nvPr>
        </p:nvSpPr>
        <p:spPr>
          <a:xfrm>
            <a:off x="6796970" y="4231774"/>
            <a:ext cx="4886881"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133" name="Text Placeholder 4">
            <a:extLst>
              <a:ext uri="{FF2B5EF4-FFF2-40B4-BE49-F238E27FC236}">
                <a16:creationId xmlns:a16="http://schemas.microsoft.com/office/drawing/2014/main" id="{91CDDE98-380F-41AB-A32E-8D345D3568AA}"/>
              </a:ext>
            </a:extLst>
          </p:cNvPr>
          <p:cNvSpPr>
            <a:spLocks noGrp="1"/>
          </p:cNvSpPr>
          <p:nvPr>
            <p:ph type="body" sz="quarter" idx="37" hasCustomPrompt="1"/>
          </p:nvPr>
        </p:nvSpPr>
        <p:spPr>
          <a:xfrm>
            <a:off x="6796970" y="5019602"/>
            <a:ext cx="4886881"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135" name="Text Placeholder 4">
            <a:extLst>
              <a:ext uri="{FF2B5EF4-FFF2-40B4-BE49-F238E27FC236}">
                <a16:creationId xmlns:a16="http://schemas.microsoft.com/office/drawing/2014/main" id="{1E96955A-7630-4DB8-BD85-8EF030F2CAFB}"/>
              </a:ext>
            </a:extLst>
          </p:cNvPr>
          <p:cNvSpPr>
            <a:spLocks noGrp="1"/>
          </p:cNvSpPr>
          <p:nvPr>
            <p:ph type="body" sz="quarter" idx="38" hasCustomPrompt="1"/>
          </p:nvPr>
        </p:nvSpPr>
        <p:spPr>
          <a:xfrm>
            <a:off x="6398457" y="1462025"/>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1</a:t>
            </a:r>
          </a:p>
        </p:txBody>
      </p:sp>
      <p:sp>
        <p:nvSpPr>
          <p:cNvPr id="147" name="Rectangle 146">
            <a:extLst>
              <a:ext uri="{FF2B5EF4-FFF2-40B4-BE49-F238E27FC236}">
                <a16:creationId xmlns:a16="http://schemas.microsoft.com/office/drawing/2014/main" id="{12B14F92-9795-4A21-BA20-D9720BFAFCCF}"/>
              </a:ext>
            </a:extLst>
          </p:cNvPr>
          <p:cNvSpPr/>
          <p:nvPr userDrawn="1"/>
        </p:nvSpPr>
        <p:spPr>
          <a:xfrm>
            <a:off x="317435" y="1298649"/>
            <a:ext cx="5807313" cy="4741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Text Placeholder 4">
            <a:extLst>
              <a:ext uri="{FF2B5EF4-FFF2-40B4-BE49-F238E27FC236}">
                <a16:creationId xmlns:a16="http://schemas.microsoft.com/office/drawing/2014/main" id="{7C091076-B348-4303-9385-B28A80058A20}"/>
              </a:ext>
            </a:extLst>
          </p:cNvPr>
          <p:cNvSpPr>
            <a:spLocks noGrp="1"/>
          </p:cNvSpPr>
          <p:nvPr>
            <p:ph type="body" sz="quarter" idx="39" hasCustomPrompt="1"/>
          </p:nvPr>
        </p:nvSpPr>
        <p:spPr>
          <a:xfrm>
            <a:off x="6398457" y="2630143"/>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2</a:t>
            </a:r>
          </a:p>
        </p:txBody>
      </p:sp>
      <p:sp>
        <p:nvSpPr>
          <p:cNvPr id="178" name="Text Placeholder 4">
            <a:extLst>
              <a:ext uri="{FF2B5EF4-FFF2-40B4-BE49-F238E27FC236}">
                <a16:creationId xmlns:a16="http://schemas.microsoft.com/office/drawing/2014/main" id="{3AC69912-8AF5-41F9-B558-67DE0391B2D0}"/>
              </a:ext>
            </a:extLst>
          </p:cNvPr>
          <p:cNvSpPr>
            <a:spLocks noGrp="1"/>
          </p:cNvSpPr>
          <p:nvPr>
            <p:ph type="body" sz="quarter" idx="40" hasCustomPrompt="1"/>
          </p:nvPr>
        </p:nvSpPr>
        <p:spPr>
          <a:xfrm>
            <a:off x="6398457" y="3418543"/>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3</a:t>
            </a:r>
          </a:p>
        </p:txBody>
      </p:sp>
      <p:sp>
        <p:nvSpPr>
          <p:cNvPr id="179" name="Text Placeholder 4">
            <a:extLst>
              <a:ext uri="{FF2B5EF4-FFF2-40B4-BE49-F238E27FC236}">
                <a16:creationId xmlns:a16="http://schemas.microsoft.com/office/drawing/2014/main" id="{5CE6ADF2-05DC-4717-A5BA-EB498CE69FA5}"/>
              </a:ext>
            </a:extLst>
          </p:cNvPr>
          <p:cNvSpPr>
            <a:spLocks noGrp="1"/>
          </p:cNvSpPr>
          <p:nvPr>
            <p:ph type="body" sz="quarter" idx="41" hasCustomPrompt="1"/>
          </p:nvPr>
        </p:nvSpPr>
        <p:spPr>
          <a:xfrm>
            <a:off x="6398457" y="4206371"/>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4</a:t>
            </a:r>
          </a:p>
        </p:txBody>
      </p:sp>
      <p:sp>
        <p:nvSpPr>
          <p:cNvPr id="184" name="Text Placeholder 4">
            <a:extLst>
              <a:ext uri="{FF2B5EF4-FFF2-40B4-BE49-F238E27FC236}">
                <a16:creationId xmlns:a16="http://schemas.microsoft.com/office/drawing/2014/main" id="{E468199F-DA94-434A-A9ED-C657AA981E86}"/>
              </a:ext>
            </a:extLst>
          </p:cNvPr>
          <p:cNvSpPr>
            <a:spLocks noGrp="1"/>
          </p:cNvSpPr>
          <p:nvPr>
            <p:ph type="body" sz="quarter" idx="42" hasCustomPrompt="1"/>
          </p:nvPr>
        </p:nvSpPr>
        <p:spPr>
          <a:xfrm>
            <a:off x="6398457" y="4994199"/>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5</a:t>
            </a: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10193470"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23" name="Text Placeholder 4">
            <a:extLst>
              <a:ext uri="{FF2B5EF4-FFF2-40B4-BE49-F238E27FC236}">
                <a16:creationId xmlns:a16="http://schemas.microsoft.com/office/drawing/2014/main" id="{3C6F28C3-F8EA-4A54-9DF9-2748FD13F115}"/>
              </a:ext>
            </a:extLst>
          </p:cNvPr>
          <p:cNvSpPr>
            <a:spLocks noGrp="1"/>
          </p:cNvSpPr>
          <p:nvPr>
            <p:ph type="body" sz="quarter" idx="44" hasCustomPrompt="1"/>
          </p:nvPr>
        </p:nvSpPr>
        <p:spPr>
          <a:xfrm>
            <a:off x="419010" y="1467212"/>
            <a:ext cx="5604163"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99" y="2085975"/>
            <a:ext cx="5604073" cy="3727932"/>
          </a:xfrm>
        </p:spPr>
        <p:txBody>
          <a:bodyPr anchor="ctr">
            <a:noAutofit/>
          </a:bodyPr>
          <a:lstStyle>
            <a:lvl1pPr marL="0" indent="0" algn="ctr">
              <a:buNone/>
              <a:defRPr/>
            </a:lvl1pPr>
          </a:lstStyle>
          <a:p>
            <a:endParaRPr lang="en-US" dirty="0"/>
          </a:p>
        </p:txBody>
      </p:sp>
      <p:sp>
        <p:nvSpPr>
          <p:cNvPr id="25" name="Text Placeholder 4">
            <a:extLst>
              <a:ext uri="{FF2B5EF4-FFF2-40B4-BE49-F238E27FC236}">
                <a16:creationId xmlns:a16="http://schemas.microsoft.com/office/drawing/2014/main" id="{877615F3-0219-4201-AE87-6FD08DA98A54}"/>
              </a:ext>
            </a:extLst>
          </p:cNvPr>
          <p:cNvSpPr>
            <a:spLocks noGrp="1"/>
          </p:cNvSpPr>
          <p:nvPr>
            <p:ph type="body" sz="quarter" idx="46" hasCustomPrompt="1"/>
          </p:nvPr>
        </p:nvSpPr>
        <p:spPr>
          <a:xfrm>
            <a:off x="419010" y="1665138"/>
            <a:ext cx="5604163" cy="184666"/>
          </a:xfrm>
        </p:spPr>
        <p:txBody>
          <a:bodyPr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38627435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4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47" name="Rectangle 146">
            <a:extLst>
              <a:ext uri="{FF2B5EF4-FFF2-40B4-BE49-F238E27FC236}">
                <a16:creationId xmlns:a16="http://schemas.microsoft.com/office/drawing/2014/main" id="{12B14F92-9795-4A21-BA20-D9720BFAFCCF}"/>
              </a:ext>
            </a:extLst>
          </p:cNvPr>
          <p:cNvSpPr/>
          <p:nvPr userDrawn="1"/>
        </p:nvSpPr>
        <p:spPr>
          <a:xfrm>
            <a:off x="317435" y="1298649"/>
            <a:ext cx="5807313" cy="4741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10193470"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23" name="Text Placeholder 4">
            <a:extLst>
              <a:ext uri="{FF2B5EF4-FFF2-40B4-BE49-F238E27FC236}">
                <a16:creationId xmlns:a16="http://schemas.microsoft.com/office/drawing/2014/main" id="{3C6F28C3-F8EA-4A54-9DF9-2748FD13F115}"/>
              </a:ext>
            </a:extLst>
          </p:cNvPr>
          <p:cNvSpPr>
            <a:spLocks noGrp="1"/>
          </p:cNvSpPr>
          <p:nvPr>
            <p:ph type="body" sz="quarter" idx="44" hasCustomPrompt="1"/>
          </p:nvPr>
        </p:nvSpPr>
        <p:spPr>
          <a:xfrm>
            <a:off x="419010" y="1467212"/>
            <a:ext cx="5604163"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99" y="2085975"/>
            <a:ext cx="5604073" cy="3727932"/>
          </a:xfrm>
        </p:spPr>
        <p:txBody>
          <a:bodyPr anchor="ctr">
            <a:noAutofit/>
          </a:bodyPr>
          <a:lstStyle>
            <a:lvl1pPr marL="0" indent="0" algn="ctr">
              <a:buNone/>
              <a:defRPr/>
            </a:lvl1pPr>
          </a:lstStyle>
          <a:p>
            <a:endParaRPr lang="en-US" dirty="0"/>
          </a:p>
        </p:txBody>
      </p:sp>
      <p:sp>
        <p:nvSpPr>
          <p:cNvPr id="25" name="Text Placeholder 4">
            <a:extLst>
              <a:ext uri="{FF2B5EF4-FFF2-40B4-BE49-F238E27FC236}">
                <a16:creationId xmlns:a16="http://schemas.microsoft.com/office/drawing/2014/main" id="{877615F3-0219-4201-AE87-6FD08DA98A54}"/>
              </a:ext>
            </a:extLst>
          </p:cNvPr>
          <p:cNvSpPr>
            <a:spLocks noGrp="1"/>
          </p:cNvSpPr>
          <p:nvPr>
            <p:ph type="body" sz="quarter" idx="46" hasCustomPrompt="1"/>
          </p:nvPr>
        </p:nvSpPr>
        <p:spPr>
          <a:xfrm>
            <a:off x="419010" y="1665138"/>
            <a:ext cx="5604163" cy="184666"/>
          </a:xfrm>
        </p:spPr>
        <p:txBody>
          <a:bodyPr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 name="Rectangle 1">
            <a:extLst>
              <a:ext uri="{FF2B5EF4-FFF2-40B4-BE49-F238E27FC236}">
                <a16:creationId xmlns:a16="http://schemas.microsoft.com/office/drawing/2014/main" id="{57C22596-65E3-444F-A1D6-70E0F45D6E14}"/>
              </a:ext>
            </a:extLst>
          </p:cNvPr>
          <p:cNvSpPr/>
          <p:nvPr userDrawn="1"/>
        </p:nvSpPr>
        <p:spPr>
          <a:xfrm>
            <a:off x="6303146" y="1298649"/>
            <a:ext cx="5469755" cy="4741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025879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0775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1" name="Rectangle 30">
            <a:extLst>
              <a:ext uri="{FF2B5EF4-FFF2-40B4-BE49-F238E27FC236}">
                <a16:creationId xmlns:a16="http://schemas.microsoft.com/office/drawing/2014/main" id="{3A870D0C-58E0-4964-8440-F4DAD01D8BDB}"/>
              </a:ext>
            </a:extLst>
          </p:cNvPr>
          <p:cNvSpPr/>
          <p:nvPr userDrawn="1"/>
        </p:nvSpPr>
        <p:spPr>
          <a:xfrm>
            <a:off x="317435" y="1298649"/>
            <a:ext cx="5807313" cy="4741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5807313"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55" y="2085975"/>
            <a:ext cx="5604073" cy="3727932"/>
          </a:xfrm>
        </p:spPr>
        <p:txBody>
          <a:bodyPr anchor="ctr">
            <a:noAutofit/>
          </a:bodyPr>
          <a:lstStyle>
            <a:lvl1pPr marL="0" indent="0" algn="ctr">
              <a:buNone/>
              <a:defRPr/>
            </a:lvl1pPr>
          </a:lstStyle>
          <a:p>
            <a:endParaRPr lang="en-US" dirty="0"/>
          </a:p>
        </p:txBody>
      </p:sp>
      <p:sp>
        <p:nvSpPr>
          <p:cNvPr id="4" name="Content Placeholder 3">
            <a:extLst>
              <a:ext uri="{FF2B5EF4-FFF2-40B4-BE49-F238E27FC236}">
                <a16:creationId xmlns:a16="http://schemas.microsoft.com/office/drawing/2014/main" id="{96F85687-8ABA-4848-ABB7-D7557FD1C35D}"/>
              </a:ext>
            </a:extLst>
          </p:cNvPr>
          <p:cNvSpPr>
            <a:spLocks noGrp="1"/>
          </p:cNvSpPr>
          <p:nvPr>
            <p:ph sz="quarter" idx="46"/>
          </p:nvPr>
        </p:nvSpPr>
        <p:spPr>
          <a:xfrm>
            <a:off x="6498205" y="1962420"/>
            <a:ext cx="5177328"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4">
            <a:extLst>
              <a:ext uri="{FF2B5EF4-FFF2-40B4-BE49-F238E27FC236}">
                <a16:creationId xmlns:a16="http://schemas.microsoft.com/office/drawing/2014/main" id="{097814DA-A3F8-4437-94B7-D8DEC019BF94}"/>
              </a:ext>
            </a:extLst>
          </p:cNvPr>
          <p:cNvSpPr>
            <a:spLocks noGrp="1"/>
          </p:cNvSpPr>
          <p:nvPr>
            <p:ph type="body" sz="quarter" idx="47" hasCustomPrompt="1"/>
          </p:nvPr>
        </p:nvSpPr>
        <p:spPr>
          <a:xfrm>
            <a:off x="6377976" y="6153423"/>
            <a:ext cx="5417786"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19" name="Text Placeholder 3">
            <a:extLst>
              <a:ext uri="{FF2B5EF4-FFF2-40B4-BE49-F238E27FC236}">
                <a16:creationId xmlns:a16="http://schemas.microsoft.com/office/drawing/2014/main" id="{51723903-E165-47DF-BC73-D3E68D7A0F6F}"/>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0" name="Text Placeholder 4">
            <a:extLst>
              <a:ext uri="{FF2B5EF4-FFF2-40B4-BE49-F238E27FC236}">
                <a16:creationId xmlns:a16="http://schemas.microsoft.com/office/drawing/2014/main" id="{147D664E-5EC8-49BD-8679-7291F51E2134}"/>
              </a:ext>
            </a:extLst>
          </p:cNvPr>
          <p:cNvSpPr>
            <a:spLocks noGrp="1"/>
          </p:cNvSpPr>
          <p:nvPr>
            <p:ph type="body" sz="quarter" idx="44" hasCustomPrompt="1"/>
          </p:nvPr>
        </p:nvSpPr>
        <p:spPr>
          <a:xfrm>
            <a:off x="419010" y="1467212"/>
            <a:ext cx="5604163"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1" name="Text Placeholder 4">
            <a:extLst>
              <a:ext uri="{FF2B5EF4-FFF2-40B4-BE49-F238E27FC236}">
                <a16:creationId xmlns:a16="http://schemas.microsoft.com/office/drawing/2014/main" id="{5B74C0DD-6A16-4EDF-B3A8-5568AA91E070}"/>
              </a:ext>
            </a:extLst>
          </p:cNvPr>
          <p:cNvSpPr>
            <a:spLocks noGrp="1"/>
          </p:cNvSpPr>
          <p:nvPr>
            <p:ph type="body" sz="quarter" idx="48" hasCustomPrompt="1"/>
          </p:nvPr>
        </p:nvSpPr>
        <p:spPr>
          <a:xfrm>
            <a:off x="419010" y="1665138"/>
            <a:ext cx="5604163" cy="184666"/>
          </a:xfrm>
        </p:spPr>
        <p:txBody>
          <a:bodyPr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3" name="Text Placeholder 4">
            <a:extLst>
              <a:ext uri="{FF2B5EF4-FFF2-40B4-BE49-F238E27FC236}">
                <a16:creationId xmlns:a16="http://schemas.microsoft.com/office/drawing/2014/main" id="{4AFE0390-4AD8-42F7-AEDB-BF78F9014C4F}"/>
              </a:ext>
            </a:extLst>
          </p:cNvPr>
          <p:cNvSpPr>
            <a:spLocks noGrp="1"/>
          </p:cNvSpPr>
          <p:nvPr>
            <p:ph type="body" sz="quarter" idx="49" hasCustomPrompt="1"/>
          </p:nvPr>
        </p:nvSpPr>
        <p:spPr>
          <a:xfrm>
            <a:off x="6498205" y="1467212"/>
            <a:ext cx="5177328"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4" name="Text Placeholder 4">
            <a:extLst>
              <a:ext uri="{FF2B5EF4-FFF2-40B4-BE49-F238E27FC236}">
                <a16:creationId xmlns:a16="http://schemas.microsoft.com/office/drawing/2014/main" id="{5C7AB924-F196-4337-85D6-1789EAFC1DC5}"/>
              </a:ext>
            </a:extLst>
          </p:cNvPr>
          <p:cNvSpPr>
            <a:spLocks noGrp="1"/>
          </p:cNvSpPr>
          <p:nvPr>
            <p:ph type="body" sz="quarter" idx="50" hasCustomPrompt="1"/>
          </p:nvPr>
        </p:nvSpPr>
        <p:spPr>
          <a:xfrm>
            <a:off x="6498205" y="1665138"/>
            <a:ext cx="5177328"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2" name="Rectangle 21">
            <a:extLst>
              <a:ext uri="{FF2B5EF4-FFF2-40B4-BE49-F238E27FC236}">
                <a16:creationId xmlns:a16="http://schemas.microsoft.com/office/drawing/2014/main" id="{8C31F6C1-6509-4538-9670-03D98CF031E3}"/>
              </a:ext>
            </a:extLst>
          </p:cNvPr>
          <p:cNvSpPr/>
          <p:nvPr userDrawn="1"/>
        </p:nvSpPr>
        <p:spPr>
          <a:xfrm>
            <a:off x="6223518" y="1306286"/>
            <a:ext cx="5618246" cy="47399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38990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7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18099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1" name="Rectangle 30">
            <a:extLst>
              <a:ext uri="{FF2B5EF4-FFF2-40B4-BE49-F238E27FC236}">
                <a16:creationId xmlns:a16="http://schemas.microsoft.com/office/drawing/2014/main" id="{3A870D0C-58E0-4964-8440-F4DAD01D8BDB}"/>
              </a:ext>
            </a:extLst>
          </p:cNvPr>
          <p:cNvSpPr/>
          <p:nvPr userDrawn="1"/>
        </p:nvSpPr>
        <p:spPr>
          <a:xfrm>
            <a:off x="317436" y="1298649"/>
            <a:ext cx="3683064" cy="4741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 name="Rectangle 28">
            <a:extLst>
              <a:ext uri="{FF2B5EF4-FFF2-40B4-BE49-F238E27FC236}">
                <a16:creationId xmlns:a16="http://schemas.microsoft.com/office/drawing/2014/main" id="{209032FD-DCE5-4626-A247-A9837B362088}"/>
              </a:ext>
            </a:extLst>
          </p:cNvPr>
          <p:cNvSpPr/>
          <p:nvPr userDrawn="1"/>
        </p:nvSpPr>
        <p:spPr>
          <a:xfrm>
            <a:off x="4229100" y="1298649"/>
            <a:ext cx="7566662" cy="47416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6" y="6153423"/>
            <a:ext cx="3683064"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55" y="2085975"/>
            <a:ext cx="3429045" cy="3727932"/>
          </a:xfrm>
        </p:spPr>
        <p:txBody>
          <a:bodyPr anchor="ctr">
            <a:noAutofit/>
          </a:bodyPr>
          <a:lstStyle>
            <a:lvl1pPr marL="0" indent="0" algn="ctr">
              <a:buNone/>
              <a:defRPr/>
            </a:lvl1pPr>
          </a:lstStyle>
          <a:p>
            <a:endParaRPr lang="en-US" dirty="0"/>
          </a:p>
        </p:txBody>
      </p:sp>
      <p:sp>
        <p:nvSpPr>
          <p:cNvPr id="4" name="Content Placeholder 3">
            <a:extLst>
              <a:ext uri="{FF2B5EF4-FFF2-40B4-BE49-F238E27FC236}">
                <a16:creationId xmlns:a16="http://schemas.microsoft.com/office/drawing/2014/main" id="{96F85687-8ABA-4848-ABB7-D7557FD1C35D}"/>
              </a:ext>
            </a:extLst>
          </p:cNvPr>
          <p:cNvSpPr>
            <a:spLocks noGrp="1"/>
          </p:cNvSpPr>
          <p:nvPr>
            <p:ph sz="quarter" idx="46"/>
          </p:nvPr>
        </p:nvSpPr>
        <p:spPr>
          <a:xfrm>
            <a:off x="4356100" y="1962420"/>
            <a:ext cx="7319433"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4">
            <a:extLst>
              <a:ext uri="{FF2B5EF4-FFF2-40B4-BE49-F238E27FC236}">
                <a16:creationId xmlns:a16="http://schemas.microsoft.com/office/drawing/2014/main" id="{097814DA-A3F8-4437-94B7-D8DEC019BF94}"/>
              </a:ext>
            </a:extLst>
          </p:cNvPr>
          <p:cNvSpPr>
            <a:spLocks noGrp="1"/>
          </p:cNvSpPr>
          <p:nvPr>
            <p:ph type="body" sz="quarter" idx="47" hasCustomPrompt="1"/>
          </p:nvPr>
        </p:nvSpPr>
        <p:spPr>
          <a:xfrm>
            <a:off x="6377976" y="6153423"/>
            <a:ext cx="5417786"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19" name="Text Placeholder 3">
            <a:extLst>
              <a:ext uri="{FF2B5EF4-FFF2-40B4-BE49-F238E27FC236}">
                <a16:creationId xmlns:a16="http://schemas.microsoft.com/office/drawing/2014/main" id="{51723903-E165-47DF-BC73-D3E68D7A0F6F}"/>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0" name="Text Placeholder 4">
            <a:extLst>
              <a:ext uri="{FF2B5EF4-FFF2-40B4-BE49-F238E27FC236}">
                <a16:creationId xmlns:a16="http://schemas.microsoft.com/office/drawing/2014/main" id="{147D664E-5EC8-49BD-8679-7291F51E2134}"/>
              </a:ext>
            </a:extLst>
          </p:cNvPr>
          <p:cNvSpPr>
            <a:spLocks noGrp="1"/>
          </p:cNvSpPr>
          <p:nvPr>
            <p:ph type="body" sz="quarter" idx="44" hasCustomPrompt="1"/>
          </p:nvPr>
        </p:nvSpPr>
        <p:spPr>
          <a:xfrm>
            <a:off x="419011" y="1467212"/>
            <a:ext cx="3429100"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1" name="Text Placeholder 4">
            <a:extLst>
              <a:ext uri="{FF2B5EF4-FFF2-40B4-BE49-F238E27FC236}">
                <a16:creationId xmlns:a16="http://schemas.microsoft.com/office/drawing/2014/main" id="{5B74C0DD-6A16-4EDF-B3A8-5568AA91E070}"/>
              </a:ext>
            </a:extLst>
          </p:cNvPr>
          <p:cNvSpPr>
            <a:spLocks noGrp="1"/>
          </p:cNvSpPr>
          <p:nvPr>
            <p:ph type="body" sz="quarter" idx="48" hasCustomPrompt="1"/>
          </p:nvPr>
        </p:nvSpPr>
        <p:spPr>
          <a:xfrm>
            <a:off x="419011" y="1665138"/>
            <a:ext cx="3429100"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3" name="Text Placeholder 4">
            <a:extLst>
              <a:ext uri="{FF2B5EF4-FFF2-40B4-BE49-F238E27FC236}">
                <a16:creationId xmlns:a16="http://schemas.microsoft.com/office/drawing/2014/main" id="{4AFE0390-4AD8-42F7-AEDB-BF78F9014C4F}"/>
              </a:ext>
            </a:extLst>
          </p:cNvPr>
          <p:cNvSpPr>
            <a:spLocks noGrp="1"/>
          </p:cNvSpPr>
          <p:nvPr>
            <p:ph type="body" sz="quarter" idx="49" hasCustomPrompt="1"/>
          </p:nvPr>
        </p:nvSpPr>
        <p:spPr>
          <a:xfrm>
            <a:off x="4356100" y="1467212"/>
            <a:ext cx="7319433"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4" name="Text Placeholder 4">
            <a:extLst>
              <a:ext uri="{FF2B5EF4-FFF2-40B4-BE49-F238E27FC236}">
                <a16:creationId xmlns:a16="http://schemas.microsoft.com/office/drawing/2014/main" id="{5C7AB924-F196-4337-85D6-1789EAFC1DC5}"/>
              </a:ext>
            </a:extLst>
          </p:cNvPr>
          <p:cNvSpPr>
            <a:spLocks noGrp="1"/>
          </p:cNvSpPr>
          <p:nvPr>
            <p:ph type="body" sz="quarter" idx="50" hasCustomPrompt="1"/>
          </p:nvPr>
        </p:nvSpPr>
        <p:spPr>
          <a:xfrm>
            <a:off x="4356100" y="1665138"/>
            <a:ext cx="7319433"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774778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27899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0" name="Rectangle 19">
            <a:extLst>
              <a:ext uri="{FF2B5EF4-FFF2-40B4-BE49-F238E27FC236}">
                <a16:creationId xmlns:a16="http://schemas.microsoft.com/office/drawing/2014/main" id="{884C9915-25AF-444E-BB59-EF5C99B4A130}"/>
              </a:ext>
            </a:extLst>
          </p:cNvPr>
          <p:cNvSpPr/>
          <p:nvPr userDrawn="1"/>
        </p:nvSpPr>
        <p:spPr>
          <a:xfrm>
            <a:off x="317435" y="3718562"/>
            <a:ext cx="5807313" cy="2321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8011597-0727-44C9-A0AF-E03BC39E181F}"/>
              </a:ext>
            </a:extLst>
          </p:cNvPr>
          <p:cNvSpPr/>
          <p:nvPr userDrawn="1"/>
        </p:nvSpPr>
        <p:spPr>
          <a:xfrm>
            <a:off x="317435" y="1298650"/>
            <a:ext cx="5807313" cy="2321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5807313"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55" y="2085975"/>
            <a:ext cx="5604073" cy="1364268"/>
          </a:xfrm>
        </p:spPr>
        <p:txBody>
          <a:bodyPr anchor="ctr">
            <a:noAutofit/>
          </a:bodyPr>
          <a:lstStyle>
            <a:lvl1pPr marL="0" indent="0" algn="ctr">
              <a:buNone/>
              <a:defRPr/>
            </a:lvl1pPr>
          </a:lstStyle>
          <a:p>
            <a:endParaRPr lang="en-US" dirty="0"/>
          </a:p>
        </p:txBody>
      </p:sp>
      <p:sp>
        <p:nvSpPr>
          <p:cNvPr id="21" name="Chart Placeholder 2">
            <a:extLst>
              <a:ext uri="{FF2B5EF4-FFF2-40B4-BE49-F238E27FC236}">
                <a16:creationId xmlns:a16="http://schemas.microsoft.com/office/drawing/2014/main" id="{AF296874-FAE1-400E-BFD6-A1BD6EE52861}"/>
              </a:ext>
            </a:extLst>
          </p:cNvPr>
          <p:cNvSpPr>
            <a:spLocks noGrp="1"/>
          </p:cNvSpPr>
          <p:nvPr>
            <p:ph type="chart" sz="quarter" idx="48"/>
          </p:nvPr>
        </p:nvSpPr>
        <p:spPr>
          <a:xfrm>
            <a:off x="419055" y="4521301"/>
            <a:ext cx="5604073" cy="1364268"/>
          </a:xfrm>
        </p:spPr>
        <p:txBody>
          <a:bodyPr anchor="ctr">
            <a:noAutofit/>
          </a:bodyPr>
          <a:lstStyle>
            <a:lvl1pPr marL="0" indent="0" algn="ctr">
              <a:buNone/>
              <a:defRPr/>
            </a:lvl1pPr>
          </a:lstStyle>
          <a:p>
            <a:endParaRPr lang="en-US" dirty="0"/>
          </a:p>
        </p:txBody>
      </p:sp>
      <p:sp>
        <p:nvSpPr>
          <p:cNvPr id="24" name="Rectangle 23">
            <a:extLst>
              <a:ext uri="{FF2B5EF4-FFF2-40B4-BE49-F238E27FC236}">
                <a16:creationId xmlns:a16="http://schemas.microsoft.com/office/drawing/2014/main" id="{C7651FDC-66C2-4533-8B29-A7A16CA0CC5C}"/>
              </a:ext>
            </a:extLst>
          </p:cNvPr>
          <p:cNvSpPr/>
          <p:nvPr userDrawn="1"/>
        </p:nvSpPr>
        <p:spPr>
          <a:xfrm>
            <a:off x="6292044" y="1298649"/>
            <a:ext cx="5553771" cy="47416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4">
            <a:extLst>
              <a:ext uri="{FF2B5EF4-FFF2-40B4-BE49-F238E27FC236}">
                <a16:creationId xmlns:a16="http://schemas.microsoft.com/office/drawing/2014/main" id="{256631C4-D82D-4DF1-A108-BA9ABECC9117}"/>
              </a:ext>
            </a:extLst>
          </p:cNvPr>
          <p:cNvSpPr>
            <a:spLocks noGrp="1"/>
          </p:cNvSpPr>
          <p:nvPr>
            <p:ph type="body" sz="quarter" idx="33" hasCustomPrompt="1"/>
          </p:nvPr>
        </p:nvSpPr>
        <p:spPr>
          <a:xfrm>
            <a:off x="6796970" y="1462025"/>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26" name="Text Placeholder 4">
            <a:extLst>
              <a:ext uri="{FF2B5EF4-FFF2-40B4-BE49-F238E27FC236}">
                <a16:creationId xmlns:a16="http://schemas.microsoft.com/office/drawing/2014/main" id="{5DA30DC8-9213-4E60-930E-8968F640C70E}"/>
              </a:ext>
            </a:extLst>
          </p:cNvPr>
          <p:cNvSpPr>
            <a:spLocks noGrp="1"/>
          </p:cNvSpPr>
          <p:nvPr>
            <p:ph type="body" sz="quarter" idx="34" hasCustomPrompt="1"/>
          </p:nvPr>
        </p:nvSpPr>
        <p:spPr>
          <a:xfrm>
            <a:off x="6796970" y="2656118"/>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28" name="Text Placeholder 4">
            <a:extLst>
              <a:ext uri="{FF2B5EF4-FFF2-40B4-BE49-F238E27FC236}">
                <a16:creationId xmlns:a16="http://schemas.microsoft.com/office/drawing/2014/main" id="{5EA113C2-728E-4320-AD1B-A394AEF4318D}"/>
              </a:ext>
            </a:extLst>
          </p:cNvPr>
          <p:cNvSpPr>
            <a:spLocks noGrp="1"/>
          </p:cNvSpPr>
          <p:nvPr>
            <p:ph type="body" sz="quarter" idx="35" hasCustomPrompt="1"/>
          </p:nvPr>
        </p:nvSpPr>
        <p:spPr>
          <a:xfrm>
            <a:off x="6796970" y="3443946"/>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0" name="Text Placeholder 4">
            <a:extLst>
              <a:ext uri="{FF2B5EF4-FFF2-40B4-BE49-F238E27FC236}">
                <a16:creationId xmlns:a16="http://schemas.microsoft.com/office/drawing/2014/main" id="{4A9160F8-751C-438D-AD9B-3DBAF289C369}"/>
              </a:ext>
            </a:extLst>
          </p:cNvPr>
          <p:cNvSpPr>
            <a:spLocks noGrp="1"/>
          </p:cNvSpPr>
          <p:nvPr>
            <p:ph type="body" sz="quarter" idx="36" hasCustomPrompt="1"/>
          </p:nvPr>
        </p:nvSpPr>
        <p:spPr>
          <a:xfrm>
            <a:off x="6796970" y="4231774"/>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3" name="Text Placeholder 4">
            <a:extLst>
              <a:ext uri="{FF2B5EF4-FFF2-40B4-BE49-F238E27FC236}">
                <a16:creationId xmlns:a16="http://schemas.microsoft.com/office/drawing/2014/main" id="{6C94766F-5005-4B14-874D-F9E1DE61D41C}"/>
              </a:ext>
            </a:extLst>
          </p:cNvPr>
          <p:cNvSpPr>
            <a:spLocks noGrp="1"/>
          </p:cNvSpPr>
          <p:nvPr>
            <p:ph type="body" sz="quarter" idx="37" hasCustomPrompt="1"/>
          </p:nvPr>
        </p:nvSpPr>
        <p:spPr>
          <a:xfrm>
            <a:off x="6796970" y="5019602"/>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4" name="Text Placeholder 4">
            <a:extLst>
              <a:ext uri="{FF2B5EF4-FFF2-40B4-BE49-F238E27FC236}">
                <a16:creationId xmlns:a16="http://schemas.microsoft.com/office/drawing/2014/main" id="{31FB55DC-FE2B-414B-A006-2AB125DD6AD6}"/>
              </a:ext>
            </a:extLst>
          </p:cNvPr>
          <p:cNvSpPr>
            <a:spLocks noGrp="1"/>
          </p:cNvSpPr>
          <p:nvPr>
            <p:ph type="body" sz="quarter" idx="38" hasCustomPrompt="1"/>
          </p:nvPr>
        </p:nvSpPr>
        <p:spPr>
          <a:xfrm>
            <a:off x="6398457" y="1462025"/>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1</a:t>
            </a:r>
          </a:p>
        </p:txBody>
      </p:sp>
      <p:sp>
        <p:nvSpPr>
          <p:cNvPr id="35" name="Text Placeholder 4">
            <a:extLst>
              <a:ext uri="{FF2B5EF4-FFF2-40B4-BE49-F238E27FC236}">
                <a16:creationId xmlns:a16="http://schemas.microsoft.com/office/drawing/2014/main" id="{CD7B14FA-BDE7-4D8A-AFB8-7A6D1BC73A1D}"/>
              </a:ext>
            </a:extLst>
          </p:cNvPr>
          <p:cNvSpPr>
            <a:spLocks noGrp="1"/>
          </p:cNvSpPr>
          <p:nvPr>
            <p:ph type="body" sz="quarter" idx="39" hasCustomPrompt="1"/>
          </p:nvPr>
        </p:nvSpPr>
        <p:spPr>
          <a:xfrm>
            <a:off x="6398457" y="2630143"/>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2</a:t>
            </a:r>
          </a:p>
        </p:txBody>
      </p:sp>
      <p:sp>
        <p:nvSpPr>
          <p:cNvPr id="36" name="Text Placeholder 4">
            <a:extLst>
              <a:ext uri="{FF2B5EF4-FFF2-40B4-BE49-F238E27FC236}">
                <a16:creationId xmlns:a16="http://schemas.microsoft.com/office/drawing/2014/main" id="{E5A775CC-89E6-4DCB-B3DD-32190C2F9A75}"/>
              </a:ext>
            </a:extLst>
          </p:cNvPr>
          <p:cNvSpPr>
            <a:spLocks noGrp="1"/>
          </p:cNvSpPr>
          <p:nvPr>
            <p:ph type="body" sz="quarter" idx="40" hasCustomPrompt="1"/>
          </p:nvPr>
        </p:nvSpPr>
        <p:spPr>
          <a:xfrm>
            <a:off x="6398457" y="3418543"/>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3</a:t>
            </a:r>
          </a:p>
        </p:txBody>
      </p:sp>
      <p:sp>
        <p:nvSpPr>
          <p:cNvPr id="37" name="Text Placeholder 4">
            <a:extLst>
              <a:ext uri="{FF2B5EF4-FFF2-40B4-BE49-F238E27FC236}">
                <a16:creationId xmlns:a16="http://schemas.microsoft.com/office/drawing/2014/main" id="{47245AB8-E92F-4E76-BD2D-BC88A8D7271D}"/>
              </a:ext>
            </a:extLst>
          </p:cNvPr>
          <p:cNvSpPr>
            <a:spLocks noGrp="1"/>
          </p:cNvSpPr>
          <p:nvPr>
            <p:ph type="body" sz="quarter" idx="41" hasCustomPrompt="1"/>
          </p:nvPr>
        </p:nvSpPr>
        <p:spPr>
          <a:xfrm>
            <a:off x="6398457" y="4206371"/>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4</a:t>
            </a:r>
          </a:p>
        </p:txBody>
      </p:sp>
      <p:sp>
        <p:nvSpPr>
          <p:cNvPr id="38" name="Text Placeholder 4">
            <a:extLst>
              <a:ext uri="{FF2B5EF4-FFF2-40B4-BE49-F238E27FC236}">
                <a16:creationId xmlns:a16="http://schemas.microsoft.com/office/drawing/2014/main" id="{96B68277-D9D4-452F-9B66-20F5A8E7D5C8}"/>
              </a:ext>
            </a:extLst>
          </p:cNvPr>
          <p:cNvSpPr>
            <a:spLocks noGrp="1"/>
          </p:cNvSpPr>
          <p:nvPr>
            <p:ph type="body" sz="quarter" idx="42" hasCustomPrompt="1"/>
          </p:nvPr>
        </p:nvSpPr>
        <p:spPr>
          <a:xfrm>
            <a:off x="6398457" y="4994199"/>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5</a:t>
            </a:r>
          </a:p>
        </p:txBody>
      </p:sp>
      <p:sp>
        <p:nvSpPr>
          <p:cNvPr id="31" name="Text Placeholder 4">
            <a:extLst>
              <a:ext uri="{FF2B5EF4-FFF2-40B4-BE49-F238E27FC236}">
                <a16:creationId xmlns:a16="http://schemas.microsoft.com/office/drawing/2014/main" id="{A492219C-4812-4088-A6DE-72893CE0086E}"/>
              </a:ext>
            </a:extLst>
          </p:cNvPr>
          <p:cNvSpPr>
            <a:spLocks noGrp="1"/>
          </p:cNvSpPr>
          <p:nvPr>
            <p:ph type="body" sz="quarter" idx="44" hasCustomPrompt="1"/>
          </p:nvPr>
        </p:nvSpPr>
        <p:spPr>
          <a:xfrm>
            <a:off x="419010" y="1431173"/>
            <a:ext cx="5604163"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32" name="Text Placeholder 4">
            <a:extLst>
              <a:ext uri="{FF2B5EF4-FFF2-40B4-BE49-F238E27FC236}">
                <a16:creationId xmlns:a16="http://schemas.microsoft.com/office/drawing/2014/main" id="{6569AB91-6D16-433B-8FD0-51CF8FE95B7A}"/>
              </a:ext>
            </a:extLst>
          </p:cNvPr>
          <p:cNvSpPr>
            <a:spLocks noGrp="1"/>
          </p:cNvSpPr>
          <p:nvPr>
            <p:ph type="body" sz="quarter" idx="50" hasCustomPrompt="1"/>
          </p:nvPr>
        </p:nvSpPr>
        <p:spPr>
          <a:xfrm>
            <a:off x="419010" y="1629099"/>
            <a:ext cx="5604163" cy="184666"/>
          </a:xfrm>
        </p:spPr>
        <p:txBody>
          <a:bodyPr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40" name="Text Placeholder 4">
            <a:extLst>
              <a:ext uri="{FF2B5EF4-FFF2-40B4-BE49-F238E27FC236}">
                <a16:creationId xmlns:a16="http://schemas.microsoft.com/office/drawing/2014/main" id="{72EFB87D-6929-4A86-ABE6-2C3F81C3FD67}"/>
              </a:ext>
            </a:extLst>
          </p:cNvPr>
          <p:cNvSpPr>
            <a:spLocks noGrp="1"/>
          </p:cNvSpPr>
          <p:nvPr>
            <p:ph type="body" sz="quarter" idx="51" hasCustomPrompt="1"/>
          </p:nvPr>
        </p:nvSpPr>
        <p:spPr>
          <a:xfrm>
            <a:off x="419010" y="3852402"/>
            <a:ext cx="5604163" cy="184666"/>
          </a:xfrm>
        </p:spPr>
        <p:txBody>
          <a:bodyPr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41" name="Text Placeholder 4">
            <a:extLst>
              <a:ext uri="{FF2B5EF4-FFF2-40B4-BE49-F238E27FC236}">
                <a16:creationId xmlns:a16="http://schemas.microsoft.com/office/drawing/2014/main" id="{40056872-8203-4FEC-A828-9B0AA6472B4F}"/>
              </a:ext>
            </a:extLst>
          </p:cNvPr>
          <p:cNvSpPr>
            <a:spLocks noGrp="1"/>
          </p:cNvSpPr>
          <p:nvPr>
            <p:ph type="body" sz="quarter" idx="52" hasCustomPrompt="1"/>
          </p:nvPr>
        </p:nvSpPr>
        <p:spPr>
          <a:xfrm>
            <a:off x="419010" y="4050328"/>
            <a:ext cx="5604163" cy="184666"/>
          </a:xfrm>
        </p:spPr>
        <p:txBody>
          <a:bodyPr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15910665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065762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6" name="Rectangle 45">
            <a:extLst>
              <a:ext uri="{FF2B5EF4-FFF2-40B4-BE49-F238E27FC236}">
                <a16:creationId xmlns:a16="http://schemas.microsoft.com/office/drawing/2014/main" id="{BAE63D89-A718-4D7E-837B-0E75069FE91B}"/>
              </a:ext>
            </a:extLst>
          </p:cNvPr>
          <p:cNvSpPr/>
          <p:nvPr userDrawn="1"/>
        </p:nvSpPr>
        <p:spPr>
          <a:xfrm>
            <a:off x="6292044" y="1144392"/>
            <a:ext cx="5553771" cy="495191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192AD434-4DB7-448A-91F6-4664F87772AF}"/>
              </a:ext>
            </a:extLst>
          </p:cNvPr>
          <p:cNvSpPr/>
          <p:nvPr userDrawn="1"/>
        </p:nvSpPr>
        <p:spPr>
          <a:xfrm>
            <a:off x="317435" y="1144393"/>
            <a:ext cx="5807313" cy="16104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722A01F5-EFAD-4659-BF3E-C1499D5AE6CE}"/>
              </a:ext>
            </a:extLst>
          </p:cNvPr>
          <p:cNvSpPr/>
          <p:nvPr userDrawn="1"/>
        </p:nvSpPr>
        <p:spPr>
          <a:xfrm>
            <a:off x="317435" y="2815144"/>
            <a:ext cx="5807313" cy="16104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DE1C20C8-81C5-4DC1-8758-8440F8C3A5CF}"/>
              </a:ext>
            </a:extLst>
          </p:cNvPr>
          <p:cNvSpPr/>
          <p:nvPr userDrawn="1"/>
        </p:nvSpPr>
        <p:spPr>
          <a:xfrm>
            <a:off x="317435" y="4485895"/>
            <a:ext cx="5807313" cy="16104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5807313"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3" name="Chart Placeholder 2">
            <a:extLst>
              <a:ext uri="{FF2B5EF4-FFF2-40B4-BE49-F238E27FC236}">
                <a16:creationId xmlns:a16="http://schemas.microsoft.com/office/drawing/2014/main" id="{B4A22BDC-008A-495F-9465-BD92BA64F00C}"/>
              </a:ext>
            </a:extLst>
          </p:cNvPr>
          <p:cNvSpPr>
            <a:spLocks noGrp="1"/>
          </p:cNvSpPr>
          <p:nvPr>
            <p:ph type="chart" sz="quarter" idx="45"/>
          </p:nvPr>
        </p:nvSpPr>
        <p:spPr>
          <a:xfrm>
            <a:off x="419054" y="1808001"/>
            <a:ext cx="5609310" cy="897290"/>
          </a:xfrm>
        </p:spPr>
        <p:txBody>
          <a:bodyPr anchor="ctr">
            <a:noAutofit/>
          </a:bodyPr>
          <a:lstStyle>
            <a:lvl1pPr marL="0" indent="0" algn="ctr">
              <a:buNone/>
              <a:defRPr sz="1000"/>
            </a:lvl1pPr>
          </a:lstStyle>
          <a:p>
            <a:endParaRPr lang="en-US" dirty="0"/>
          </a:p>
        </p:txBody>
      </p:sp>
      <p:sp>
        <p:nvSpPr>
          <p:cNvPr id="25" name="Text Placeholder 4">
            <a:extLst>
              <a:ext uri="{FF2B5EF4-FFF2-40B4-BE49-F238E27FC236}">
                <a16:creationId xmlns:a16="http://schemas.microsoft.com/office/drawing/2014/main" id="{256631C4-D82D-4DF1-A108-BA9ABECC9117}"/>
              </a:ext>
            </a:extLst>
          </p:cNvPr>
          <p:cNvSpPr>
            <a:spLocks noGrp="1"/>
          </p:cNvSpPr>
          <p:nvPr>
            <p:ph type="body" sz="quarter" idx="33" hasCustomPrompt="1"/>
          </p:nvPr>
        </p:nvSpPr>
        <p:spPr>
          <a:xfrm>
            <a:off x="6796970" y="1320762"/>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26" name="Text Placeholder 4">
            <a:extLst>
              <a:ext uri="{FF2B5EF4-FFF2-40B4-BE49-F238E27FC236}">
                <a16:creationId xmlns:a16="http://schemas.microsoft.com/office/drawing/2014/main" id="{5DA30DC8-9213-4E60-930E-8968F640C70E}"/>
              </a:ext>
            </a:extLst>
          </p:cNvPr>
          <p:cNvSpPr>
            <a:spLocks noGrp="1"/>
          </p:cNvSpPr>
          <p:nvPr>
            <p:ph type="body" sz="quarter" idx="34" hasCustomPrompt="1"/>
          </p:nvPr>
        </p:nvSpPr>
        <p:spPr>
          <a:xfrm>
            <a:off x="6796970" y="2352229"/>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28" name="Text Placeholder 4">
            <a:extLst>
              <a:ext uri="{FF2B5EF4-FFF2-40B4-BE49-F238E27FC236}">
                <a16:creationId xmlns:a16="http://schemas.microsoft.com/office/drawing/2014/main" id="{5EA113C2-728E-4320-AD1B-A394AEF4318D}"/>
              </a:ext>
            </a:extLst>
          </p:cNvPr>
          <p:cNvSpPr>
            <a:spLocks noGrp="1"/>
          </p:cNvSpPr>
          <p:nvPr>
            <p:ph type="body" sz="quarter" idx="35" hasCustomPrompt="1"/>
          </p:nvPr>
        </p:nvSpPr>
        <p:spPr>
          <a:xfrm>
            <a:off x="6796970" y="3340188"/>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0" name="Text Placeholder 4">
            <a:extLst>
              <a:ext uri="{FF2B5EF4-FFF2-40B4-BE49-F238E27FC236}">
                <a16:creationId xmlns:a16="http://schemas.microsoft.com/office/drawing/2014/main" id="{4A9160F8-751C-438D-AD9B-3DBAF289C369}"/>
              </a:ext>
            </a:extLst>
          </p:cNvPr>
          <p:cNvSpPr>
            <a:spLocks noGrp="1"/>
          </p:cNvSpPr>
          <p:nvPr>
            <p:ph type="body" sz="quarter" idx="36" hasCustomPrompt="1"/>
          </p:nvPr>
        </p:nvSpPr>
        <p:spPr>
          <a:xfrm>
            <a:off x="6796970" y="4172426"/>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3" name="Text Placeholder 4">
            <a:extLst>
              <a:ext uri="{FF2B5EF4-FFF2-40B4-BE49-F238E27FC236}">
                <a16:creationId xmlns:a16="http://schemas.microsoft.com/office/drawing/2014/main" id="{6C94766F-5005-4B14-874D-F9E1DE61D41C}"/>
              </a:ext>
            </a:extLst>
          </p:cNvPr>
          <p:cNvSpPr>
            <a:spLocks noGrp="1"/>
          </p:cNvSpPr>
          <p:nvPr>
            <p:ph type="body" sz="quarter" idx="37" hasCustomPrompt="1"/>
          </p:nvPr>
        </p:nvSpPr>
        <p:spPr>
          <a:xfrm>
            <a:off x="6796970" y="5093540"/>
            <a:ext cx="4886881" cy="185115"/>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34" name="Text Placeholder 4">
            <a:extLst>
              <a:ext uri="{FF2B5EF4-FFF2-40B4-BE49-F238E27FC236}">
                <a16:creationId xmlns:a16="http://schemas.microsoft.com/office/drawing/2014/main" id="{31FB55DC-FE2B-414B-A006-2AB125DD6AD6}"/>
              </a:ext>
            </a:extLst>
          </p:cNvPr>
          <p:cNvSpPr>
            <a:spLocks noGrp="1"/>
          </p:cNvSpPr>
          <p:nvPr>
            <p:ph type="body" sz="quarter" idx="38" hasCustomPrompt="1"/>
          </p:nvPr>
        </p:nvSpPr>
        <p:spPr>
          <a:xfrm>
            <a:off x="6398457" y="1320762"/>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1</a:t>
            </a:r>
          </a:p>
        </p:txBody>
      </p:sp>
      <p:sp>
        <p:nvSpPr>
          <p:cNvPr id="35" name="Text Placeholder 4">
            <a:extLst>
              <a:ext uri="{FF2B5EF4-FFF2-40B4-BE49-F238E27FC236}">
                <a16:creationId xmlns:a16="http://schemas.microsoft.com/office/drawing/2014/main" id="{CD7B14FA-BDE7-4D8A-AFB8-7A6D1BC73A1D}"/>
              </a:ext>
            </a:extLst>
          </p:cNvPr>
          <p:cNvSpPr>
            <a:spLocks noGrp="1"/>
          </p:cNvSpPr>
          <p:nvPr>
            <p:ph type="body" sz="quarter" idx="39" hasCustomPrompt="1"/>
          </p:nvPr>
        </p:nvSpPr>
        <p:spPr>
          <a:xfrm>
            <a:off x="6398457" y="2326254"/>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2</a:t>
            </a:r>
          </a:p>
        </p:txBody>
      </p:sp>
      <p:sp>
        <p:nvSpPr>
          <p:cNvPr id="36" name="Text Placeholder 4">
            <a:extLst>
              <a:ext uri="{FF2B5EF4-FFF2-40B4-BE49-F238E27FC236}">
                <a16:creationId xmlns:a16="http://schemas.microsoft.com/office/drawing/2014/main" id="{E5A775CC-89E6-4DCB-B3DD-32190C2F9A75}"/>
              </a:ext>
            </a:extLst>
          </p:cNvPr>
          <p:cNvSpPr>
            <a:spLocks noGrp="1"/>
          </p:cNvSpPr>
          <p:nvPr>
            <p:ph type="body" sz="quarter" idx="40" hasCustomPrompt="1"/>
          </p:nvPr>
        </p:nvSpPr>
        <p:spPr>
          <a:xfrm>
            <a:off x="6398457" y="3314785"/>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3</a:t>
            </a:r>
          </a:p>
        </p:txBody>
      </p:sp>
      <p:sp>
        <p:nvSpPr>
          <p:cNvPr id="37" name="Text Placeholder 4">
            <a:extLst>
              <a:ext uri="{FF2B5EF4-FFF2-40B4-BE49-F238E27FC236}">
                <a16:creationId xmlns:a16="http://schemas.microsoft.com/office/drawing/2014/main" id="{47245AB8-E92F-4E76-BD2D-BC88A8D7271D}"/>
              </a:ext>
            </a:extLst>
          </p:cNvPr>
          <p:cNvSpPr>
            <a:spLocks noGrp="1"/>
          </p:cNvSpPr>
          <p:nvPr>
            <p:ph type="body" sz="quarter" idx="41" hasCustomPrompt="1"/>
          </p:nvPr>
        </p:nvSpPr>
        <p:spPr>
          <a:xfrm>
            <a:off x="6398457" y="4147023"/>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4</a:t>
            </a:r>
          </a:p>
        </p:txBody>
      </p:sp>
      <p:sp>
        <p:nvSpPr>
          <p:cNvPr id="38" name="Text Placeholder 4">
            <a:extLst>
              <a:ext uri="{FF2B5EF4-FFF2-40B4-BE49-F238E27FC236}">
                <a16:creationId xmlns:a16="http://schemas.microsoft.com/office/drawing/2014/main" id="{96B68277-D9D4-452F-9B66-20F5A8E7D5C8}"/>
              </a:ext>
            </a:extLst>
          </p:cNvPr>
          <p:cNvSpPr>
            <a:spLocks noGrp="1"/>
          </p:cNvSpPr>
          <p:nvPr>
            <p:ph type="body" sz="quarter" idx="42" hasCustomPrompt="1"/>
          </p:nvPr>
        </p:nvSpPr>
        <p:spPr>
          <a:xfrm>
            <a:off x="6398457" y="5068137"/>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5</a:t>
            </a:r>
          </a:p>
        </p:txBody>
      </p:sp>
      <p:sp>
        <p:nvSpPr>
          <p:cNvPr id="43" name="Chart Placeholder 2">
            <a:extLst>
              <a:ext uri="{FF2B5EF4-FFF2-40B4-BE49-F238E27FC236}">
                <a16:creationId xmlns:a16="http://schemas.microsoft.com/office/drawing/2014/main" id="{B3AB6F3C-D27F-4F4D-9BCE-9E768F2EB331}"/>
              </a:ext>
            </a:extLst>
          </p:cNvPr>
          <p:cNvSpPr>
            <a:spLocks noGrp="1"/>
          </p:cNvSpPr>
          <p:nvPr>
            <p:ph type="chart" sz="quarter" idx="47"/>
          </p:nvPr>
        </p:nvSpPr>
        <p:spPr>
          <a:xfrm>
            <a:off x="419054" y="3495777"/>
            <a:ext cx="5609310" cy="897290"/>
          </a:xfrm>
        </p:spPr>
        <p:txBody>
          <a:bodyPr anchor="ctr">
            <a:noAutofit/>
          </a:bodyPr>
          <a:lstStyle>
            <a:lvl1pPr marL="0" indent="0" algn="ctr">
              <a:buNone/>
              <a:defRPr sz="1000"/>
            </a:lvl1pPr>
          </a:lstStyle>
          <a:p>
            <a:endParaRPr lang="en-US" dirty="0"/>
          </a:p>
        </p:txBody>
      </p:sp>
      <p:sp>
        <p:nvSpPr>
          <p:cNvPr id="45" name="Chart Placeholder 2">
            <a:extLst>
              <a:ext uri="{FF2B5EF4-FFF2-40B4-BE49-F238E27FC236}">
                <a16:creationId xmlns:a16="http://schemas.microsoft.com/office/drawing/2014/main" id="{0CA9A644-E83B-43AF-BFD3-6F908109881F}"/>
              </a:ext>
            </a:extLst>
          </p:cNvPr>
          <p:cNvSpPr>
            <a:spLocks noGrp="1"/>
          </p:cNvSpPr>
          <p:nvPr>
            <p:ph type="chart" sz="quarter" idx="49"/>
          </p:nvPr>
        </p:nvSpPr>
        <p:spPr>
          <a:xfrm>
            <a:off x="419054" y="5117166"/>
            <a:ext cx="5609310" cy="897290"/>
          </a:xfrm>
        </p:spPr>
        <p:txBody>
          <a:bodyPr anchor="ctr">
            <a:noAutofit/>
          </a:bodyPr>
          <a:lstStyle>
            <a:lvl1pPr marL="0" indent="0" algn="ctr">
              <a:buNone/>
              <a:defRPr sz="1000"/>
            </a:lvl1pPr>
          </a:lstStyle>
          <a:p>
            <a:endParaRPr lang="en-US" dirty="0"/>
          </a:p>
        </p:txBody>
      </p:sp>
      <p:sp>
        <p:nvSpPr>
          <p:cNvPr id="41" name="Text Placeholder 4">
            <a:extLst>
              <a:ext uri="{FF2B5EF4-FFF2-40B4-BE49-F238E27FC236}">
                <a16:creationId xmlns:a16="http://schemas.microsoft.com/office/drawing/2014/main" id="{D2518D3E-640E-43C9-8A55-E21C82D394F5}"/>
              </a:ext>
            </a:extLst>
          </p:cNvPr>
          <p:cNvSpPr>
            <a:spLocks noGrp="1"/>
          </p:cNvSpPr>
          <p:nvPr>
            <p:ph type="body" sz="quarter" idx="44" hasCustomPrompt="1"/>
          </p:nvPr>
        </p:nvSpPr>
        <p:spPr>
          <a:xfrm>
            <a:off x="419010" y="1251036"/>
            <a:ext cx="5604163" cy="153888"/>
          </a:xfrm>
        </p:spPr>
        <p:txBody>
          <a:bodyPr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47" name="Text Placeholder 4">
            <a:extLst>
              <a:ext uri="{FF2B5EF4-FFF2-40B4-BE49-F238E27FC236}">
                <a16:creationId xmlns:a16="http://schemas.microsoft.com/office/drawing/2014/main" id="{AEE8F843-74E9-4522-9DF5-F42D2C598B39}"/>
              </a:ext>
            </a:extLst>
          </p:cNvPr>
          <p:cNvSpPr>
            <a:spLocks noGrp="1"/>
          </p:cNvSpPr>
          <p:nvPr>
            <p:ph type="body" sz="quarter" idx="50" hasCustomPrompt="1"/>
          </p:nvPr>
        </p:nvSpPr>
        <p:spPr>
          <a:xfrm>
            <a:off x="419010" y="1432300"/>
            <a:ext cx="5604163" cy="153888"/>
          </a:xfrm>
        </p:spPr>
        <p:txBody>
          <a:bodyPr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
        <p:nvSpPr>
          <p:cNvPr id="49" name="Text Placeholder 4">
            <a:extLst>
              <a:ext uri="{FF2B5EF4-FFF2-40B4-BE49-F238E27FC236}">
                <a16:creationId xmlns:a16="http://schemas.microsoft.com/office/drawing/2014/main" id="{D90F4BE1-A901-4D5A-BAE8-A1D422DA6C97}"/>
              </a:ext>
            </a:extLst>
          </p:cNvPr>
          <p:cNvSpPr>
            <a:spLocks noGrp="1"/>
          </p:cNvSpPr>
          <p:nvPr>
            <p:ph type="body" sz="quarter" idx="54" hasCustomPrompt="1"/>
          </p:nvPr>
        </p:nvSpPr>
        <p:spPr>
          <a:xfrm>
            <a:off x="419010" y="2907081"/>
            <a:ext cx="5604163" cy="153888"/>
          </a:xfrm>
        </p:spPr>
        <p:txBody>
          <a:bodyPr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50" name="Text Placeholder 4">
            <a:extLst>
              <a:ext uri="{FF2B5EF4-FFF2-40B4-BE49-F238E27FC236}">
                <a16:creationId xmlns:a16="http://schemas.microsoft.com/office/drawing/2014/main" id="{4B68702A-B7CB-495A-AB2F-80AE611DF47E}"/>
              </a:ext>
            </a:extLst>
          </p:cNvPr>
          <p:cNvSpPr>
            <a:spLocks noGrp="1"/>
          </p:cNvSpPr>
          <p:nvPr>
            <p:ph type="body" sz="quarter" idx="55" hasCustomPrompt="1"/>
          </p:nvPr>
        </p:nvSpPr>
        <p:spPr>
          <a:xfrm>
            <a:off x="419010" y="3079636"/>
            <a:ext cx="5604163" cy="153888"/>
          </a:xfrm>
        </p:spPr>
        <p:txBody>
          <a:bodyPr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
        <p:nvSpPr>
          <p:cNvPr id="51" name="Text Placeholder 4">
            <a:extLst>
              <a:ext uri="{FF2B5EF4-FFF2-40B4-BE49-F238E27FC236}">
                <a16:creationId xmlns:a16="http://schemas.microsoft.com/office/drawing/2014/main" id="{709E0742-F0BA-4E3E-A560-9D5349531FBD}"/>
              </a:ext>
            </a:extLst>
          </p:cNvPr>
          <p:cNvSpPr>
            <a:spLocks noGrp="1"/>
          </p:cNvSpPr>
          <p:nvPr>
            <p:ph type="body" sz="quarter" idx="56" hasCustomPrompt="1"/>
          </p:nvPr>
        </p:nvSpPr>
        <p:spPr>
          <a:xfrm>
            <a:off x="419010" y="4580845"/>
            <a:ext cx="5604163" cy="153888"/>
          </a:xfrm>
        </p:spPr>
        <p:txBody>
          <a:bodyPr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52" name="Text Placeholder 4">
            <a:extLst>
              <a:ext uri="{FF2B5EF4-FFF2-40B4-BE49-F238E27FC236}">
                <a16:creationId xmlns:a16="http://schemas.microsoft.com/office/drawing/2014/main" id="{C9143B41-DA23-4CD6-8EE4-34A23A479EFF}"/>
              </a:ext>
            </a:extLst>
          </p:cNvPr>
          <p:cNvSpPr>
            <a:spLocks noGrp="1"/>
          </p:cNvSpPr>
          <p:nvPr>
            <p:ph type="body" sz="quarter" idx="57" hasCustomPrompt="1"/>
          </p:nvPr>
        </p:nvSpPr>
        <p:spPr>
          <a:xfrm>
            <a:off x="419010" y="4753400"/>
            <a:ext cx="5604163" cy="153888"/>
          </a:xfrm>
        </p:spPr>
        <p:txBody>
          <a:bodyPr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5682091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175280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6762815"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40" name="Rectangle 39">
            <a:extLst>
              <a:ext uri="{FF2B5EF4-FFF2-40B4-BE49-F238E27FC236}">
                <a16:creationId xmlns:a16="http://schemas.microsoft.com/office/drawing/2014/main" id="{9068A0AB-E7BC-487A-87B6-06363EC40579}"/>
              </a:ext>
            </a:extLst>
          </p:cNvPr>
          <p:cNvSpPr/>
          <p:nvPr userDrawn="1"/>
        </p:nvSpPr>
        <p:spPr>
          <a:xfrm>
            <a:off x="317435" y="1144393"/>
            <a:ext cx="3330640" cy="2434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AE19C97A-8914-46A8-A76C-450152637DF6}"/>
              </a:ext>
            </a:extLst>
          </p:cNvPr>
          <p:cNvSpPr/>
          <p:nvPr userDrawn="1"/>
        </p:nvSpPr>
        <p:spPr>
          <a:xfrm>
            <a:off x="3730050" y="1144393"/>
            <a:ext cx="3350200" cy="2434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BAC173DE-5122-4F45-83E1-FEEE37DB0CB0}"/>
              </a:ext>
            </a:extLst>
          </p:cNvPr>
          <p:cNvSpPr/>
          <p:nvPr userDrawn="1"/>
        </p:nvSpPr>
        <p:spPr>
          <a:xfrm>
            <a:off x="7174523" y="1144392"/>
            <a:ext cx="4671292" cy="495191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 Placeholder 4">
            <a:extLst>
              <a:ext uri="{FF2B5EF4-FFF2-40B4-BE49-F238E27FC236}">
                <a16:creationId xmlns:a16="http://schemas.microsoft.com/office/drawing/2014/main" id="{2BBABEDE-E2C1-461D-9F63-08B07557282F}"/>
              </a:ext>
            </a:extLst>
          </p:cNvPr>
          <p:cNvSpPr>
            <a:spLocks noGrp="1"/>
          </p:cNvSpPr>
          <p:nvPr>
            <p:ph type="body" sz="quarter" idx="33" hasCustomPrompt="1"/>
          </p:nvPr>
        </p:nvSpPr>
        <p:spPr>
          <a:xfrm>
            <a:off x="7693269" y="1320762"/>
            <a:ext cx="4008404"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51" name="Text Placeholder 4">
            <a:extLst>
              <a:ext uri="{FF2B5EF4-FFF2-40B4-BE49-F238E27FC236}">
                <a16:creationId xmlns:a16="http://schemas.microsoft.com/office/drawing/2014/main" id="{D84FB185-A4C4-4BC7-8504-BF5AC43C6525}"/>
              </a:ext>
            </a:extLst>
          </p:cNvPr>
          <p:cNvSpPr>
            <a:spLocks noGrp="1"/>
          </p:cNvSpPr>
          <p:nvPr>
            <p:ph type="body" sz="quarter" idx="38" hasCustomPrompt="1"/>
          </p:nvPr>
        </p:nvSpPr>
        <p:spPr>
          <a:xfrm>
            <a:off x="7283403" y="1279814"/>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0</a:t>
            </a:r>
          </a:p>
        </p:txBody>
      </p:sp>
      <p:sp>
        <p:nvSpPr>
          <p:cNvPr id="54" name="Text Placeholder 4">
            <a:extLst>
              <a:ext uri="{FF2B5EF4-FFF2-40B4-BE49-F238E27FC236}">
                <a16:creationId xmlns:a16="http://schemas.microsoft.com/office/drawing/2014/main" id="{10AB0E17-C600-4CF7-B875-ECFB270AB3FF}"/>
              </a:ext>
            </a:extLst>
          </p:cNvPr>
          <p:cNvSpPr>
            <a:spLocks noGrp="1"/>
          </p:cNvSpPr>
          <p:nvPr>
            <p:ph type="body" sz="quarter" idx="44" hasCustomPrompt="1"/>
          </p:nvPr>
        </p:nvSpPr>
        <p:spPr>
          <a:xfrm>
            <a:off x="7693269" y="2610679"/>
            <a:ext cx="4008404"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55" name="Text Placeholder 4">
            <a:extLst>
              <a:ext uri="{FF2B5EF4-FFF2-40B4-BE49-F238E27FC236}">
                <a16:creationId xmlns:a16="http://schemas.microsoft.com/office/drawing/2014/main" id="{A85859B4-E061-4CF3-A477-B3B895596C6B}"/>
              </a:ext>
            </a:extLst>
          </p:cNvPr>
          <p:cNvSpPr>
            <a:spLocks noGrp="1"/>
          </p:cNvSpPr>
          <p:nvPr>
            <p:ph type="body" sz="quarter" idx="45" hasCustomPrompt="1"/>
          </p:nvPr>
        </p:nvSpPr>
        <p:spPr>
          <a:xfrm>
            <a:off x="7283403" y="2610679"/>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0</a:t>
            </a:r>
          </a:p>
        </p:txBody>
      </p:sp>
      <p:sp>
        <p:nvSpPr>
          <p:cNvPr id="56" name="Text Placeholder 4">
            <a:extLst>
              <a:ext uri="{FF2B5EF4-FFF2-40B4-BE49-F238E27FC236}">
                <a16:creationId xmlns:a16="http://schemas.microsoft.com/office/drawing/2014/main" id="{54E53C3D-2EEE-4501-A942-7AD23461A9BC}"/>
              </a:ext>
            </a:extLst>
          </p:cNvPr>
          <p:cNvSpPr>
            <a:spLocks noGrp="1"/>
          </p:cNvSpPr>
          <p:nvPr>
            <p:ph type="body" sz="quarter" idx="46" hasCustomPrompt="1"/>
          </p:nvPr>
        </p:nvSpPr>
        <p:spPr>
          <a:xfrm>
            <a:off x="7693269" y="3535279"/>
            <a:ext cx="4008404"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57" name="Text Placeholder 4">
            <a:extLst>
              <a:ext uri="{FF2B5EF4-FFF2-40B4-BE49-F238E27FC236}">
                <a16:creationId xmlns:a16="http://schemas.microsoft.com/office/drawing/2014/main" id="{713763E3-A2F2-4FC8-B91A-CC0263491FCA}"/>
              </a:ext>
            </a:extLst>
          </p:cNvPr>
          <p:cNvSpPr>
            <a:spLocks noGrp="1"/>
          </p:cNvSpPr>
          <p:nvPr>
            <p:ph type="body" sz="quarter" idx="47" hasCustomPrompt="1"/>
          </p:nvPr>
        </p:nvSpPr>
        <p:spPr>
          <a:xfrm>
            <a:off x="7283403" y="3535279"/>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0</a:t>
            </a:r>
          </a:p>
        </p:txBody>
      </p:sp>
      <p:sp>
        <p:nvSpPr>
          <p:cNvPr id="58" name="Text Placeholder 4">
            <a:extLst>
              <a:ext uri="{FF2B5EF4-FFF2-40B4-BE49-F238E27FC236}">
                <a16:creationId xmlns:a16="http://schemas.microsoft.com/office/drawing/2014/main" id="{4DC24B5B-0415-4492-AEB5-F5EDDA8F0979}"/>
              </a:ext>
            </a:extLst>
          </p:cNvPr>
          <p:cNvSpPr>
            <a:spLocks noGrp="1"/>
          </p:cNvSpPr>
          <p:nvPr>
            <p:ph type="body" sz="quarter" idx="48" hasCustomPrompt="1"/>
          </p:nvPr>
        </p:nvSpPr>
        <p:spPr>
          <a:xfrm>
            <a:off x="7693269" y="4459879"/>
            <a:ext cx="4008404"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59" name="Text Placeholder 4">
            <a:extLst>
              <a:ext uri="{FF2B5EF4-FFF2-40B4-BE49-F238E27FC236}">
                <a16:creationId xmlns:a16="http://schemas.microsoft.com/office/drawing/2014/main" id="{B62B8DB1-8C2C-4FB8-8EF2-FF18B4800CE8}"/>
              </a:ext>
            </a:extLst>
          </p:cNvPr>
          <p:cNvSpPr>
            <a:spLocks noGrp="1"/>
          </p:cNvSpPr>
          <p:nvPr>
            <p:ph type="body" sz="quarter" idx="49" hasCustomPrompt="1"/>
          </p:nvPr>
        </p:nvSpPr>
        <p:spPr>
          <a:xfrm>
            <a:off x="7283403" y="4459879"/>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0</a:t>
            </a:r>
          </a:p>
        </p:txBody>
      </p:sp>
      <p:sp>
        <p:nvSpPr>
          <p:cNvPr id="60" name="Text Placeholder 4">
            <a:extLst>
              <a:ext uri="{FF2B5EF4-FFF2-40B4-BE49-F238E27FC236}">
                <a16:creationId xmlns:a16="http://schemas.microsoft.com/office/drawing/2014/main" id="{614545A7-0D39-4F64-83B0-C8AE582164BD}"/>
              </a:ext>
            </a:extLst>
          </p:cNvPr>
          <p:cNvSpPr>
            <a:spLocks noGrp="1"/>
          </p:cNvSpPr>
          <p:nvPr>
            <p:ph type="body" sz="quarter" idx="50" hasCustomPrompt="1"/>
          </p:nvPr>
        </p:nvSpPr>
        <p:spPr>
          <a:xfrm>
            <a:off x="7693269" y="5384477"/>
            <a:ext cx="4008404" cy="187167"/>
          </a:xfrm>
        </p:spPr>
        <p:txBody>
          <a:bodyPr/>
          <a:lstStyle>
            <a:lvl1pPr marL="0" indent="0" algn="l">
              <a:lnSpc>
                <a:spcPct val="110000"/>
              </a:lnSpc>
              <a:spcBef>
                <a:spcPts val="0"/>
              </a:spcBef>
              <a:spcAft>
                <a:spcPts val="0"/>
              </a:spcAft>
              <a:buNone/>
              <a:defRPr sz="1200">
                <a:solidFill>
                  <a:schemeClr val="tx1"/>
                </a:solidFill>
              </a:defRPr>
            </a:lvl1pPr>
          </a:lstStyle>
          <a:p>
            <a:pPr lvl="0"/>
            <a:r>
              <a:rPr lang="en-US"/>
              <a:t>Edit Master text styles</a:t>
            </a:r>
          </a:p>
        </p:txBody>
      </p:sp>
      <p:sp>
        <p:nvSpPr>
          <p:cNvPr id="61" name="Text Placeholder 4">
            <a:extLst>
              <a:ext uri="{FF2B5EF4-FFF2-40B4-BE49-F238E27FC236}">
                <a16:creationId xmlns:a16="http://schemas.microsoft.com/office/drawing/2014/main" id="{2C9D536C-3F00-4975-8ED2-2661103AABCD}"/>
              </a:ext>
            </a:extLst>
          </p:cNvPr>
          <p:cNvSpPr>
            <a:spLocks noGrp="1"/>
          </p:cNvSpPr>
          <p:nvPr>
            <p:ph type="body" sz="quarter" idx="51" hasCustomPrompt="1"/>
          </p:nvPr>
        </p:nvSpPr>
        <p:spPr>
          <a:xfrm>
            <a:off x="7283403" y="5384477"/>
            <a:ext cx="292100" cy="266763"/>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lvl1pPr marL="0" indent="0" algn="ctr">
              <a:buNone/>
              <a:defRPr lang="en-US" sz="1400" b="1" dirty="0" smtClean="0">
                <a:solidFill>
                  <a:schemeClr val="lt1"/>
                </a:solidFill>
              </a:defRPr>
            </a:lvl1pPr>
          </a:lstStyle>
          <a:p>
            <a:pPr marL="0" lvl="0" algn="ctr">
              <a:lnSpc>
                <a:spcPct val="110000"/>
              </a:lnSpc>
            </a:pPr>
            <a:r>
              <a:rPr lang="en-US"/>
              <a:t>00</a:t>
            </a:r>
          </a:p>
        </p:txBody>
      </p:sp>
      <p:sp>
        <p:nvSpPr>
          <p:cNvPr id="4" name="Chart Placeholder 3">
            <a:extLst>
              <a:ext uri="{FF2B5EF4-FFF2-40B4-BE49-F238E27FC236}">
                <a16:creationId xmlns:a16="http://schemas.microsoft.com/office/drawing/2014/main" id="{7323CD71-C515-45BF-BEDA-5384EA403EA0}"/>
              </a:ext>
            </a:extLst>
          </p:cNvPr>
          <p:cNvSpPr>
            <a:spLocks noGrp="1"/>
          </p:cNvSpPr>
          <p:nvPr>
            <p:ph type="chart" sz="quarter" idx="53"/>
          </p:nvPr>
        </p:nvSpPr>
        <p:spPr>
          <a:xfrm>
            <a:off x="384175" y="2135701"/>
            <a:ext cx="3166126" cy="1345437"/>
          </a:xfrm>
        </p:spPr>
        <p:txBody>
          <a:bodyPr anchor="ctr">
            <a:noAutofit/>
          </a:bodyPr>
          <a:lstStyle>
            <a:lvl1pPr marL="0" indent="0" algn="ctr">
              <a:buNone/>
              <a:defRPr sz="1000"/>
            </a:lvl1pPr>
          </a:lstStyle>
          <a:p>
            <a:endParaRPr lang="en-US" dirty="0"/>
          </a:p>
        </p:txBody>
      </p:sp>
      <p:sp>
        <p:nvSpPr>
          <p:cNvPr id="68" name="Chart Placeholder 3">
            <a:extLst>
              <a:ext uri="{FF2B5EF4-FFF2-40B4-BE49-F238E27FC236}">
                <a16:creationId xmlns:a16="http://schemas.microsoft.com/office/drawing/2014/main" id="{D6D92DE2-A4BD-443A-ADFA-8192DE36BDE3}"/>
              </a:ext>
            </a:extLst>
          </p:cNvPr>
          <p:cNvSpPr>
            <a:spLocks noGrp="1"/>
          </p:cNvSpPr>
          <p:nvPr>
            <p:ph type="chart" sz="quarter" idx="55"/>
          </p:nvPr>
        </p:nvSpPr>
        <p:spPr>
          <a:xfrm>
            <a:off x="3822087" y="2135701"/>
            <a:ext cx="3166126" cy="1345437"/>
          </a:xfrm>
        </p:spPr>
        <p:txBody>
          <a:bodyPr anchor="ctr">
            <a:noAutofit/>
          </a:bodyPr>
          <a:lstStyle>
            <a:lvl1pPr marL="0" indent="0" algn="ctr">
              <a:buNone/>
              <a:defRPr sz="1000"/>
            </a:lvl1pPr>
          </a:lstStyle>
          <a:p>
            <a:endParaRPr lang="en-US" dirty="0"/>
          </a:p>
        </p:txBody>
      </p:sp>
      <p:sp>
        <p:nvSpPr>
          <p:cNvPr id="69" name="Rectangle 68">
            <a:extLst>
              <a:ext uri="{FF2B5EF4-FFF2-40B4-BE49-F238E27FC236}">
                <a16:creationId xmlns:a16="http://schemas.microsoft.com/office/drawing/2014/main" id="{C3161C65-33E7-499F-9238-AFC8C7380446}"/>
              </a:ext>
            </a:extLst>
          </p:cNvPr>
          <p:cNvSpPr/>
          <p:nvPr userDrawn="1"/>
        </p:nvSpPr>
        <p:spPr>
          <a:xfrm>
            <a:off x="317435" y="3661610"/>
            <a:ext cx="3330640" cy="2434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DFCDAC61-56EB-4570-A70F-62FE81E7D5A8}"/>
              </a:ext>
            </a:extLst>
          </p:cNvPr>
          <p:cNvSpPr/>
          <p:nvPr userDrawn="1"/>
        </p:nvSpPr>
        <p:spPr>
          <a:xfrm>
            <a:off x="3730050" y="3661610"/>
            <a:ext cx="3350200" cy="2434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Chart Placeholder 3">
            <a:extLst>
              <a:ext uri="{FF2B5EF4-FFF2-40B4-BE49-F238E27FC236}">
                <a16:creationId xmlns:a16="http://schemas.microsoft.com/office/drawing/2014/main" id="{41F690F0-0E64-4C07-9B64-ACDAEF4718F8}"/>
              </a:ext>
            </a:extLst>
          </p:cNvPr>
          <p:cNvSpPr>
            <a:spLocks noGrp="1"/>
          </p:cNvSpPr>
          <p:nvPr>
            <p:ph type="chart" sz="quarter" idx="57"/>
          </p:nvPr>
        </p:nvSpPr>
        <p:spPr>
          <a:xfrm>
            <a:off x="384175" y="4685326"/>
            <a:ext cx="3166126" cy="1345437"/>
          </a:xfrm>
        </p:spPr>
        <p:txBody>
          <a:bodyPr anchor="ctr">
            <a:noAutofit/>
          </a:bodyPr>
          <a:lstStyle>
            <a:lvl1pPr marL="0" indent="0" algn="ctr">
              <a:buNone/>
              <a:defRPr sz="1000"/>
            </a:lvl1pPr>
          </a:lstStyle>
          <a:p>
            <a:endParaRPr lang="en-US" dirty="0"/>
          </a:p>
        </p:txBody>
      </p:sp>
      <p:sp>
        <p:nvSpPr>
          <p:cNvPr id="74" name="Chart Placeholder 3">
            <a:extLst>
              <a:ext uri="{FF2B5EF4-FFF2-40B4-BE49-F238E27FC236}">
                <a16:creationId xmlns:a16="http://schemas.microsoft.com/office/drawing/2014/main" id="{19FA0264-368D-4B07-8315-692FDB767F84}"/>
              </a:ext>
            </a:extLst>
          </p:cNvPr>
          <p:cNvSpPr>
            <a:spLocks noGrp="1"/>
          </p:cNvSpPr>
          <p:nvPr>
            <p:ph type="chart" sz="quarter" idx="59"/>
          </p:nvPr>
        </p:nvSpPr>
        <p:spPr>
          <a:xfrm>
            <a:off x="3822087" y="4685326"/>
            <a:ext cx="3166126" cy="1345437"/>
          </a:xfrm>
        </p:spPr>
        <p:txBody>
          <a:bodyPr anchor="ctr">
            <a:noAutofit/>
          </a:bodyPr>
          <a:lstStyle>
            <a:lvl1pPr marL="0" indent="0" algn="ctr">
              <a:buNone/>
              <a:defRPr sz="1000"/>
            </a:lvl1pPr>
          </a:lstStyle>
          <a:p>
            <a:endParaRPr lang="en-US" dirty="0"/>
          </a:p>
        </p:txBody>
      </p:sp>
      <p:sp>
        <p:nvSpPr>
          <p:cNvPr id="39" name="Text Placeholder 4">
            <a:extLst>
              <a:ext uri="{FF2B5EF4-FFF2-40B4-BE49-F238E27FC236}">
                <a16:creationId xmlns:a16="http://schemas.microsoft.com/office/drawing/2014/main" id="{181A3D5D-A516-41EB-8BFD-ACB376E715C5}"/>
              </a:ext>
            </a:extLst>
          </p:cNvPr>
          <p:cNvSpPr>
            <a:spLocks noGrp="1"/>
          </p:cNvSpPr>
          <p:nvPr>
            <p:ph type="body" sz="quarter" idx="60" hasCustomPrompt="1"/>
          </p:nvPr>
        </p:nvSpPr>
        <p:spPr>
          <a:xfrm>
            <a:off x="371569" y="1231984"/>
            <a:ext cx="3226172" cy="153888"/>
          </a:xfrm>
        </p:spPr>
        <p:txBody>
          <a:bodyPr wrap="square"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42" name="Text Placeholder 4">
            <a:extLst>
              <a:ext uri="{FF2B5EF4-FFF2-40B4-BE49-F238E27FC236}">
                <a16:creationId xmlns:a16="http://schemas.microsoft.com/office/drawing/2014/main" id="{E89AC29E-DBD2-4CA6-81C4-DE3E7EB4E4B8}"/>
              </a:ext>
            </a:extLst>
          </p:cNvPr>
          <p:cNvSpPr>
            <a:spLocks noGrp="1"/>
          </p:cNvSpPr>
          <p:nvPr>
            <p:ph type="body" sz="quarter" idx="61" hasCustomPrompt="1"/>
          </p:nvPr>
        </p:nvSpPr>
        <p:spPr>
          <a:xfrm>
            <a:off x="371569" y="1413248"/>
            <a:ext cx="3226172" cy="153888"/>
          </a:xfrm>
        </p:spPr>
        <p:txBody>
          <a:bodyPr wrap="square"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
        <p:nvSpPr>
          <p:cNvPr id="43" name="Text Placeholder 4">
            <a:extLst>
              <a:ext uri="{FF2B5EF4-FFF2-40B4-BE49-F238E27FC236}">
                <a16:creationId xmlns:a16="http://schemas.microsoft.com/office/drawing/2014/main" id="{B2CE23C7-1BAB-4137-A04B-A828FE310658}"/>
              </a:ext>
            </a:extLst>
          </p:cNvPr>
          <p:cNvSpPr>
            <a:spLocks noGrp="1"/>
          </p:cNvSpPr>
          <p:nvPr>
            <p:ph type="body" sz="quarter" idx="62" hasCustomPrompt="1"/>
          </p:nvPr>
        </p:nvSpPr>
        <p:spPr>
          <a:xfrm>
            <a:off x="3792064" y="1231984"/>
            <a:ext cx="3226172" cy="153888"/>
          </a:xfrm>
        </p:spPr>
        <p:txBody>
          <a:bodyPr wrap="square"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44" name="Text Placeholder 4">
            <a:extLst>
              <a:ext uri="{FF2B5EF4-FFF2-40B4-BE49-F238E27FC236}">
                <a16:creationId xmlns:a16="http://schemas.microsoft.com/office/drawing/2014/main" id="{6DD0BE5C-BEE5-4BA0-8DF5-F164B61CC309}"/>
              </a:ext>
            </a:extLst>
          </p:cNvPr>
          <p:cNvSpPr>
            <a:spLocks noGrp="1"/>
          </p:cNvSpPr>
          <p:nvPr>
            <p:ph type="body" sz="quarter" idx="63" hasCustomPrompt="1"/>
          </p:nvPr>
        </p:nvSpPr>
        <p:spPr>
          <a:xfrm>
            <a:off x="3792064" y="1413248"/>
            <a:ext cx="3226172" cy="153888"/>
          </a:xfrm>
        </p:spPr>
        <p:txBody>
          <a:bodyPr wrap="square"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
        <p:nvSpPr>
          <p:cNvPr id="45" name="Text Placeholder 4">
            <a:extLst>
              <a:ext uri="{FF2B5EF4-FFF2-40B4-BE49-F238E27FC236}">
                <a16:creationId xmlns:a16="http://schemas.microsoft.com/office/drawing/2014/main" id="{8AE3C66E-4762-42F7-8731-8910162984C6}"/>
              </a:ext>
            </a:extLst>
          </p:cNvPr>
          <p:cNvSpPr>
            <a:spLocks noGrp="1"/>
          </p:cNvSpPr>
          <p:nvPr>
            <p:ph type="body" sz="quarter" idx="64" hasCustomPrompt="1"/>
          </p:nvPr>
        </p:nvSpPr>
        <p:spPr>
          <a:xfrm>
            <a:off x="371569" y="3735606"/>
            <a:ext cx="3226172" cy="153888"/>
          </a:xfrm>
        </p:spPr>
        <p:txBody>
          <a:bodyPr wrap="square"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46" name="Text Placeholder 4">
            <a:extLst>
              <a:ext uri="{FF2B5EF4-FFF2-40B4-BE49-F238E27FC236}">
                <a16:creationId xmlns:a16="http://schemas.microsoft.com/office/drawing/2014/main" id="{0F9330E4-13C4-4D71-B081-FEC22681909F}"/>
              </a:ext>
            </a:extLst>
          </p:cNvPr>
          <p:cNvSpPr>
            <a:spLocks noGrp="1"/>
          </p:cNvSpPr>
          <p:nvPr>
            <p:ph type="body" sz="quarter" idx="65" hasCustomPrompt="1"/>
          </p:nvPr>
        </p:nvSpPr>
        <p:spPr>
          <a:xfrm>
            <a:off x="371569" y="3916870"/>
            <a:ext cx="3226172" cy="153888"/>
          </a:xfrm>
        </p:spPr>
        <p:txBody>
          <a:bodyPr wrap="square"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
        <p:nvSpPr>
          <p:cNvPr id="47" name="Text Placeholder 4">
            <a:extLst>
              <a:ext uri="{FF2B5EF4-FFF2-40B4-BE49-F238E27FC236}">
                <a16:creationId xmlns:a16="http://schemas.microsoft.com/office/drawing/2014/main" id="{391291D6-3715-4528-9897-D6FF49D544E5}"/>
              </a:ext>
            </a:extLst>
          </p:cNvPr>
          <p:cNvSpPr>
            <a:spLocks noGrp="1"/>
          </p:cNvSpPr>
          <p:nvPr>
            <p:ph type="body" sz="quarter" idx="66" hasCustomPrompt="1"/>
          </p:nvPr>
        </p:nvSpPr>
        <p:spPr>
          <a:xfrm>
            <a:off x="3792064" y="3735606"/>
            <a:ext cx="3226172" cy="153888"/>
          </a:xfrm>
        </p:spPr>
        <p:txBody>
          <a:bodyPr wrap="square" anchor="t" anchorCtr="0">
            <a:spAutoFit/>
          </a:bodyPr>
          <a:lstStyle>
            <a:lvl1pPr marL="0" indent="0" algn="l">
              <a:lnSpc>
                <a:spcPct val="100000"/>
              </a:lnSpc>
              <a:buNone/>
              <a:defRPr sz="1000" b="1" cap="all" baseline="0">
                <a:solidFill>
                  <a:schemeClr val="accent1"/>
                </a:solidFill>
              </a:defRPr>
            </a:lvl1pPr>
          </a:lstStyle>
          <a:p>
            <a:pPr lvl="0"/>
            <a:r>
              <a:rPr lang="en-US"/>
              <a:t>Edit Master title</a:t>
            </a:r>
          </a:p>
        </p:txBody>
      </p:sp>
      <p:sp>
        <p:nvSpPr>
          <p:cNvPr id="48" name="Text Placeholder 4">
            <a:extLst>
              <a:ext uri="{FF2B5EF4-FFF2-40B4-BE49-F238E27FC236}">
                <a16:creationId xmlns:a16="http://schemas.microsoft.com/office/drawing/2014/main" id="{F8EA134C-C74A-4D0E-BD81-D0D05A3C3679}"/>
              </a:ext>
            </a:extLst>
          </p:cNvPr>
          <p:cNvSpPr>
            <a:spLocks noGrp="1"/>
          </p:cNvSpPr>
          <p:nvPr>
            <p:ph type="body" sz="quarter" idx="67" hasCustomPrompt="1"/>
          </p:nvPr>
        </p:nvSpPr>
        <p:spPr>
          <a:xfrm>
            <a:off x="3792064" y="3916870"/>
            <a:ext cx="3226172" cy="153888"/>
          </a:xfrm>
        </p:spPr>
        <p:txBody>
          <a:bodyPr wrap="square" anchor="b" anchorCtr="0">
            <a:spAutoFit/>
          </a:bodyPr>
          <a:lstStyle>
            <a:lvl1pPr marL="0" indent="0" algn="l">
              <a:lnSpc>
                <a:spcPct val="100000"/>
              </a:lnSpc>
              <a:buNone/>
              <a:defRPr sz="10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7170797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1834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6" name="Rectangle 35">
            <a:extLst>
              <a:ext uri="{FF2B5EF4-FFF2-40B4-BE49-F238E27FC236}">
                <a16:creationId xmlns:a16="http://schemas.microsoft.com/office/drawing/2014/main" id="{C4EFD532-2AB5-4377-92BD-1186C54896F3}"/>
              </a:ext>
            </a:extLst>
          </p:cNvPr>
          <p:cNvSpPr/>
          <p:nvPr userDrawn="1"/>
        </p:nvSpPr>
        <p:spPr>
          <a:xfrm>
            <a:off x="317435" y="1103671"/>
            <a:ext cx="5657750" cy="2407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3AD7DB3C-2284-4DE9-8CE5-A57A6C5B29CD}"/>
              </a:ext>
            </a:extLst>
          </p:cNvPr>
          <p:cNvSpPr/>
          <p:nvPr userDrawn="1"/>
        </p:nvSpPr>
        <p:spPr>
          <a:xfrm>
            <a:off x="6276141" y="1103671"/>
            <a:ext cx="5657750" cy="2407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F1361132-649E-414A-AD22-2ADAAC4FA589}"/>
              </a:ext>
            </a:extLst>
          </p:cNvPr>
          <p:cNvSpPr/>
          <p:nvPr userDrawn="1"/>
        </p:nvSpPr>
        <p:spPr>
          <a:xfrm>
            <a:off x="317435" y="3619387"/>
            <a:ext cx="5657750" cy="2407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01DDA8FA-95A5-4B63-9629-9A24837E0FA4}"/>
              </a:ext>
            </a:extLst>
          </p:cNvPr>
          <p:cNvSpPr/>
          <p:nvPr userDrawn="1"/>
        </p:nvSpPr>
        <p:spPr>
          <a:xfrm>
            <a:off x="6276141" y="3619387"/>
            <a:ext cx="5657750" cy="2407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5" name="Text Placeholder 4">
            <a:extLst>
              <a:ext uri="{FF2B5EF4-FFF2-40B4-BE49-F238E27FC236}">
                <a16:creationId xmlns:a16="http://schemas.microsoft.com/office/drawing/2014/main" id="{0BDB0118-7427-4E21-A957-126F4F41DBD2}"/>
              </a:ext>
            </a:extLst>
          </p:cNvPr>
          <p:cNvSpPr>
            <a:spLocks noGrp="1"/>
          </p:cNvSpPr>
          <p:nvPr>
            <p:ph type="body" sz="quarter" idx="43" hasCustomPrompt="1"/>
          </p:nvPr>
        </p:nvSpPr>
        <p:spPr>
          <a:xfrm>
            <a:off x="317435" y="6153423"/>
            <a:ext cx="5807313" cy="156005"/>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SOURCE:</a:t>
            </a:r>
          </a:p>
        </p:txBody>
      </p:sp>
      <p:sp>
        <p:nvSpPr>
          <p:cNvPr id="66" name="Text Placeholder 4">
            <a:extLst>
              <a:ext uri="{FF2B5EF4-FFF2-40B4-BE49-F238E27FC236}">
                <a16:creationId xmlns:a16="http://schemas.microsoft.com/office/drawing/2014/main" id="{6C8EA62F-8B42-43D6-A9E5-F42D35479292}"/>
              </a:ext>
            </a:extLst>
          </p:cNvPr>
          <p:cNvSpPr>
            <a:spLocks noGrp="1"/>
          </p:cNvSpPr>
          <p:nvPr>
            <p:ph type="body" sz="quarter" idx="52" hasCustomPrompt="1"/>
          </p:nvPr>
        </p:nvSpPr>
        <p:spPr>
          <a:xfrm>
            <a:off x="427817" y="1206076"/>
            <a:ext cx="5436986"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67" name="Text Placeholder 4">
            <a:extLst>
              <a:ext uri="{FF2B5EF4-FFF2-40B4-BE49-F238E27FC236}">
                <a16:creationId xmlns:a16="http://schemas.microsoft.com/office/drawing/2014/main" id="{6DC50A14-66A9-4B98-97B8-A3F1DF4FF175}"/>
              </a:ext>
            </a:extLst>
          </p:cNvPr>
          <p:cNvSpPr>
            <a:spLocks noGrp="1"/>
          </p:cNvSpPr>
          <p:nvPr>
            <p:ph type="body" sz="quarter" idx="54" hasCustomPrompt="1"/>
          </p:nvPr>
        </p:nvSpPr>
        <p:spPr>
          <a:xfrm>
            <a:off x="6386523" y="1206076"/>
            <a:ext cx="5436986"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3" name="Chart Placeholder 2">
            <a:extLst>
              <a:ext uri="{FF2B5EF4-FFF2-40B4-BE49-F238E27FC236}">
                <a16:creationId xmlns:a16="http://schemas.microsoft.com/office/drawing/2014/main" id="{76C04DC7-B838-4C3E-9E3F-CA39C015A2EA}"/>
              </a:ext>
            </a:extLst>
          </p:cNvPr>
          <p:cNvSpPr>
            <a:spLocks noGrp="1"/>
          </p:cNvSpPr>
          <p:nvPr>
            <p:ph type="chart" sz="quarter" idx="55"/>
          </p:nvPr>
        </p:nvSpPr>
        <p:spPr>
          <a:xfrm>
            <a:off x="489629" y="1644521"/>
            <a:ext cx="5313362" cy="1771650"/>
          </a:xfrm>
        </p:spPr>
        <p:txBody>
          <a:bodyPr anchor="ctr">
            <a:noAutofit/>
          </a:bodyPr>
          <a:lstStyle>
            <a:lvl1pPr marL="0" indent="0" algn="ctr">
              <a:buNone/>
              <a:defRPr sz="1200"/>
            </a:lvl1pPr>
          </a:lstStyle>
          <a:p>
            <a:endParaRPr lang="en-US" dirty="0"/>
          </a:p>
        </p:txBody>
      </p:sp>
      <p:sp>
        <p:nvSpPr>
          <p:cNvPr id="42" name="Chart Placeholder 2">
            <a:extLst>
              <a:ext uri="{FF2B5EF4-FFF2-40B4-BE49-F238E27FC236}">
                <a16:creationId xmlns:a16="http://schemas.microsoft.com/office/drawing/2014/main" id="{58C0507B-1350-4A9C-851C-DA37C5245E1C}"/>
              </a:ext>
            </a:extLst>
          </p:cNvPr>
          <p:cNvSpPr>
            <a:spLocks noGrp="1"/>
          </p:cNvSpPr>
          <p:nvPr>
            <p:ph type="chart" sz="quarter" idx="56"/>
          </p:nvPr>
        </p:nvSpPr>
        <p:spPr>
          <a:xfrm>
            <a:off x="6448335" y="1644521"/>
            <a:ext cx="5313362" cy="1771650"/>
          </a:xfrm>
        </p:spPr>
        <p:txBody>
          <a:bodyPr anchor="ctr">
            <a:noAutofit/>
          </a:bodyPr>
          <a:lstStyle>
            <a:lvl1pPr marL="0" indent="0" algn="ctr">
              <a:buNone/>
              <a:defRPr sz="1200"/>
            </a:lvl1pPr>
          </a:lstStyle>
          <a:p>
            <a:endParaRPr lang="en-US" dirty="0"/>
          </a:p>
        </p:txBody>
      </p:sp>
      <p:sp>
        <p:nvSpPr>
          <p:cNvPr id="43" name="Text Placeholder 4">
            <a:extLst>
              <a:ext uri="{FF2B5EF4-FFF2-40B4-BE49-F238E27FC236}">
                <a16:creationId xmlns:a16="http://schemas.microsoft.com/office/drawing/2014/main" id="{C7A16815-3C6C-4F89-999C-FCB8923CCD15}"/>
              </a:ext>
            </a:extLst>
          </p:cNvPr>
          <p:cNvSpPr>
            <a:spLocks noGrp="1"/>
          </p:cNvSpPr>
          <p:nvPr>
            <p:ph type="body" sz="quarter" idx="57" hasCustomPrompt="1"/>
          </p:nvPr>
        </p:nvSpPr>
        <p:spPr>
          <a:xfrm>
            <a:off x="427817" y="3721792"/>
            <a:ext cx="5436986"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44" name="Text Placeholder 4">
            <a:extLst>
              <a:ext uri="{FF2B5EF4-FFF2-40B4-BE49-F238E27FC236}">
                <a16:creationId xmlns:a16="http://schemas.microsoft.com/office/drawing/2014/main" id="{C2903358-012E-416C-AA7D-EF1797B2E423}"/>
              </a:ext>
            </a:extLst>
          </p:cNvPr>
          <p:cNvSpPr>
            <a:spLocks noGrp="1"/>
          </p:cNvSpPr>
          <p:nvPr>
            <p:ph type="body" sz="quarter" idx="58" hasCustomPrompt="1"/>
          </p:nvPr>
        </p:nvSpPr>
        <p:spPr>
          <a:xfrm>
            <a:off x="6386523" y="3721792"/>
            <a:ext cx="5436986"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47" name="Chart Placeholder 2">
            <a:extLst>
              <a:ext uri="{FF2B5EF4-FFF2-40B4-BE49-F238E27FC236}">
                <a16:creationId xmlns:a16="http://schemas.microsoft.com/office/drawing/2014/main" id="{D35EEEC1-F1B5-44FD-97FC-7D4E9F01876A}"/>
              </a:ext>
            </a:extLst>
          </p:cNvPr>
          <p:cNvSpPr>
            <a:spLocks noGrp="1"/>
          </p:cNvSpPr>
          <p:nvPr>
            <p:ph type="chart" sz="quarter" idx="59"/>
          </p:nvPr>
        </p:nvSpPr>
        <p:spPr>
          <a:xfrm>
            <a:off x="489629" y="4177628"/>
            <a:ext cx="5313362" cy="1771650"/>
          </a:xfrm>
        </p:spPr>
        <p:txBody>
          <a:bodyPr anchor="ctr">
            <a:noAutofit/>
          </a:bodyPr>
          <a:lstStyle>
            <a:lvl1pPr marL="0" indent="0" algn="ctr">
              <a:buNone/>
              <a:defRPr sz="1200"/>
            </a:lvl1pPr>
          </a:lstStyle>
          <a:p>
            <a:endParaRPr lang="en-US" dirty="0"/>
          </a:p>
        </p:txBody>
      </p:sp>
      <p:sp>
        <p:nvSpPr>
          <p:cNvPr id="48" name="Chart Placeholder 2">
            <a:extLst>
              <a:ext uri="{FF2B5EF4-FFF2-40B4-BE49-F238E27FC236}">
                <a16:creationId xmlns:a16="http://schemas.microsoft.com/office/drawing/2014/main" id="{563F6591-31B7-4F11-AA2A-D6F3DD32466D}"/>
              </a:ext>
            </a:extLst>
          </p:cNvPr>
          <p:cNvSpPr>
            <a:spLocks noGrp="1"/>
          </p:cNvSpPr>
          <p:nvPr>
            <p:ph type="chart" sz="quarter" idx="60"/>
          </p:nvPr>
        </p:nvSpPr>
        <p:spPr>
          <a:xfrm>
            <a:off x="6448335" y="4177628"/>
            <a:ext cx="5313362" cy="1771650"/>
          </a:xfrm>
        </p:spPr>
        <p:txBody>
          <a:bodyPr anchor="ctr">
            <a:noAutofit/>
          </a:bodyPr>
          <a:lstStyle>
            <a:lvl1pPr marL="0" indent="0" algn="ctr">
              <a:buNone/>
              <a:defRPr sz="1200"/>
            </a:lvl1pPr>
          </a:lstStyle>
          <a:p>
            <a:endParaRPr lang="en-US" dirty="0"/>
          </a:p>
        </p:txBody>
      </p:sp>
      <p:sp>
        <p:nvSpPr>
          <p:cNvPr id="26" name="Text Placeholder 4">
            <a:extLst>
              <a:ext uri="{FF2B5EF4-FFF2-40B4-BE49-F238E27FC236}">
                <a16:creationId xmlns:a16="http://schemas.microsoft.com/office/drawing/2014/main" id="{B7DC1790-B5F5-45D2-9E56-A944B930D48B}"/>
              </a:ext>
            </a:extLst>
          </p:cNvPr>
          <p:cNvSpPr>
            <a:spLocks noGrp="1"/>
          </p:cNvSpPr>
          <p:nvPr>
            <p:ph type="body" sz="quarter" idx="61" hasCustomPrompt="1"/>
          </p:nvPr>
        </p:nvSpPr>
        <p:spPr>
          <a:xfrm>
            <a:off x="427817" y="1426257"/>
            <a:ext cx="5436986"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a:t>UoM</a:t>
            </a:r>
          </a:p>
        </p:txBody>
      </p:sp>
      <p:sp>
        <p:nvSpPr>
          <p:cNvPr id="27" name="Text Placeholder 4">
            <a:extLst>
              <a:ext uri="{FF2B5EF4-FFF2-40B4-BE49-F238E27FC236}">
                <a16:creationId xmlns:a16="http://schemas.microsoft.com/office/drawing/2014/main" id="{B1A92360-F450-4053-A182-89E667153AFA}"/>
              </a:ext>
            </a:extLst>
          </p:cNvPr>
          <p:cNvSpPr>
            <a:spLocks noGrp="1"/>
          </p:cNvSpPr>
          <p:nvPr>
            <p:ph type="body" sz="quarter" idx="62" hasCustomPrompt="1"/>
          </p:nvPr>
        </p:nvSpPr>
        <p:spPr>
          <a:xfrm>
            <a:off x="6386523" y="1426257"/>
            <a:ext cx="5436986"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a:t>UoM</a:t>
            </a:r>
          </a:p>
        </p:txBody>
      </p:sp>
      <p:sp>
        <p:nvSpPr>
          <p:cNvPr id="28" name="Text Placeholder 4">
            <a:extLst>
              <a:ext uri="{FF2B5EF4-FFF2-40B4-BE49-F238E27FC236}">
                <a16:creationId xmlns:a16="http://schemas.microsoft.com/office/drawing/2014/main" id="{39EBB18D-825F-4173-9F43-B3732C662201}"/>
              </a:ext>
            </a:extLst>
          </p:cNvPr>
          <p:cNvSpPr>
            <a:spLocks noGrp="1"/>
          </p:cNvSpPr>
          <p:nvPr>
            <p:ph type="body" sz="quarter" idx="63" hasCustomPrompt="1"/>
          </p:nvPr>
        </p:nvSpPr>
        <p:spPr>
          <a:xfrm>
            <a:off x="427817" y="3924718"/>
            <a:ext cx="5436986"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a:t>UoM</a:t>
            </a:r>
          </a:p>
        </p:txBody>
      </p:sp>
      <p:sp>
        <p:nvSpPr>
          <p:cNvPr id="29" name="Text Placeholder 4">
            <a:extLst>
              <a:ext uri="{FF2B5EF4-FFF2-40B4-BE49-F238E27FC236}">
                <a16:creationId xmlns:a16="http://schemas.microsoft.com/office/drawing/2014/main" id="{2920522A-0816-4A52-855D-B17132F16D9E}"/>
              </a:ext>
            </a:extLst>
          </p:cNvPr>
          <p:cNvSpPr>
            <a:spLocks noGrp="1"/>
          </p:cNvSpPr>
          <p:nvPr>
            <p:ph type="body" sz="quarter" idx="64" hasCustomPrompt="1"/>
          </p:nvPr>
        </p:nvSpPr>
        <p:spPr>
          <a:xfrm>
            <a:off x="6386523" y="3924718"/>
            <a:ext cx="5436986"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a:t>UoM</a:t>
            </a:r>
          </a:p>
        </p:txBody>
      </p:sp>
    </p:spTree>
    <p:extLst>
      <p:ext uri="{BB962C8B-B14F-4D97-AF65-F5344CB8AC3E}">
        <p14:creationId xmlns:p14="http://schemas.microsoft.com/office/powerpoint/2010/main" val="453356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621920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6" name="Rectangle 25">
            <a:extLst>
              <a:ext uri="{FF2B5EF4-FFF2-40B4-BE49-F238E27FC236}">
                <a16:creationId xmlns:a16="http://schemas.microsoft.com/office/drawing/2014/main" id="{B24C0359-26C9-46F0-AF46-EBF0D3B207DB}"/>
              </a:ext>
            </a:extLst>
          </p:cNvPr>
          <p:cNvSpPr/>
          <p:nvPr userDrawn="1"/>
        </p:nvSpPr>
        <p:spPr>
          <a:xfrm>
            <a:off x="7162800" y="1210090"/>
            <a:ext cx="4682209" cy="2417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691B9773-5E81-4C5C-A45D-3958155A7EE3}"/>
              </a:ext>
            </a:extLst>
          </p:cNvPr>
          <p:cNvSpPr/>
          <p:nvPr userDrawn="1"/>
        </p:nvSpPr>
        <p:spPr>
          <a:xfrm>
            <a:off x="7162800" y="3805196"/>
            <a:ext cx="4682209" cy="24178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p:nvPr>
        </p:nvSpPr>
        <p:spPr>
          <a:xfrm>
            <a:off x="346991" y="1210090"/>
            <a:ext cx="6523709"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8" name="Chart Placeholder 7">
            <a:extLst>
              <a:ext uri="{FF2B5EF4-FFF2-40B4-BE49-F238E27FC236}">
                <a16:creationId xmlns:a16="http://schemas.microsoft.com/office/drawing/2014/main" id="{4843FD1E-EAB7-4175-9B78-9D5C111E34A4}"/>
              </a:ext>
            </a:extLst>
          </p:cNvPr>
          <p:cNvSpPr>
            <a:spLocks noGrp="1"/>
          </p:cNvSpPr>
          <p:nvPr>
            <p:ph type="chart" sz="quarter" idx="45"/>
          </p:nvPr>
        </p:nvSpPr>
        <p:spPr>
          <a:xfrm>
            <a:off x="7294104" y="1827864"/>
            <a:ext cx="4419600" cy="1614913"/>
          </a:xfrm>
        </p:spPr>
        <p:txBody>
          <a:bodyPr anchor="ctr">
            <a:noAutofit/>
          </a:bodyPr>
          <a:lstStyle>
            <a:lvl1pPr marL="0" indent="0" algn="ctr">
              <a:buNone/>
              <a:defRPr sz="1200"/>
            </a:lvl1pPr>
          </a:lstStyle>
          <a:p>
            <a:endParaRPr lang="en-US" dirty="0"/>
          </a:p>
        </p:txBody>
      </p:sp>
      <p:sp>
        <p:nvSpPr>
          <p:cNvPr id="32" name="Chart Placeholder 7">
            <a:extLst>
              <a:ext uri="{FF2B5EF4-FFF2-40B4-BE49-F238E27FC236}">
                <a16:creationId xmlns:a16="http://schemas.microsoft.com/office/drawing/2014/main" id="{53C82788-EEA6-4C05-BA63-0CDDBAAB63B0}"/>
              </a:ext>
            </a:extLst>
          </p:cNvPr>
          <p:cNvSpPr>
            <a:spLocks noGrp="1"/>
          </p:cNvSpPr>
          <p:nvPr>
            <p:ph type="chart" sz="quarter" idx="46"/>
          </p:nvPr>
        </p:nvSpPr>
        <p:spPr>
          <a:xfrm>
            <a:off x="7294104" y="4402401"/>
            <a:ext cx="4419600" cy="1635481"/>
          </a:xfrm>
        </p:spPr>
        <p:txBody>
          <a:bodyPr anchor="ctr">
            <a:noAutofit/>
          </a:bodyPr>
          <a:lstStyle>
            <a:lvl1pPr marL="0" indent="0" algn="ctr">
              <a:buNone/>
              <a:defRPr sz="1200"/>
            </a:lvl1pPr>
          </a:lstStyle>
          <a:p>
            <a:endParaRPr lang="en-US" dirty="0"/>
          </a:p>
        </p:txBody>
      </p:sp>
      <p:sp>
        <p:nvSpPr>
          <p:cNvPr id="19" name="Text Placeholder 4">
            <a:extLst>
              <a:ext uri="{FF2B5EF4-FFF2-40B4-BE49-F238E27FC236}">
                <a16:creationId xmlns:a16="http://schemas.microsoft.com/office/drawing/2014/main" id="{2CF480B4-1900-41E4-9606-29AF50B144C4}"/>
              </a:ext>
            </a:extLst>
          </p:cNvPr>
          <p:cNvSpPr>
            <a:spLocks noGrp="1"/>
          </p:cNvSpPr>
          <p:nvPr>
            <p:ph type="body" sz="quarter" idx="49" hasCustomPrompt="1"/>
          </p:nvPr>
        </p:nvSpPr>
        <p:spPr>
          <a:xfrm>
            <a:off x="7294103" y="1349479"/>
            <a:ext cx="4419601"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0" name="Text Placeholder 4">
            <a:extLst>
              <a:ext uri="{FF2B5EF4-FFF2-40B4-BE49-F238E27FC236}">
                <a16:creationId xmlns:a16="http://schemas.microsoft.com/office/drawing/2014/main" id="{9DB86BD3-0B02-4434-9CE0-6EBB5594ED2F}"/>
              </a:ext>
            </a:extLst>
          </p:cNvPr>
          <p:cNvSpPr>
            <a:spLocks noGrp="1"/>
          </p:cNvSpPr>
          <p:nvPr>
            <p:ph type="body" sz="quarter" idx="50" hasCustomPrompt="1"/>
          </p:nvPr>
        </p:nvSpPr>
        <p:spPr>
          <a:xfrm>
            <a:off x="7294103" y="1547405"/>
            <a:ext cx="4419601"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1" name="Text Placeholder 4">
            <a:extLst>
              <a:ext uri="{FF2B5EF4-FFF2-40B4-BE49-F238E27FC236}">
                <a16:creationId xmlns:a16="http://schemas.microsoft.com/office/drawing/2014/main" id="{FFA88574-3556-4348-9C62-28B6A9DC5647}"/>
              </a:ext>
            </a:extLst>
          </p:cNvPr>
          <p:cNvSpPr>
            <a:spLocks noGrp="1"/>
          </p:cNvSpPr>
          <p:nvPr>
            <p:ph type="body" sz="quarter" idx="51" hasCustomPrompt="1"/>
          </p:nvPr>
        </p:nvSpPr>
        <p:spPr>
          <a:xfrm>
            <a:off x="7294103" y="3924016"/>
            <a:ext cx="4419601"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2" name="Text Placeholder 4">
            <a:extLst>
              <a:ext uri="{FF2B5EF4-FFF2-40B4-BE49-F238E27FC236}">
                <a16:creationId xmlns:a16="http://schemas.microsoft.com/office/drawing/2014/main" id="{FC9220C3-7988-4687-A197-8A30C9D0D280}"/>
              </a:ext>
            </a:extLst>
          </p:cNvPr>
          <p:cNvSpPr>
            <a:spLocks noGrp="1"/>
          </p:cNvSpPr>
          <p:nvPr>
            <p:ph type="body" sz="quarter" idx="52" hasCustomPrompt="1"/>
          </p:nvPr>
        </p:nvSpPr>
        <p:spPr>
          <a:xfrm>
            <a:off x="7294103" y="4121942"/>
            <a:ext cx="4419601"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1409391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761684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p:nvPr>
        </p:nvSpPr>
        <p:spPr>
          <a:xfrm>
            <a:off x="4328160" y="1210090"/>
            <a:ext cx="7516849"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3" name="Picture Placeholder 2">
            <a:extLst>
              <a:ext uri="{FF2B5EF4-FFF2-40B4-BE49-F238E27FC236}">
                <a16:creationId xmlns:a16="http://schemas.microsoft.com/office/drawing/2014/main" id="{D86A916E-0F45-43F9-889E-0924ABACB0F1}"/>
              </a:ext>
            </a:extLst>
          </p:cNvPr>
          <p:cNvSpPr>
            <a:spLocks noGrp="1"/>
          </p:cNvSpPr>
          <p:nvPr>
            <p:ph type="pic" sz="quarter" idx="45"/>
          </p:nvPr>
        </p:nvSpPr>
        <p:spPr>
          <a:xfrm>
            <a:off x="249425" y="1201188"/>
            <a:ext cx="3903475" cy="5050870"/>
          </a:xfrm>
        </p:spPr>
        <p:txBody>
          <a:bodyPr lIns="0" tIns="0" rIns="0" bIns="0"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2339799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3693E1-4C42-4E59-9AC9-51D992DF08C3}"/>
              </a:ext>
            </a:extLst>
          </p:cNvPr>
          <p:cNvSpPr>
            <a:spLocks noGrp="1"/>
          </p:cNvSpPr>
          <p:nvPr>
            <p:ph idx="1" hasCustomPrompt="1"/>
          </p:nvPr>
        </p:nvSpPr>
        <p:spPr>
          <a:xfrm>
            <a:off x="497529" y="470679"/>
            <a:ext cx="11322995" cy="249299"/>
          </a:xfrm>
        </p:spPr>
        <p:txBody>
          <a:bodyPr wrap="square" lIns="0" tIns="0" rIns="0" bIns="0">
            <a:spAutoFit/>
          </a:bodyPr>
          <a:lstStyle>
            <a:lvl1pPr marL="0" indent="0" algn="l" defTabSz="914400" rtl="0" eaLnBrk="1" latinLnBrk="0" hangingPunct="1">
              <a:lnSpc>
                <a:spcPct val="90000"/>
              </a:lnSpc>
              <a:spcBef>
                <a:spcPct val="0"/>
              </a:spcBef>
              <a:buClr>
                <a:schemeClr val="accent2"/>
              </a:buClr>
              <a:buFont typeface="Lato" panose="020F0502020204030203" pitchFamily="34" charset="0"/>
              <a:buNone/>
              <a:defRPr lang="en-US" sz="1800" b="1" kern="1200" cap="all" baseline="0" dirty="0" smtClean="0">
                <a:solidFill>
                  <a:schemeClr val="accent3"/>
                </a:solidFill>
                <a:latin typeface="Lato Black" panose="020F0502020204030203" pitchFamily="34" charset="0"/>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19" name="Content Placeholder 2">
            <a:extLst>
              <a:ext uri="{FF2B5EF4-FFF2-40B4-BE49-F238E27FC236}">
                <a16:creationId xmlns:a16="http://schemas.microsoft.com/office/drawing/2014/main" id="{99F4478A-FBBF-451C-B4F5-55D0AF5563A9}"/>
              </a:ext>
            </a:extLst>
          </p:cNvPr>
          <p:cNvSpPr>
            <a:spLocks noGrp="1"/>
          </p:cNvSpPr>
          <p:nvPr>
            <p:ph idx="13" hasCustomPrompt="1"/>
          </p:nvPr>
        </p:nvSpPr>
        <p:spPr>
          <a:xfrm>
            <a:off x="497529" y="799859"/>
            <a:ext cx="11322995" cy="218393"/>
          </a:xfrm>
        </p:spPr>
        <p:txBody>
          <a:bodyPr wrap="square" lIns="0" tIns="0" rIns="0" bIns="0">
            <a:spAutoFit/>
          </a:bodyPr>
          <a:lstStyle>
            <a:lvl1pPr marL="0" indent="0">
              <a:lnSpc>
                <a:spcPct val="110000"/>
              </a:lnSpc>
              <a:buClr>
                <a:schemeClr val="accent2"/>
              </a:buClr>
              <a:buFont typeface="Lato" panose="020F0502020204030203" pitchFamily="34" charset="0"/>
              <a:buNone/>
              <a:defRPr lang="en-US" sz="1400" kern="1200" dirty="0" smtClean="0">
                <a:solidFill>
                  <a:schemeClr val="tx1"/>
                </a:solidFill>
                <a:latin typeface="+mn-lt"/>
                <a:ea typeface="+mn-ea"/>
                <a:cs typeface="+mn-cs"/>
              </a:defRPr>
            </a:lvl1pPr>
            <a:lvl2pPr marL="685800" indent="-228600">
              <a:buClr>
                <a:schemeClr val="accent2"/>
              </a:buClr>
              <a:buFont typeface="Open Sans Light" panose="020B0306030504020204" pitchFamily="34" charset="0"/>
              <a:buChar char="−"/>
              <a:defRPr lang="en-US" sz="1400" kern="1200" dirty="0" smtClean="0">
                <a:solidFill>
                  <a:schemeClr val="tx1"/>
                </a:solidFill>
                <a:latin typeface="+mn-lt"/>
                <a:ea typeface="+mn-ea"/>
                <a:cs typeface="+mn-cs"/>
              </a:defRPr>
            </a:lvl2pPr>
            <a:lvl3pPr marL="1143000" indent="-228600">
              <a:buClr>
                <a:schemeClr val="accent2"/>
              </a:buClr>
              <a:buSzPct val="74000"/>
              <a:buFont typeface="Courier New" panose="02070309020205020404" pitchFamily="49" charset="0"/>
              <a:buChar char="o"/>
              <a:defRPr lang="en-US" sz="1400" kern="1200" dirty="0">
                <a:solidFill>
                  <a:schemeClr val="tx1"/>
                </a:solidFill>
                <a:latin typeface="+mn-lt"/>
                <a:ea typeface="+mn-ea"/>
                <a:cs typeface="+mn-cs"/>
              </a:defRPr>
            </a:lvl3pPr>
          </a:lstStyle>
          <a:p>
            <a:pPr lvl="0"/>
            <a:r>
              <a:rPr lang="en-US"/>
              <a:t>Edit Master text styles</a:t>
            </a:r>
          </a:p>
        </p:txBody>
      </p:sp>
      <p:sp>
        <p:nvSpPr>
          <p:cNvPr id="20" name="Content Placeholder 2">
            <a:extLst>
              <a:ext uri="{FF2B5EF4-FFF2-40B4-BE49-F238E27FC236}">
                <a16:creationId xmlns:a16="http://schemas.microsoft.com/office/drawing/2014/main" id="{ACB2CFAC-A518-48F4-9CD1-4C4555C659B7}"/>
              </a:ext>
            </a:extLst>
          </p:cNvPr>
          <p:cNvSpPr>
            <a:spLocks noGrp="1"/>
          </p:cNvSpPr>
          <p:nvPr>
            <p:ph idx="14" hasCustomPrompt="1"/>
          </p:nvPr>
        </p:nvSpPr>
        <p:spPr>
          <a:xfrm>
            <a:off x="497529" y="2847420"/>
            <a:ext cx="11322995" cy="249299"/>
          </a:xfrm>
        </p:spPr>
        <p:txBody>
          <a:bodyPr wrap="square" lIns="0" tIns="0" rIns="0" bIns="0">
            <a:spAutoFit/>
          </a:bodyPr>
          <a:lstStyle>
            <a:lvl1pPr marL="0" indent="0" algn="l" defTabSz="914400" rtl="0" eaLnBrk="1" latinLnBrk="0" hangingPunct="1">
              <a:lnSpc>
                <a:spcPct val="90000"/>
              </a:lnSpc>
              <a:spcBef>
                <a:spcPct val="0"/>
              </a:spcBef>
              <a:buClr>
                <a:schemeClr val="accent2"/>
              </a:buClr>
              <a:buFont typeface="Lato" panose="020F0502020204030203" pitchFamily="34" charset="0"/>
              <a:buNone/>
              <a:defRPr lang="en-US" sz="1800" b="1" kern="1200" cap="all" baseline="0" dirty="0" smtClean="0">
                <a:solidFill>
                  <a:schemeClr val="accent3"/>
                </a:solidFill>
                <a:latin typeface="Lato Black" panose="020F0502020204030203" pitchFamily="34" charset="0"/>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21" name="Content Placeholder 2">
            <a:extLst>
              <a:ext uri="{FF2B5EF4-FFF2-40B4-BE49-F238E27FC236}">
                <a16:creationId xmlns:a16="http://schemas.microsoft.com/office/drawing/2014/main" id="{008EE8D5-6614-4A14-803D-DF9CF2D26AF6}"/>
              </a:ext>
            </a:extLst>
          </p:cNvPr>
          <p:cNvSpPr>
            <a:spLocks noGrp="1"/>
          </p:cNvSpPr>
          <p:nvPr>
            <p:ph idx="15" hasCustomPrompt="1"/>
          </p:nvPr>
        </p:nvSpPr>
        <p:spPr>
          <a:xfrm>
            <a:off x="497529" y="3176600"/>
            <a:ext cx="11322995" cy="218393"/>
          </a:xfrm>
        </p:spPr>
        <p:txBody>
          <a:bodyPr wrap="square" lIns="0" tIns="0" rIns="0" bIns="0">
            <a:spAutoFit/>
          </a:bodyPr>
          <a:lstStyle>
            <a:lvl1pPr marL="0" indent="0">
              <a:lnSpc>
                <a:spcPct val="110000"/>
              </a:lnSpc>
              <a:buClr>
                <a:schemeClr val="accent2"/>
              </a:buClr>
              <a:buFont typeface="Lato" panose="020F0502020204030203" pitchFamily="34" charset="0"/>
              <a:buNone/>
              <a:defRPr lang="en-US" sz="1400" kern="1200" dirty="0" smtClean="0">
                <a:solidFill>
                  <a:schemeClr val="tx1"/>
                </a:solidFill>
                <a:latin typeface="+mn-lt"/>
                <a:ea typeface="+mn-ea"/>
                <a:cs typeface="+mn-cs"/>
              </a:defRPr>
            </a:lvl1pPr>
            <a:lvl2pPr marL="685800" indent="-228600">
              <a:buClr>
                <a:schemeClr val="accent2"/>
              </a:buClr>
              <a:buFont typeface="Open Sans Light" panose="020B0306030504020204" pitchFamily="34" charset="0"/>
              <a:buChar char="−"/>
              <a:defRPr lang="en-US" sz="1400" kern="1200" dirty="0" smtClean="0">
                <a:solidFill>
                  <a:schemeClr val="tx1"/>
                </a:solidFill>
                <a:latin typeface="+mn-lt"/>
                <a:ea typeface="+mn-ea"/>
                <a:cs typeface="+mn-cs"/>
              </a:defRPr>
            </a:lvl2pPr>
            <a:lvl3pPr marL="1143000" indent="-228600">
              <a:buClr>
                <a:schemeClr val="accent2"/>
              </a:buClr>
              <a:buSzPct val="74000"/>
              <a:buFont typeface="Courier New" panose="02070309020205020404" pitchFamily="49" charset="0"/>
              <a:buChar char="o"/>
              <a:defRPr lang="en-US" sz="1400" kern="1200" dirty="0">
                <a:solidFill>
                  <a:schemeClr val="tx1"/>
                </a:solidFill>
                <a:latin typeface="+mn-lt"/>
                <a:ea typeface="+mn-ea"/>
                <a:cs typeface="+mn-cs"/>
              </a:defRPr>
            </a:lvl3pPr>
          </a:lstStyle>
          <a:p>
            <a:pPr lvl="0"/>
            <a:r>
              <a:rPr lang="en-US"/>
              <a:t>Edit Master text styles</a:t>
            </a:r>
          </a:p>
        </p:txBody>
      </p:sp>
      <p:sp>
        <p:nvSpPr>
          <p:cNvPr id="2" name="Footer Placeholder 1">
            <a:extLst>
              <a:ext uri="{FF2B5EF4-FFF2-40B4-BE49-F238E27FC236}">
                <a16:creationId xmlns:a16="http://schemas.microsoft.com/office/drawing/2014/main" id="{656C96DB-395C-4E98-8C85-645C894203A3}"/>
              </a:ext>
            </a:extLst>
          </p:cNvPr>
          <p:cNvSpPr>
            <a:spLocks noGrp="1"/>
          </p:cNvSpPr>
          <p:nvPr>
            <p:ph type="ftr" sz="quarter" idx="16"/>
          </p:nvPr>
        </p:nvSpPr>
        <p:spPr>
          <a:xfrm>
            <a:off x="4038600" y="6356350"/>
            <a:ext cx="4114800" cy="422511"/>
          </a:xfrm>
          <a:prstGeom prst="rect">
            <a:avLst/>
          </a:prstGeom>
        </p:spPr>
        <p:txBody>
          <a:bodyPr/>
          <a:lstStyle>
            <a:lvl1pPr>
              <a:defRPr sz="1000">
                <a:solidFill>
                  <a:schemeClr val="accent2">
                    <a:lumMod val="75000"/>
                  </a:schemeClr>
                </a:solidFill>
              </a:defRPr>
            </a:lvl1pPr>
          </a:lstStyle>
          <a:p>
            <a:endParaRPr lang="en-IN" dirty="0"/>
          </a:p>
        </p:txBody>
      </p:sp>
    </p:spTree>
    <p:extLst>
      <p:ext uri="{BB962C8B-B14F-4D97-AF65-F5344CB8AC3E}">
        <p14:creationId xmlns:p14="http://schemas.microsoft.com/office/powerpoint/2010/main" val="34614331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354877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Slide Number Placeholder 5">
            <a:extLst>
              <a:ext uri="{FF2B5EF4-FFF2-40B4-BE49-F238E27FC236}">
                <a16:creationId xmlns:a16="http://schemas.microsoft.com/office/drawing/2014/main" id="{031FAEBF-9FE1-496B-9F6E-AA89901DFA71}"/>
              </a:ext>
            </a:extLst>
          </p:cNvPr>
          <p:cNvSpPr txBox="1">
            <a:spLocks/>
          </p:cNvSpPr>
          <p:nvPr userDrawn="1"/>
        </p:nvSpPr>
        <p:spPr>
          <a:xfrm>
            <a:off x="211667" y="6583712"/>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EAEB50-A066-45AB-BA9F-ED56D3A46F93}" type="slidenum">
              <a:rPr lang="fr-FR" smtClean="0"/>
              <a:pPr/>
              <a:t>‹#›</a:t>
            </a:fld>
            <a:endParaRPr lang="fr-FR" dirty="0"/>
          </a:p>
        </p:txBody>
      </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4603747" y="386899"/>
            <a:ext cx="7254876"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hasCustomPrompt="1"/>
          </p:nvPr>
        </p:nvSpPr>
        <p:spPr>
          <a:xfrm>
            <a:off x="4603747" y="174600"/>
            <a:ext cx="7254876" cy="124650"/>
          </a:xfrm>
        </p:spPr>
        <p:txBody>
          <a:bodyPr>
            <a:spAutoFit/>
          </a:bodyPr>
          <a:lstStyle>
            <a:lvl1pPr marL="0" indent="0">
              <a:buNone/>
              <a:defRPr sz="900" b="1" cap="all" baseline="0">
                <a:solidFill>
                  <a:schemeClr val="bg1">
                    <a:lumMod val="50000"/>
                  </a:schemeClr>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p:nvPr>
        </p:nvSpPr>
        <p:spPr>
          <a:xfrm>
            <a:off x="4603747" y="872057"/>
            <a:ext cx="7254876"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7" name="Freeform: Shape 16">
            <a:extLst>
              <a:ext uri="{FF2B5EF4-FFF2-40B4-BE49-F238E27FC236}">
                <a16:creationId xmlns:a16="http://schemas.microsoft.com/office/drawing/2014/main" id="{67824F85-AC10-496D-94EB-9E7C19EB18CE}"/>
              </a:ext>
            </a:extLst>
          </p:cNvPr>
          <p:cNvSpPr/>
          <p:nvPr userDrawn="1"/>
        </p:nvSpPr>
        <p:spPr>
          <a:xfrm>
            <a:off x="2" y="-1"/>
            <a:ext cx="4968393" cy="6858001"/>
          </a:xfrm>
          <a:custGeom>
            <a:avLst/>
            <a:gdLst>
              <a:gd name="connsiteX0" fmla="*/ 0 w 4968393"/>
              <a:gd name="connsiteY0" fmla="*/ 0 h 6858001"/>
              <a:gd name="connsiteX1" fmla="*/ 549987 w 4968393"/>
              <a:gd name="connsiteY1" fmla="*/ 0 h 6858001"/>
              <a:gd name="connsiteX2" fmla="*/ 4968393 w 4968393"/>
              <a:gd name="connsiteY2" fmla="*/ 6858001 h 6858001"/>
              <a:gd name="connsiteX3" fmla="*/ 0 w 4968393"/>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4968393" h="6858001">
                <a:moveTo>
                  <a:pt x="0" y="0"/>
                </a:moveTo>
                <a:lnTo>
                  <a:pt x="549987" y="0"/>
                </a:lnTo>
                <a:lnTo>
                  <a:pt x="4968393" y="6858001"/>
                </a:lnTo>
                <a:lnTo>
                  <a:pt x="0" y="6858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Shape 17">
            <a:extLst>
              <a:ext uri="{FF2B5EF4-FFF2-40B4-BE49-F238E27FC236}">
                <a16:creationId xmlns:a16="http://schemas.microsoft.com/office/drawing/2014/main" id="{11A538A1-D4CB-475B-AB1C-7A1EAC7840BA}"/>
              </a:ext>
            </a:extLst>
          </p:cNvPr>
          <p:cNvSpPr/>
          <p:nvPr userDrawn="1"/>
        </p:nvSpPr>
        <p:spPr>
          <a:xfrm flipV="1">
            <a:off x="592584"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993298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693140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pic>
        <p:nvPicPr>
          <p:cNvPr id="12" name="Picture 11">
            <a:extLst>
              <a:ext uri="{FF2B5EF4-FFF2-40B4-BE49-F238E27FC236}">
                <a16:creationId xmlns:a16="http://schemas.microsoft.com/office/drawing/2014/main" id="{FB8778DD-D1A0-4026-B80C-7CCCCC97AF54}"/>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26379" t="1316" b="1316"/>
          <a:stretch/>
        </p:blipFill>
        <p:spPr>
          <a:xfrm>
            <a:off x="2260601" y="0"/>
            <a:ext cx="5457723" cy="6858000"/>
          </a:xfrm>
          <a:custGeom>
            <a:avLst/>
            <a:gdLst>
              <a:gd name="connsiteX0" fmla="*/ 1604994 w 5457723"/>
              <a:gd name="connsiteY0" fmla="*/ 0 h 6858000"/>
              <a:gd name="connsiteX1" fmla="*/ 5457723 w 5457723"/>
              <a:gd name="connsiteY1" fmla="*/ 0 h 6858000"/>
              <a:gd name="connsiteX2" fmla="*/ 5457723 w 5457723"/>
              <a:gd name="connsiteY2" fmla="*/ 6858000 h 6858000"/>
              <a:gd name="connsiteX3" fmla="*/ 2776479 w 5457723"/>
              <a:gd name="connsiteY3" fmla="*/ 6858000 h 6858000"/>
              <a:gd name="connsiteX4" fmla="*/ 0 w 5457723"/>
              <a:gd name="connsiteY4" fmla="*/ 25781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7723" h="6858000">
                <a:moveTo>
                  <a:pt x="1604994" y="0"/>
                </a:moveTo>
                <a:lnTo>
                  <a:pt x="5457723" y="0"/>
                </a:lnTo>
                <a:lnTo>
                  <a:pt x="5457723" y="6858000"/>
                </a:lnTo>
                <a:lnTo>
                  <a:pt x="2776479" y="6858000"/>
                </a:lnTo>
                <a:lnTo>
                  <a:pt x="0" y="2578100"/>
                </a:lnTo>
                <a:close/>
              </a:path>
            </a:pathLst>
          </a:custGeom>
        </p:spPr>
      </p:pic>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8013697" y="386899"/>
            <a:ext cx="3847803"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Slide title</a:t>
            </a:r>
            <a:endParaRPr lang="fr-F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p:nvPr>
        </p:nvSpPr>
        <p:spPr>
          <a:xfrm>
            <a:off x="8013697" y="874658"/>
            <a:ext cx="3847803"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7" name="Freeform: Shape 16">
            <a:extLst>
              <a:ext uri="{FF2B5EF4-FFF2-40B4-BE49-F238E27FC236}">
                <a16:creationId xmlns:a16="http://schemas.microsoft.com/office/drawing/2014/main" id="{67824F85-AC10-496D-94EB-9E7C19EB18CE}"/>
              </a:ext>
            </a:extLst>
          </p:cNvPr>
          <p:cNvSpPr/>
          <p:nvPr userDrawn="1"/>
        </p:nvSpPr>
        <p:spPr>
          <a:xfrm>
            <a:off x="2" y="-1"/>
            <a:ext cx="4968393" cy="6858001"/>
          </a:xfrm>
          <a:custGeom>
            <a:avLst/>
            <a:gdLst>
              <a:gd name="connsiteX0" fmla="*/ 0 w 4968393"/>
              <a:gd name="connsiteY0" fmla="*/ 0 h 6858001"/>
              <a:gd name="connsiteX1" fmla="*/ 549987 w 4968393"/>
              <a:gd name="connsiteY1" fmla="*/ 0 h 6858001"/>
              <a:gd name="connsiteX2" fmla="*/ 4968393 w 4968393"/>
              <a:gd name="connsiteY2" fmla="*/ 6858001 h 6858001"/>
              <a:gd name="connsiteX3" fmla="*/ 0 w 4968393"/>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4968393" h="6858001">
                <a:moveTo>
                  <a:pt x="0" y="0"/>
                </a:moveTo>
                <a:lnTo>
                  <a:pt x="549987" y="0"/>
                </a:lnTo>
                <a:lnTo>
                  <a:pt x="4968393" y="6858001"/>
                </a:lnTo>
                <a:lnTo>
                  <a:pt x="0" y="6858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Shape 17">
            <a:extLst>
              <a:ext uri="{FF2B5EF4-FFF2-40B4-BE49-F238E27FC236}">
                <a16:creationId xmlns:a16="http://schemas.microsoft.com/office/drawing/2014/main" id="{11A538A1-D4CB-475B-AB1C-7A1EAC7840BA}"/>
              </a:ext>
            </a:extLst>
          </p:cNvPr>
          <p:cNvSpPr/>
          <p:nvPr userDrawn="1"/>
        </p:nvSpPr>
        <p:spPr>
          <a:xfrm flipV="1">
            <a:off x="592584"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Text Placeholder 3">
            <a:extLst>
              <a:ext uri="{FF2B5EF4-FFF2-40B4-BE49-F238E27FC236}">
                <a16:creationId xmlns:a16="http://schemas.microsoft.com/office/drawing/2014/main" id="{AF224BEB-9342-45E9-A5F1-682529C98D07}"/>
              </a:ext>
            </a:extLst>
          </p:cNvPr>
          <p:cNvSpPr>
            <a:spLocks noGrp="1"/>
          </p:cNvSpPr>
          <p:nvPr>
            <p:ph type="body" sz="quarter" idx="45" hasCustomPrompt="1"/>
          </p:nvPr>
        </p:nvSpPr>
        <p:spPr>
          <a:xfrm>
            <a:off x="8013697" y="174600"/>
            <a:ext cx="3847803" cy="124650"/>
          </a:xfrm>
        </p:spPr>
        <p:txBody>
          <a:bodyPr>
            <a:spAutoFit/>
          </a:bodyPr>
          <a:lstStyle>
            <a:lvl1pPr marL="0" indent="0">
              <a:buNone/>
              <a:defRPr sz="900" b="1" cap="all" baseline="0">
                <a:solidFill>
                  <a:schemeClr val="bg1">
                    <a:lumMod val="50000"/>
                  </a:schemeClr>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Tree>
    <p:extLst>
      <p:ext uri="{BB962C8B-B14F-4D97-AF65-F5344CB8AC3E}">
        <p14:creationId xmlns:p14="http://schemas.microsoft.com/office/powerpoint/2010/main" val="583293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198966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pic>
        <p:nvPicPr>
          <p:cNvPr id="12" name="Picture 11">
            <a:extLst>
              <a:ext uri="{FF2B5EF4-FFF2-40B4-BE49-F238E27FC236}">
                <a16:creationId xmlns:a16="http://schemas.microsoft.com/office/drawing/2014/main" id="{FB8778DD-D1A0-4026-B80C-7CCCCC97AF54}"/>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630" b="9426"/>
          <a:stretch/>
        </p:blipFill>
        <p:spPr>
          <a:xfrm>
            <a:off x="-1" y="0"/>
            <a:ext cx="6096000" cy="6858000"/>
          </a:xfrm>
          <a:prstGeom prst="rect">
            <a:avLst/>
          </a:prstGeom>
        </p:spPr>
      </p:pic>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6318247" y="386899"/>
            <a:ext cx="5549901"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Slide title</a:t>
            </a:r>
            <a:endParaRPr lang="fr-F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p:nvPr>
        </p:nvSpPr>
        <p:spPr>
          <a:xfrm>
            <a:off x="6318247" y="883782"/>
            <a:ext cx="5549901"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7" name="Freeform: Shape 16">
            <a:extLst>
              <a:ext uri="{FF2B5EF4-FFF2-40B4-BE49-F238E27FC236}">
                <a16:creationId xmlns:a16="http://schemas.microsoft.com/office/drawing/2014/main" id="{67824F85-AC10-496D-94EB-9E7C19EB18CE}"/>
              </a:ext>
            </a:extLst>
          </p:cNvPr>
          <p:cNvSpPr/>
          <p:nvPr userDrawn="1"/>
        </p:nvSpPr>
        <p:spPr>
          <a:xfrm>
            <a:off x="2" y="-1"/>
            <a:ext cx="4968393" cy="6858001"/>
          </a:xfrm>
          <a:custGeom>
            <a:avLst/>
            <a:gdLst>
              <a:gd name="connsiteX0" fmla="*/ 0 w 4968393"/>
              <a:gd name="connsiteY0" fmla="*/ 0 h 6858001"/>
              <a:gd name="connsiteX1" fmla="*/ 549987 w 4968393"/>
              <a:gd name="connsiteY1" fmla="*/ 0 h 6858001"/>
              <a:gd name="connsiteX2" fmla="*/ 4968393 w 4968393"/>
              <a:gd name="connsiteY2" fmla="*/ 6858001 h 6858001"/>
              <a:gd name="connsiteX3" fmla="*/ 0 w 4968393"/>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4968393" h="6858001">
                <a:moveTo>
                  <a:pt x="0" y="0"/>
                </a:moveTo>
                <a:lnTo>
                  <a:pt x="549987" y="0"/>
                </a:lnTo>
                <a:lnTo>
                  <a:pt x="4968393" y="6858001"/>
                </a:lnTo>
                <a:lnTo>
                  <a:pt x="0" y="6858001"/>
                </a:lnTo>
                <a:close/>
              </a:path>
            </a:pathLst>
          </a:cu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8" name="Freeform: Shape 17">
            <a:extLst>
              <a:ext uri="{FF2B5EF4-FFF2-40B4-BE49-F238E27FC236}">
                <a16:creationId xmlns:a16="http://schemas.microsoft.com/office/drawing/2014/main" id="{11A538A1-D4CB-475B-AB1C-7A1EAC7840BA}"/>
              </a:ext>
            </a:extLst>
          </p:cNvPr>
          <p:cNvSpPr/>
          <p:nvPr userDrawn="1"/>
        </p:nvSpPr>
        <p:spPr>
          <a:xfrm flipV="1">
            <a:off x="592584"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Text Placeholder 3">
            <a:extLst>
              <a:ext uri="{FF2B5EF4-FFF2-40B4-BE49-F238E27FC236}">
                <a16:creationId xmlns:a16="http://schemas.microsoft.com/office/drawing/2014/main" id="{2287BD35-721F-4F95-823E-E9524DB51A58}"/>
              </a:ext>
            </a:extLst>
          </p:cNvPr>
          <p:cNvSpPr>
            <a:spLocks noGrp="1"/>
          </p:cNvSpPr>
          <p:nvPr>
            <p:ph type="body" sz="quarter" idx="45" hasCustomPrompt="1"/>
          </p:nvPr>
        </p:nvSpPr>
        <p:spPr>
          <a:xfrm>
            <a:off x="6318247" y="174600"/>
            <a:ext cx="5549901" cy="124650"/>
          </a:xfrm>
        </p:spPr>
        <p:txBody>
          <a:bodyPr>
            <a:spAutoFit/>
          </a:bodyPr>
          <a:lstStyle>
            <a:lvl1pPr marL="0" indent="0">
              <a:buNone/>
              <a:defRPr sz="900" b="1" cap="all" baseline="0">
                <a:solidFill>
                  <a:schemeClr val="bg1">
                    <a:lumMod val="50000"/>
                  </a:schemeClr>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 name="Rectangle 1">
            <a:extLst>
              <a:ext uri="{FF2B5EF4-FFF2-40B4-BE49-F238E27FC236}">
                <a16:creationId xmlns:a16="http://schemas.microsoft.com/office/drawing/2014/main" id="{D7E4B4B6-674A-49CB-9805-D276B7FA8608}"/>
              </a:ext>
            </a:extLst>
          </p:cNvPr>
          <p:cNvSpPr/>
          <p:nvPr userDrawn="1"/>
        </p:nvSpPr>
        <p:spPr>
          <a:xfrm>
            <a:off x="6095999" y="6556562"/>
            <a:ext cx="1140824" cy="2622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933220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35" name="Text Placeholder 3">
            <a:extLst>
              <a:ext uri="{FF2B5EF4-FFF2-40B4-BE49-F238E27FC236}">
                <a16:creationId xmlns:a16="http://schemas.microsoft.com/office/drawing/2014/main" id="{D8F4F6E0-6911-4A1E-87C5-31806C7B2AAE}"/>
              </a:ext>
            </a:extLst>
          </p:cNvPr>
          <p:cNvSpPr>
            <a:spLocks noGrp="1"/>
          </p:cNvSpPr>
          <p:nvPr>
            <p:ph type="body" sz="quarter" idx="53" hasCustomPrompt="1"/>
          </p:nvPr>
        </p:nvSpPr>
        <p:spPr>
          <a:xfrm>
            <a:off x="3758092" y="3834907"/>
            <a:ext cx="2973435" cy="2283035"/>
          </a:xfrm>
          <a:solidFill>
            <a:schemeClr val="accent6"/>
          </a:solidFill>
        </p:spPr>
        <p:txBody>
          <a:bodyPr anchor="ctr">
            <a:noAutofit/>
          </a:bodyPr>
          <a:lstStyle>
            <a:lvl1pPr marL="0" indent="0" algn="ctr" defTabSz="914400" rtl="0" eaLnBrk="1" latinLnBrk="0" hangingPunct="1">
              <a:lnSpc>
                <a:spcPct val="110000"/>
              </a:lnSpc>
              <a:spcAft>
                <a:spcPts val="1200"/>
              </a:spcAft>
              <a:buClr>
                <a:schemeClr val="accent1"/>
              </a:buClr>
              <a:buFontTx/>
              <a:buNone/>
              <a:defRPr lang="en-US" sz="18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6" name="Text Placeholder 3">
            <a:extLst>
              <a:ext uri="{FF2B5EF4-FFF2-40B4-BE49-F238E27FC236}">
                <a16:creationId xmlns:a16="http://schemas.microsoft.com/office/drawing/2014/main" id="{F464843F-F54A-4337-ADB3-F129C06B6E7C}"/>
              </a:ext>
            </a:extLst>
          </p:cNvPr>
          <p:cNvSpPr>
            <a:spLocks noGrp="1"/>
          </p:cNvSpPr>
          <p:nvPr>
            <p:ph type="body" sz="quarter" idx="54" hasCustomPrompt="1"/>
          </p:nvPr>
        </p:nvSpPr>
        <p:spPr>
          <a:xfrm>
            <a:off x="573232" y="3834907"/>
            <a:ext cx="2973435" cy="2283035"/>
          </a:xfrm>
          <a:solidFill>
            <a:schemeClr val="accent4"/>
          </a:solidFill>
        </p:spPr>
        <p:txBody>
          <a:bodyPr anchor="ctr">
            <a:noAutofit/>
          </a:bodyPr>
          <a:lstStyle>
            <a:lvl1pPr marL="0" indent="0" algn="ctr" defTabSz="914400" rtl="0" eaLnBrk="1" latinLnBrk="0" hangingPunct="1">
              <a:lnSpc>
                <a:spcPct val="110000"/>
              </a:lnSpc>
              <a:spcAft>
                <a:spcPts val="1200"/>
              </a:spcAft>
              <a:buClr>
                <a:schemeClr val="accent1"/>
              </a:buClr>
              <a:buFontTx/>
              <a:buNone/>
              <a:defRPr lang="en-US" sz="18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4" name="Text Placeholder 3">
            <a:extLst>
              <a:ext uri="{FF2B5EF4-FFF2-40B4-BE49-F238E27FC236}">
                <a16:creationId xmlns:a16="http://schemas.microsoft.com/office/drawing/2014/main" id="{6D5C3EF4-8CBC-45B2-8DDB-24120D866133}"/>
              </a:ext>
            </a:extLst>
          </p:cNvPr>
          <p:cNvSpPr>
            <a:spLocks noGrp="1"/>
          </p:cNvSpPr>
          <p:nvPr>
            <p:ph type="body" sz="quarter" idx="52" hasCustomPrompt="1"/>
          </p:nvPr>
        </p:nvSpPr>
        <p:spPr>
          <a:xfrm>
            <a:off x="3758092" y="1364963"/>
            <a:ext cx="2973435" cy="2283035"/>
          </a:xfrm>
          <a:solidFill>
            <a:schemeClr val="accent3"/>
          </a:solidFill>
        </p:spPr>
        <p:txBody>
          <a:bodyPr anchor="ctr">
            <a:noAutofit/>
          </a:bodyPr>
          <a:lstStyle>
            <a:lvl1pPr marL="0" indent="0" algn="ctr" defTabSz="914400" rtl="0" eaLnBrk="1" latinLnBrk="0" hangingPunct="1">
              <a:lnSpc>
                <a:spcPct val="110000"/>
              </a:lnSpc>
              <a:spcAft>
                <a:spcPts val="1200"/>
              </a:spcAft>
              <a:buClr>
                <a:schemeClr val="accent1"/>
              </a:buClr>
              <a:buFontTx/>
              <a:buNone/>
              <a:defRPr lang="en-US" sz="18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3" name="Text Placeholder 3">
            <a:extLst>
              <a:ext uri="{FF2B5EF4-FFF2-40B4-BE49-F238E27FC236}">
                <a16:creationId xmlns:a16="http://schemas.microsoft.com/office/drawing/2014/main" id="{9F37474A-C120-4C00-917B-27A0FE228A81}"/>
              </a:ext>
            </a:extLst>
          </p:cNvPr>
          <p:cNvSpPr>
            <a:spLocks noGrp="1"/>
          </p:cNvSpPr>
          <p:nvPr>
            <p:ph type="body" sz="quarter" idx="51" hasCustomPrompt="1"/>
          </p:nvPr>
        </p:nvSpPr>
        <p:spPr>
          <a:xfrm>
            <a:off x="573232" y="1364963"/>
            <a:ext cx="2973435" cy="2283035"/>
          </a:xfrm>
          <a:solidFill>
            <a:schemeClr val="accent1"/>
          </a:solidFill>
        </p:spPr>
        <p:txBody>
          <a:bodyPr anchor="ctr">
            <a:noAutofit/>
          </a:bodyPr>
          <a:lstStyle>
            <a:lvl1pPr marL="0" indent="0" algn="ctr" defTabSz="914400" rtl="0" eaLnBrk="1" latinLnBrk="0" hangingPunct="1">
              <a:lnSpc>
                <a:spcPct val="110000"/>
              </a:lnSpc>
              <a:spcAft>
                <a:spcPts val="1200"/>
              </a:spcAft>
              <a:buClr>
                <a:schemeClr val="accent1"/>
              </a:buClr>
              <a:buFontTx/>
              <a:buNone/>
              <a:defRPr lang="en-US" sz="18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056670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2" name="Isosceles Triangle 21">
            <a:extLst>
              <a:ext uri="{FF2B5EF4-FFF2-40B4-BE49-F238E27FC236}">
                <a16:creationId xmlns:a16="http://schemas.microsoft.com/office/drawing/2014/main" id="{D619F61B-B4CF-43D8-88C6-DFDDF6C1E5CC}"/>
              </a:ext>
            </a:extLst>
          </p:cNvPr>
          <p:cNvSpPr/>
          <p:nvPr userDrawn="1"/>
        </p:nvSpPr>
        <p:spPr>
          <a:xfrm rot="5400000">
            <a:off x="5960259" y="3467100"/>
            <a:ext cx="2667000" cy="4325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7B9BF00-2476-4C6E-9114-D67FE1D32369}"/>
              </a:ext>
            </a:extLst>
          </p:cNvPr>
          <p:cNvSpPr/>
          <p:nvPr userDrawn="1"/>
        </p:nvSpPr>
        <p:spPr>
          <a:xfrm>
            <a:off x="7855992" y="1369201"/>
            <a:ext cx="3413451" cy="474450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 Placeholder 3">
            <a:extLst>
              <a:ext uri="{FF2B5EF4-FFF2-40B4-BE49-F238E27FC236}">
                <a16:creationId xmlns:a16="http://schemas.microsoft.com/office/drawing/2014/main" id="{7C5F8D7F-DE2C-49AE-A9C5-44B2983B6A51}"/>
              </a:ext>
            </a:extLst>
          </p:cNvPr>
          <p:cNvSpPr>
            <a:spLocks noGrp="1"/>
          </p:cNvSpPr>
          <p:nvPr>
            <p:ph type="body" sz="quarter" idx="44"/>
          </p:nvPr>
        </p:nvSpPr>
        <p:spPr>
          <a:xfrm>
            <a:off x="8031881" y="1498179"/>
            <a:ext cx="3413451" cy="185115"/>
          </a:xfrm>
        </p:spPr>
        <p:txBody>
          <a:bodyPr/>
          <a:lstStyle>
            <a:lvl1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29" name="Text Placeholder 3">
            <a:extLst>
              <a:ext uri="{FF2B5EF4-FFF2-40B4-BE49-F238E27FC236}">
                <a16:creationId xmlns:a16="http://schemas.microsoft.com/office/drawing/2014/main" id="{6FF6132C-8A0A-4A8D-B854-D3730A1D4D8F}"/>
              </a:ext>
            </a:extLst>
          </p:cNvPr>
          <p:cNvSpPr>
            <a:spLocks noGrp="1"/>
          </p:cNvSpPr>
          <p:nvPr>
            <p:ph type="body" sz="quarter" idx="47" hasCustomPrompt="1"/>
          </p:nvPr>
        </p:nvSpPr>
        <p:spPr>
          <a:xfrm>
            <a:off x="632119" y="1447976"/>
            <a:ext cx="2855661" cy="185115"/>
          </a:xfrm>
        </p:spPr>
        <p:txBody>
          <a:bodyPr anchor="ct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0" name="Text Placeholder 3">
            <a:extLst>
              <a:ext uri="{FF2B5EF4-FFF2-40B4-BE49-F238E27FC236}">
                <a16:creationId xmlns:a16="http://schemas.microsoft.com/office/drawing/2014/main" id="{68FDF281-86AA-4B44-AF9F-501FA9A79C3B}"/>
              </a:ext>
            </a:extLst>
          </p:cNvPr>
          <p:cNvSpPr>
            <a:spLocks noGrp="1"/>
          </p:cNvSpPr>
          <p:nvPr>
            <p:ph type="body" sz="quarter" idx="48" hasCustomPrompt="1"/>
          </p:nvPr>
        </p:nvSpPr>
        <p:spPr>
          <a:xfrm>
            <a:off x="3816979" y="1447976"/>
            <a:ext cx="2855661" cy="185115"/>
          </a:xfrm>
        </p:spPr>
        <p:txBody>
          <a:bodyPr anchor="ctr"/>
          <a:lstStyle>
            <a:lvl1pPr marL="0" indent="0" algn="r" defTabSz="914400" rtl="0" eaLnBrk="1" latinLnBrk="0" hangingPunct="1">
              <a:lnSpc>
                <a:spcPct val="110000"/>
              </a:lnSpc>
              <a:spcAft>
                <a:spcPts val="1200"/>
              </a:spcAft>
              <a:buClr>
                <a:schemeClr val="accent1"/>
              </a:buClr>
              <a:buFontTx/>
              <a:buNone/>
              <a:defRPr lang="en-US" sz="1200" kern="120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1" name="Text Placeholder 3">
            <a:extLst>
              <a:ext uri="{FF2B5EF4-FFF2-40B4-BE49-F238E27FC236}">
                <a16:creationId xmlns:a16="http://schemas.microsoft.com/office/drawing/2014/main" id="{E4FC9FAD-6144-474A-9F53-D7749FC5AAD2}"/>
              </a:ext>
            </a:extLst>
          </p:cNvPr>
          <p:cNvSpPr>
            <a:spLocks noGrp="1"/>
          </p:cNvSpPr>
          <p:nvPr>
            <p:ph type="body" sz="quarter" idx="49" hasCustomPrompt="1"/>
          </p:nvPr>
        </p:nvSpPr>
        <p:spPr>
          <a:xfrm>
            <a:off x="632119" y="5828704"/>
            <a:ext cx="2855661" cy="185115"/>
          </a:xfrm>
        </p:spPr>
        <p:txBody>
          <a:bodyPr anchor="ct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2" name="Text Placeholder 3">
            <a:extLst>
              <a:ext uri="{FF2B5EF4-FFF2-40B4-BE49-F238E27FC236}">
                <a16:creationId xmlns:a16="http://schemas.microsoft.com/office/drawing/2014/main" id="{EC995E88-04C6-4541-B638-713506AA9146}"/>
              </a:ext>
            </a:extLst>
          </p:cNvPr>
          <p:cNvSpPr>
            <a:spLocks noGrp="1"/>
          </p:cNvSpPr>
          <p:nvPr>
            <p:ph type="body" sz="quarter" idx="50" hasCustomPrompt="1"/>
          </p:nvPr>
        </p:nvSpPr>
        <p:spPr>
          <a:xfrm>
            <a:off x="3816979" y="5828704"/>
            <a:ext cx="2855661" cy="185115"/>
          </a:xfrm>
        </p:spPr>
        <p:txBody>
          <a:bodyPr anchor="ctr"/>
          <a:lstStyle>
            <a:lvl1pPr marL="0" indent="0" algn="r" defTabSz="914400" rtl="0" eaLnBrk="1" latinLnBrk="0" hangingPunct="1">
              <a:lnSpc>
                <a:spcPct val="110000"/>
              </a:lnSpc>
              <a:spcAft>
                <a:spcPts val="1200"/>
              </a:spcAft>
              <a:buClr>
                <a:schemeClr val="accent1"/>
              </a:buClr>
              <a:buFontTx/>
              <a:buNone/>
              <a:defRPr lang="en-US" sz="1200" kern="120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37" name="Text Placeholder 3">
            <a:extLst>
              <a:ext uri="{FF2B5EF4-FFF2-40B4-BE49-F238E27FC236}">
                <a16:creationId xmlns:a16="http://schemas.microsoft.com/office/drawing/2014/main" id="{33D93BA0-BD3A-40A2-BE7E-42B22D652C92}"/>
              </a:ext>
            </a:extLst>
          </p:cNvPr>
          <p:cNvSpPr>
            <a:spLocks noGrp="1"/>
          </p:cNvSpPr>
          <p:nvPr>
            <p:ph type="body" sz="quarter" idx="55" hasCustomPrompt="1"/>
          </p:nvPr>
        </p:nvSpPr>
        <p:spPr>
          <a:xfrm>
            <a:off x="2752640" y="2860588"/>
            <a:ext cx="1799480" cy="1795795"/>
          </a:xfrm>
          <a:prstGeom prst="ellipse">
            <a:avLst/>
          </a:prstGeom>
          <a:solidFill>
            <a:schemeClr val="accent4">
              <a:lumMod val="75000"/>
            </a:schemeClr>
          </a:solidFill>
        </p:spPr>
        <p:txBody>
          <a:bodyPr anchor="ctr">
            <a:noAutofit/>
          </a:bodyPr>
          <a:lstStyle>
            <a:lvl1pPr marL="0" indent="0" algn="ctr" defTabSz="914400" rtl="0" eaLnBrk="1" latinLnBrk="0" hangingPunct="1">
              <a:lnSpc>
                <a:spcPct val="110000"/>
              </a:lnSpc>
              <a:spcAft>
                <a:spcPts val="1200"/>
              </a:spcAft>
              <a:buClr>
                <a:schemeClr val="accent1"/>
              </a:buClr>
              <a:buFontTx/>
              <a:buNone/>
              <a:defRPr lang="en-US" sz="18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 </a:t>
            </a:r>
          </a:p>
        </p:txBody>
      </p:sp>
      <p:sp>
        <p:nvSpPr>
          <p:cNvPr id="27" name="Text Placeholder 3">
            <a:extLst>
              <a:ext uri="{FF2B5EF4-FFF2-40B4-BE49-F238E27FC236}">
                <a16:creationId xmlns:a16="http://schemas.microsoft.com/office/drawing/2014/main" id="{F11EDE79-2C20-4E9B-B1C9-B87B5A1D1752}"/>
              </a:ext>
            </a:extLst>
          </p:cNvPr>
          <p:cNvSpPr>
            <a:spLocks noGrp="1"/>
          </p:cNvSpPr>
          <p:nvPr>
            <p:ph type="body" sz="quarter" idx="45" hasCustomPrompt="1"/>
          </p:nvPr>
        </p:nvSpPr>
        <p:spPr>
          <a:xfrm>
            <a:off x="3102631" y="3192571"/>
            <a:ext cx="1031220" cy="187167"/>
          </a:xfrm>
        </p:spPr>
        <p:txBody>
          <a:bodyPr anchor="ctr"/>
          <a:lstStyle>
            <a:lvl1pPr marL="0" indent="0" algn="ctr" defTabSz="914400" rtl="0" eaLnBrk="1" latinLnBrk="0" hangingPunct="1">
              <a:lnSpc>
                <a:spcPct val="110000"/>
              </a:lnSpc>
              <a:spcAft>
                <a:spcPts val="1200"/>
              </a:spcAft>
              <a:buClr>
                <a:schemeClr val="accent1"/>
              </a:buClr>
              <a:buFontTx/>
              <a:buNone/>
              <a:defRPr lang="en-US" sz="1200" kern="120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EDIT TITLE</a:t>
            </a:r>
          </a:p>
        </p:txBody>
      </p:sp>
      <p:sp>
        <p:nvSpPr>
          <p:cNvPr id="28" name="Text Placeholder 3">
            <a:extLst>
              <a:ext uri="{FF2B5EF4-FFF2-40B4-BE49-F238E27FC236}">
                <a16:creationId xmlns:a16="http://schemas.microsoft.com/office/drawing/2014/main" id="{DE4DA94E-00DB-484E-9EF5-4A3DE22E519B}"/>
              </a:ext>
            </a:extLst>
          </p:cNvPr>
          <p:cNvSpPr>
            <a:spLocks noGrp="1"/>
          </p:cNvSpPr>
          <p:nvPr>
            <p:ph type="body" sz="quarter" idx="46" hasCustomPrompt="1"/>
          </p:nvPr>
        </p:nvSpPr>
        <p:spPr>
          <a:xfrm>
            <a:off x="2854982" y="3595162"/>
            <a:ext cx="1526518" cy="747897"/>
          </a:xfrm>
          <a:noFill/>
        </p:spPr>
        <p:txBody>
          <a:bodyPr wrap="square" lIns="0" tIns="0" rIns="0" bIns="0" rtlCol="0">
            <a:spAutoFit/>
          </a:bodyPr>
          <a:lstStyle>
            <a:lvl1pPr marL="0" indent="0" algn="ctr">
              <a:buNone/>
              <a:defRPr lang="en-US" b="1" dirty="0">
                <a:solidFill>
                  <a:schemeClr val="bg1"/>
                </a:solidFill>
              </a:defRPr>
            </a:lvl1pPr>
          </a:lstStyle>
          <a:p>
            <a:pPr marL="0" lvl="0" algn="ctr"/>
            <a:r>
              <a:rPr lang="en-US"/>
              <a:t>CLICK TO EDIT MASTER TEXT STYLES</a:t>
            </a:r>
          </a:p>
        </p:txBody>
      </p:sp>
    </p:spTree>
    <p:extLst>
      <p:ext uri="{BB962C8B-B14F-4D97-AF65-F5344CB8AC3E}">
        <p14:creationId xmlns:p14="http://schemas.microsoft.com/office/powerpoint/2010/main" val="25053063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55791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2" name="Isosceles Triangle 21">
            <a:extLst>
              <a:ext uri="{FF2B5EF4-FFF2-40B4-BE49-F238E27FC236}">
                <a16:creationId xmlns:a16="http://schemas.microsoft.com/office/drawing/2014/main" id="{D619F61B-B4CF-43D8-88C6-DFDDF6C1E5CC}"/>
              </a:ext>
            </a:extLst>
          </p:cNvPr>
          <p:cNvSpPr/>
          <p:nvPr userDrawn="1"/>
        </p:nvSpPr>
        <p:spPr>
          <a:xfrm rot="5400000">
            <a:off x="5808711" y="3467100"/>
            <a:ext cx="2667000" cy="4325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7B9BF00-2476-4C6E-9114-D67FE1D32369}"/>
              </a:ext>
            </a:extLst>
          </p:cNvPr>
          <p:cNvSpPr/>
          <p:nvPr userDrawn="1"/>
        </p:nvSpPr>
        <p:spPr>
          <a:xfrm>
            <a:off x="7855992" y="1369201"/>
            <a:ext cx="3765229" cy="474450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 Placeholder 3">
            <a:extLst>
              <a:ext uri="{FF2B5EF4-FFF2-40B4-BE49-F238E27FC236}">
                <a16:creationId xmlns:a16="http://schemas.microsoft.com/office/drawing/2014/main" id="{7C5F8D7F-DE2C-49AE-A9C5-44B2983B6A51}"/>
              </a:ext>
            </a:extLst>
          </p:cNvPr>
          <p:cNvSpPr>
            <a:spLocks noGrp="1"/>
          </p:cNvSpPr>
          <p:nvPr>
            <p:ph type="body" sz="quarter" idx="44"/>
          </p:nvPr>
        </p:nvSpPr>
        <p:spPr>
          <a:xfrm>
            <a:off x="8031881" y="1498179"/>
            <a:ext cx="3413451"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33" name="Freeform 7">
            <a:extLst>
              <a:ext uri="{FF2B5EF4-FFF2-40B4-BE49-F238E27FC236}">
                <a16:creationId xmlns:a16="http://schemas.microsoft.com/office/drawing/2014/main" id="{CF6FB758-4CC7-43FE-93DF-F87ACC729FAB}"/>
              </a:ext>
            </a:extLst>
          </p:cNvPr>
          <p:cNvSpPr>
            <a:spLocks noChangeAspect="1"/>
          </p:cNvSpPr>
          <p:nvPr userDrawn="1"/>
        </p:nvSpPr>
        <p:spPr bwMode="auto">
          <a:xfrm>
            <a:off x="2997992" y="4258574"/>
            <a:ext cx="3047584" cy="1807265"/>
          </a:xfrm>
          <a:custGeom>
            <a:avLst/>
            <a:gdLst>
              <a:gd name="T0" fmla="*/ 114 w 979"/>
              <a:gd name="T1" fmla="*/ 1025 h 583"/>
              <a:gd name="T2" fmla="*/ 0 w 979"/>
              <a:gd name="T3" fmla="*/ 1190 h 583"/>
              <a:gd name="T4" fmla="*/ 51 w 979"/>
              <a:gd name="T5" fmla="*/ 529 h 583"/>
              <a:gd name="T6" fmla="*/ 651 w 979"/>
              <a:gd name="T7" fmla="*/ 257 h 583"/>
              <a:gd name="T8" fmla="*/ 535 w 979"/>
              <a:gd name="T9" fmla="*/ 425 h 583"/>
              <a:gd name="T10" fmla="*/ 527 w 979"/>
              <a:gd name="T11" fmla="*/ 435 h 583"/>
              <a:gd name="T12" fmla="*/ 680 w 979"/>
              <a:gd name="T13" fmla="*/ 453 h 583"/>
              <a:gd name="T14" fmla="*/ 1331 w 979"/>
              <a:gd name="T15" fmla="*/ 0 h 583"/>
              <a:gd name="T16" fmla="*/ 1335 w 979"/>
              <a:gd name="T17" fmla="*/ 6 h 583"/>
              <a:gd name="T18" fmla="*/ 1590 w 979"/>
              <a:gd name="T19" fmla="*/ 306 h 583"/>
              <a:gd name="T20" fmla="*/ 1990 w 979"/>
              <a:gd name="T21" fmla="*/ 225 h 583"/>
              <a:gd name="T22" fmla="*/ 1998 w 979"/>
              <a:gd name="T23" fmla="*/ 222 h 583"/>
              <a:gd name="T24" fmla="*/ 673 w 979"/>
              <a:gd name="T25" fmla="*/ 1143 h 583"/>
              <a:gd name="T26" fmla="*/ 112 w 979"/>
              <a:gd name="T27" fmla="*/ 1027 h 5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9"/>
              <a:gd name="T43" fmla="*/ 0 h 583"/>
              <a:gd name="T44" fmla="*/ 979 w 979"/>
              <a:gd name="T45" fmla="*/ 583 h 5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9" h="583">
                <a:moveTo>
                  <a:pt x="56" y="502"/>
                </a:moveTo>
                <a:cubicBezTo>
                  <a:pt x="0" y="583"/>
                  <a:pt x="0" y="583"/>
                  <a:pt x="0" y="583"/>
                </a:cubicBezTo>
                <a:cubicBezTo>
                  <a:pt x="25" y="259"/>
                  <a:pt x="25" y="259"/>
                  <a:pt x="25" y="259"/>
                </a:cubicBezTo>
                <a:cubicBezTo>
                  <a:pt x="319" y="126"/>
                  <a:pt x="319" y="126"/>
                  <a:pt x="319" y="126"/>
                </a:cubicBezTo>
                <a:cubicBezTo>
                  <a:pt x="262" y="208"/>
                  <a:pt x="262" y="208"/>
                  <a:pt x="262" y="208"/>
                </a:cubicBezTo>
                <a:cubicBezTo>
                  <a:pt x="258" y="213"/>
                  <a:pt x="258" y="213"/>
                  <a:pt x="258" y="213"/>
                </a:cubicBezTo>
                <a:cubicBezTo>
                  <a:pt x="282" y="219"/>
                  <a:pt x="307" y="222"/>
                  <a:pt x="333" y="222"/>
                </a:cubicBezTo>
                <a:cubicBezTo>
                  <a:pt x="479" y="222"/>
                  <a:pt x="604" y="129"/>
                  <a:pt x="652" y="0"/>
                </a:cubicBezTo>
                <a:cubicBezTo>
                  <a:pt x="654" y="3"/>
                  <a:pt x="654" y="3"/>
                  <a:pt x="654" y="3"/>
                </a:cubicBezTo>
                <a:cubicBezTo>
                  <a:pt x="779" y="150"/>
                  <a:pt x="779" y="150"/>
                  <a:pt x="779" y="150"/>
                </a:cubicBezTo>
                <a:cubicBezTo>
                  <a:pt x="975" y="110"/>
                  <a:pt x="975" y="110"/>
                  <a:pt x="975" y="110"/>
                </a:cubicBezTo>
                <a:cubicBezTo>
                  <a:pt x="979" y="109"/>
                  <a:pt x="979" y="109"/>
                  <a:pt x="979" y="109"/>
                </a:cubicBezTo>
                <a:cubicBezTo>
                  <a:pt x="881" y="372"/>
                  <a:pt x="628" y="560"/>
                  <a:pt x="330" y="560"/>
                </a:cubicBezTo>
                <a:cubicBezTo>
                  <a:pt x="233" y="560"/>
                  <a:pt x="140" y="540"/>
                  <a:pt x="55" y="503"/>
                </a:cubicBezTo>
              </a:path>
            </a:pathLst>
          </a:custGeom>
          <a:solidFill>
            <a:schemeClr val="accent6"/>
          </a:solidFill>
          <a:ln w="12700" cap="flat">
            <a:solidFill>
              <a:schemeClr val="bg1"/>
            </a:solidFill>
            <a:prstDash val="solid"/>
            <a:miter lim="800000"/>
            <a:headEnd/>
            <a:tailEnd/>
          </a:ln>
        </p:spPr>
        <p:txBody>
          <a:bodyPr/>
          <a:lstStyle/>
          <a:p>
            <a:endParaRPr lang="en-US" sz="1400" dirty="0">
              <a:solidFill>
                <a:prstClr val="white"/>
              </a:solidFill>
            </a:endParaRPr>
          </a:p>
        </p:txBody>
      </p:sp>
      <p:sp>
        <p:nvSpPr>
          <p:cNvPr id="34" name="Freeform 8">
            <a:extLst>
              <a:ext uri="{FF2B5EF4-FFF2-40B4-BE49-F238E27FC236}">
                <a16:creationId xmlns:a16="http://schemas.microsoft.com/office/drawing/2014/main" id="{6D4A9286-C451-4E43-A56F-0412735D7114}"/>
              </a:ext>
            </a:extLst>
          </p:cNvPr>
          <p:cNvSpPr>
            <a:spLocks noChangeAspect="1"/>
          </p:cNvSpPr>
          <p:nvPr userDrawn="1"/>
        </p:nvSpPr>
        <p:spPr bwMode="auto">
          <a:xfrm>
            <a:off x="346991" y="1417067"/>
            <a:ext cx="4032939" cy="1760185"/>
          </a:xfrm>
          <a:custGeom>
            <a:avLst/>
            <a:gdLst>
              <a:gd name="T0" fmla="*/ 1895 w 1296"/>
              <a:gd name="T1" fmla="*/ 1159 h 568"/>
              <a:gd name="T2" fmla="*/ 2307 w 1296"/>
              <a:gd name="T3" fmla="*/ 928 h 568"/>
              <a:gd name="T4" fmla="*/ 2307 w 1296"/>
              <a:gd name="T5" fmla="*/ 935 h 568"/>
              <a:gd name="T6" fmla="*/ 2307 w 1296"/>
              <a:gd name="T7" fmla="*/ 1124 h 568"/>
              <a:gd name="T8" fmla="*/ 2644 w 1296"/>
              <a:gd name="T9" fmla="*/ 565 h 568"/>
              <a:gd name="T10" fmla="*/ 2307 w 1296"/>
              <a:gd name="T11" fmla="*/ 0 h 568"/>
              <a:gd name="T12" fmla="*/ 2307 w 1296"/>
              <a:gd name="T13" fmla="*/ 198 h 568"/>
              <a:gd name="T14" fmla="*/ 0 w 1296"/>
              <a:gd name="T15" fmla="*/ 198 h 568"/>
              <a:gd name="T16" fmla="*/ 2 w 1296"/>
              <a:gd name="T17" fmla="*/ 926 h 568"/>
              <a:gd name="T18" fmla="*/ 1169 w 1296"/>
              <a:gd name="T19" fmla="*/ 926 h 5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96"/>
              <a:gd name="T31" fmla="*/ 0 h 568"/>
              <a:gd name="T32" fmla="*/ 1296 w 1296"/>
              <a:gd name="T33" fmla="*/ 568 h 5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96" h="568">
                <a:moveTo>
                  <a:pt x="929" y="568"/>
                </a:moveTo>
                <a:cubicBezTo>
                  <a:pt x="980" y="509"/>
                  <a:pt x="1051" y="468"/>
                  <a:pt x="1131" y="455"/>
                </a:cubicBezTo>
                <a:cubicBezTo>
                  <a:pt x="1131" y="458"/>
                  <a:pt x="1131" y="458"/>
                  <a:pt x="1131" y="458"/>
                </a:cubicBezTo>
                <a:cubicBezTo>
                  <a:pt x="1131" y="551"/>
                  <a:pt x="1131" y="551"/>
                  <a:pt x="1131" y="551"/>
                </a:cubicBezTo>
                <a:cubicBezTo>
                  <a:pt x="1296" y="277"/>
                  <a:pt x="1296" y="277"/>
                  <a:pt x="1296" y="277"/>
                </a:cubicBezTo>
                <a:cubicBezTo>
                  <a:pt x="1131" y="0"/>
                  <a:pt x="1131" y="0"/>
                  <a:pt x="1131" y="0"/>
                </a:cubicBezTo>
                <a:cubicBezTo>
                  <a:pt x="1131" y="97"/>
                  <a:pt x="1131" y="97"/>
                  <a:pt x="1131" y="97"/>
                </a:cubicBezTo>
                <a:cubicBezTo>
                  <a:pt x="0" y="97"/>
                  <a:pt x="0" y="97"/>
                  <a:pt x="0" y="97"/>
                </a:cubicBezTo>
                <a:cubicBezTo>
                  <a:pt x="1" y="454"/>
                  <a:pt x="1" y="454"/>
                  <a:pt x="1" y="454"/>
                </a:cubicBezTo>
                <a:cubicBezTo>
                  <a:pt x="573" y="454"/>
                  <a:pt x="573" y="454"/>
                  <a:pt x="573" y="454"/>
                </a:cubicBezTo>
              </a:path>
            </a:pathLst>
          </a:custGeom>
          <a:solidFill>
            <a:schemeClr val="accent1"/>
          </a:solidFill>
          <a:ln w="12700" cap="flat">
            <a:solidFill>
              <a:schemeClr val="bg1"/>
            </a:solidFill>
            <a:prstDash val="solid"/>
            <a:miter lim="800000"/>
            <a:headEnd/>
            <a:tailEnd/>
          </a:ln>
        </p:spPr>
        <p:txBody>
          <a:bodyPr/>
          <a:lstStyle/>
          <a:p>
            <a:endParaRPr lang="en-US" sz="1400" dirty="0">
              <a:solidFill>
                <a:prstClr val="white"/>
              </a:solidFill>
            </a:endParaRPr>
          </a:p>
        </p:txBody>
      </p:sp>
      <p:sp>
        <p:nvSpPr>
          <p:cNvPr id="35" name="Freeform 9">
            <a:extLst>
              <a:ext uri="{FF2B5EF4-FFF2-40B4-BE49-F238E27FC236}">
                <a16:creationId xmlns:a16="http://schemas.microsoft.com/office/drawing/2014/main" id="{F051FEFA-990E-4DEA-85E9-53E11EC28FDF}"/>
              </a:ext>
            </a:extLst>
          </p:cNvPr>
          <p:cNvSpPr>
            <a:spLocks noChangeAspect="1"/>
          </p:cNvSpPr>
          <p:nvPr userDrawn="1"/>
        </p:nvSpPr>
        <p:spPr bwMode="auto">
          <a:xfrm>
            <a:off x="4100797" y="1711697"/>
            <a:ext cx="2327634" cy="2937186"/>
          </a:xfrm>
          <a:custGeom>
            <a:avLst/>
            <a:gdLst>
              <a:gd name="T0" fmla="*/ 649 w 748"/>
              <a:gd name="T1" fmla="*/ 1493 h 948"/>
              <a:gd name="T2" fmla="*/ 651 w 748"/>
              <a:gd name="T3" fmla="*/ 1436 h 948"/>
              <a:gd name="T4" fmla="*/ 0 w 748"/>
              <a:gd name="T5" fmla="*/ 745 h 948"/>
              <a:gd name="T6" fmla="*/ 228 w 748"/>
              <a:gd name="T7" fmla="*/ 373 h 948"/>
              <a:gd name="T8" fmla="*/ 4 w 748"/>
              <a:gd name="T9" fmla="*/ 0 h 948"/>
              <a:gd name="T10" fmla="*/ 1363 w 748"/>
              <a:gd name="T11" fmla="*/ 1410 h 948"/>
              <a:gd name="T12" fmla="*/ 1326 w 748"/>
              <a:gd name="T13" fmla="*/ 1736 h 948"/>
              <a:gd name="T14" fmla="*/ 1338 w 748"/>
              <a:gd name="T15" fmla="*/ 1740 h 948"/>
              <a:gd name="T16" fmla="*/ 1526 w 748"/>
              <a:gd name="T17" fmla="*/ 1805 h 948"/>
              <a:gd name="T18" fmla="*/ 875 w 748"/>
              <a:gd name="T19" fmla="*/ 1934 h 948"/>
              <a:gd name="T20" fmla="*/ 455 w 748"/>
              <a:gd name="T21" fmla="*/ 1428 h 948"/>
              <a:gd name="T22" fmla="*/ 647 w 748"/>
              <a:gd name="T23" fmla="*/ 1495 h 948"/>
              <a:gd name="T24" fmla="*/ 647 w 748"/>
              <a:gd name="T25" fmla="*/ 1493 h 9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8"/>
              <a:gd name="T40" fmla="*/ 0 h 948"/>
              <a:gd name="T41" fmla="*/ 748 w 748"/>
              <a:gd name="T42" fmla="*/ 948 h 9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8" h="948">
                <a:moveTo>
                  <a:pt x="318" y="732"/>
                </a:moveTo>
                <a:cubicBezTo>
                  <a:pt x="319" y="723"/>
                  <a:pt x="319" y="713"/>
                  <a:pt x="319" y="704"/>
                </a:cubicBezTo>
                <a:cubicBezTo>
                  <a:pt x="319" y="524"/>
                  <a:pt x="177" y="378"/>
                  <a:pt x="0" y="365"/>
                </a:cubicBezTo>
                <a:cubicBezTo>
                  <a:pt x="112" y="183"/>
                  <a:pt x="112" y="183"/>
                  <a:pt x="112" y="183"/>
                </a:cubicBezTo>
                <a:cubicBezTo>
                  <a:pt x="2" y="0"/>
                  <a:pt x="2" y="0"/>
                  <a:pt x="2" y="0"/>
                </a:cubicBezTo>
                <a:cubicBezTo>
                  <a:pt x="375" y="10"/>
                  <a:pt x="668" y="315"/>
                  <a:pt x="668" y="691"/>
                </a:cubicBezTo>
                <a:cubicBezTo>
                  <a:pt x="668" y="746"/>
                  <a:pt x="662" y="799"/>
                  <a:pt x="650" y="851"/>
                </a:cubicBezTo>
                <a:cubicBezTo>
                  <a:pt x="656" y="853"/>
                  <a:pt x="656" y="853"/>
                  <a:pt x="656" y="853"/>
                </a:cubicBezTo>
                <a:cubicBezTo>
                  <a:pt x="748" y="885"/>
                  <a:pt x="748" y="885"/>
                  <a:pt x="748" y="885"/>
                </a:cubicBezTo>
                <a:cubicBezTo>
                  <a:pt x="429" y="948"/>
                  <a:pt x="429" y="948"/>
                  <a:pt x="429" y="948"/>
                </a:cubicBezTo>
                <a:cubicBezTo>
                  <a:pt x="223" y="700"/>
                  <a:pt x="223" y="700"/>
                  <a:pt x="223" y="700"/>
                </a:cubicBezTo>
                <a:cubicBezTo>
                  <a:pt x="317" y="733"/>
                  <a:pt x="317" y="733"/>
                  <a:pt x="317" y="733"/>
                </a:cubicBezTo>
                <a:cubicBezTo>
                  <a:pt x="317" y="732"/>
                  <a:pt x="317" y="732"/>
                  <a:pt x="317" y="732"/>
                </a:cubicBezTo>
              </a:path>
            </a:pathLst>
          </a:custGeom>
          <a:solidFill>
            <a:schemeClr val="accent3"/>
          </a:solidFill>
          <a:ln w="12700" cap="flat">
            <a:solidFill>
              <a:schemeClr val="bg1"/>
            </a:solidFill>
            <a:prstDash val="solid"/>
            <a:miter lim="800000"/>
            <a:headEnd/>
            <a:tailEnd/>
          </a:ln>
        </p:spPr>
        <p:txBody>
          <a:bodyPr/>
          <a:lstStyle/>
          <a:p>
            <a:endParaRPr lang="en-US" sz="1400" dirty="0">
              <a:solidFill>
                <a:prstClr val="black"/>
              </a:solidFill>
            </a:endParaRPr>
          </a:p>
        </p:txBody>
      </p:sp>
      <p:sp>
        <p:nvSpPr>
          <p:cNvPr id="36" name="Freeform 14">
            <a:extLst>
              <a:ext uri="{FF2B5EF4-FFF2-40B4-BE49-F238E27FC236}">
                <a16:creationId xmlns:a16="http://schemas.microsoft.com/office/drawing/2014/main" id="{253C190C-9D55-4884-9F36-5F4CEF2D6F1B}"/>
              </a:ext>
            </a:extLst>
          </p:cNvPr>
          <p:cNvSpPr>
            <a:spLocks noChangeAspect="1"/>
          </p:cNvSpPr>
          <p:nvPr userDrawn="1"/>
        </p:nvSpPr>
        <p:spPr bwMode="auto">
          <a:xfrm>
            <a:off x="1855530" y="2598624"/>
            <a:ext cx="1625988" cy="3120950"/>
          </a:xfrm>
          <a:custGeom>
            <a:avLst/>
            <a:gdLst>
              <a:gd name="T0" fmla="*/ 1066 w 1066"/>
              <a:gd name="T1" fmla="*/ 1449 h 2055"/>
              <a:gd name="T2" fmla="*/ 756 w 1066"/>
              <a:gd name="T3" fmla="*/ 1587 h 2055"/>
              <a:gd name="T4" fmla="*/ 716 w 1066"/>
              <a:gd name="T5" fmla="*/ 2055 h 2055"/>
              <a:gd name="T6" fmla="*/ 134 w 1066"/>
              <a:gd name="T7" fmla="*/ 1445 h 2055"/>
              <a:gd name="T8" fmla="*/ 0 w 1066"/>
              <a:gd name="T9" fmla="*/ 833 h 2055"/>
              <a:gd name="T10" fmla="*/ 182 w 1066"/>
              <a:gd name="T11" fmla="*/ 139 h 2055"/>
              <a:gd name="T12" fmla="*/ 175 w 1066"/>
              <a:gd name="T13" fmla="*/ 135 h 2055"/>
              <a:gd name="T14" fmla="*/ 0 w 1066"/>
              <a:gd name="T15" fmla="*/ 49 h 2055"/>
              <a:gd name="T16" fmla="*/ 661 w 1066"/>
              <a:gd name="T17" fmla="*/ 0 h 2055"/>
              <a:gd name="T18" fmla="*/ 1016 w 1066"/>
              <a:gd name="T19" fmla="*/ 555 h 2055"/>
              <a:gd name="T20" fmla="*/ 840 w 1066"/>
              <a:gd name="T21" fmla="*/ 465 h 2055"/>
              <a:gd name="T22" fmla="*/ 838 w 1066"/>
              <a:gd name="T23" fmla="*/ 469 h 2055"/>
              <a:gd name="T24" fmla="*/ 732 w 1066"/>
              <a:gd name="T25" fmla="*/ 813 h 2055"/>
              <a:gd name="T26" fmla="*/ 852 w 1066"/>
              <a:gd name="T27" fmla="*/ 1163 h 2055"/>
              <a:gd name="T28" fmla="*/ 1066 w 1066"/>
              <a:gd name="T29" fmla="*/ 1449 h 20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6"/>
              <a:gd name="T46" fmla="*/ 0 h 2055"/>
              <a:gd name="T47" fmla="*/ 1066 w 1066"/>
              <a:gd name="T48" fmla="*/ 2055 h 20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6" h="2055">
                <a:moveTo>
                  <a:pt x="1066" y="1449"/>
                </a:moveTo>
                <a:cubicBezTo>
                  <a:pt x="754" y="1593"/>
                  <a:pt x="756" y="1584"/>
                  <a:pt x="756" y="1587"/>
                </a:cubicBezTo>
                <a:cubicBezTo>
                  <a:pt x="712" y="1999"/>
                  <a:pt x="716" y="2055"/>
                  <a:pt x="716" y="2055"/>
                </a:cubicBezTo>
                <a:cubicBezTo>
                  <a:pt x="240" y="1739"/>
                  <a:pt x="134" y="1445"/>
                  <a:pt x="134" y="1445"/>
                </a:cubicBezTo>
                <a:cubicBezTo>
                  <a:pt x="42" y="1247"/>
                  <a:pt x="0" y="1057"/>
                  <a:pt x="0" y="833"/>
                </a:cubicBezTo>
                <a:cubicBezTo>
                  <a:pt x="0" y="580"/>
                  <a:pt x="65" y="343"/>
                  <a:pt x="182" y="139"/>
                </a:cubicBezTo>
                <a:cubicBezTo>
                  <a:pt x="175" y="135"/>
                  <a:pt x="175" y="135"/>
                  <a:pt x="175" y="135"/>
                </a:cubicBezTo>
                <a:cubicBezTo>
                  <a:pt x="0" y="49"/>
                  <a:pt x="0" y="49"/>
                  <a:pt x="0" y="49"/>
                </a:cubicBezTo>
                <a:cubicBezTo>
                  <a:pt x="661" y="0"/>
                  <a:pt x="661" y="0"/>
                  <a:pt x="661" y="0"/>
                </a:cubicBezTo>
                <a:cubicBezTo>
                  <a:pt x="1016" y="555"/>
                  <a:pt x="1016" y="555"/>
                  <a:pt x="1016" y="555"/>
                </a:cubicBezTo>
                <a:cubicBezTo>
                  <a:pt x="834" y="463"/>
                  <a:pt x="840" y="465"/>
                  <a:pt x="840" y="465"/>
                </a:cubicBezTo>
                <a:cubicBezTo>
                  <a:pt x="834" y="463"/>
                  <a:pt x="838" y="469"/>
                  <a:pt x="838" y="469"/>
                </a:cubicBezTo>
                <a:cubicBezTo>
                  <a:pt x="771" y="575"/>
                  <a:pt x="732" y="678"/>
                  <a:pt x="732" y="813"/>
                </a:cubicBezTo>
                <a:cubicBezTo>
                  <a:pt x="734" y="929"/>
                  <a:pt x="796" y="1057"/>
                  <a:pt x="852" y="1163"/>
                </a:cubicBezTo>
                <a:cubicBezTo>
                  <a:pt x="908" y="1269"/>
                  <a:pt x="1022" y="1390"/>
                  <a:pt x="1066" y="1449"/>
                </a:cubicBezTo>
                <a:close/>
              </a:path>
            </a:pathLst>
          </a:custGeom>
          <a:solidFill>
            <a:schemeClr val="accent4"/>
          </a:solidFill>
          <a:ln w="12700" cap="flat">
            <a:solidFill>
              <a:schemeClr val="bg1"/>
            </a:solidFill>
            <a:prstDash val="solid"/>
            <a:miter lim="800000"/>
            <a:headEnd/>
            <a:tailEnd/>
          </a:ln>
        </p:spPr>
        <p:txBody>
          <a:bodyPr/>
          <a:lstStyle/>
          <a:p>
            <a:endParaRPr lang="en-US" sz="1400" dirty="0">
              <a:solidFill>
                <a:prstClr val="black"/>
              </a:solidFill>
            </a:endParaRPr>
          </a:p>
        </p:txBody>
      </p:sp>
      <p:sp>
        <p:nvSpPr>
          <p:cNvPr id="29" name="Text Placeholder 3">
            <a:extLst>
              <a:ext uri="{FF2B5EF4-FFF2-40B4-BE49-F238E27FC236}">
                <a16:creationId xmlns:a16="http://schemas.microsoft.com/office/drawing/2014/main" id="{6FF6132C-8A0A-4A8D-B854-D3730A1D4D8F}"/>
              </a:ext>
            </a:extLst>
          </p:cNvPr>
          <p:cNvSpPr>
            <a:spLocks noGrp="1"/>
          </p:cNvSpPr>
          <p:nvPr>
            <p:ph type="body" sz="quarter" idx="47" hasCustomPrompt="1"/>
          </p:nvPr>
        </p:nvSpPr>
        <p:spPr>
          <a:xfrm>
            <a:off x="632119" y="1991283"/>
            <a:ext cx="2855661" cy="388248"/>
          </a:xfrm>
        </p:spPr>
        <p:txBody>
          <a:bodyPr anchor="ctr"/>
          <a:lstStyle>
            <a:lvl1pPr marL="0" indent="0" algn="l" defTabSz="914400" rtl="0" eaLnBrk="1" latinLnBrk="0" hangingPunct="1">
              <a:lnSpc>
                <a:spcPct val="110000"/>
              </a:lnSpc>
              <a:spcAft>
                <a:spcPts val="1200"/>
              </a:spcAft>
              <a:buClr>
                <a:schemeClr val="accent1"/>
              </a:buClr>
              <a:buFontTx/>
              <a:buNone/>
              <a:defRPr lang="en-US" sz="12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LOREM IPSUM DOLOR SIT AMET, CONSECTETUER ADIPISCING ELIT. </a:t>
            </a:r>
          </a:p>
        </p:txBody>
      </p:sp>
      <p:sp>
        <p:nvSpPr>
          <p:cNvPr id="37" name="Text Placeholder 3">
            <a:extLst>
              <a:ext uri="{FF2B5EF4-FFF2-40B4-BE49-F238E27FC236}">
                <a16:creationId xmlns:a16="http://schemas.microsoft.com/office/drawing/2014/main" id="{66FEB6B4-D6EB-4122-920A-ABF58AF30AB2}"/>
              </a:ext>
            </a:extLst>
          </p:cNvPr>
          <p:cNvSpPr>
            <a:spLocks noGrp="1"/>
          </p:cNvSpPr>
          <p:nvPr>
            <p:ph type="body" sz="quarter" idx="51" hasCustomPrompt="1"/>
          </p:nvPr>
        </p:nvSpPr>
        <p:spPr>
          <a:xfrm>
            <a:off x="4753536" y="2860714"/>
            <a:ext cx="1154857" cy="388248"/>
          </a:xfrm>
        </p:spPr>
        <p:txBody>
          <a:bodyPr anchor="ctr"/>
          <a:lstStyle>
            <a:lvl1pPr marL="0" indent="0" algn="ctr" defTabSz="914400" rtl="0" eaLnBrk="1" latinLnBrk="0" hangingPunct="1">
              <a:lnSpc>
                <a:spcPct val="110000"/>
              </a:lnSpc>
              <a:spcAft>
                <a:spcPts val="1200"/>
              </a:spcAft>
              <a:buClr>
                <a:schemeClr val="accent1"/>
              </a:buClr>
              <a:buFontTx/>
              <a:buNone/>
              <a:defRPr lang="en-US" sz="12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LOREM IPSUM DOLOR SIT</a:t>
            </a:r>
          </a:p>
        </p:txBody>
      </p:sp>
      <p:sp>
        <p:nvSpPr>
          <p:cNvPr id="38" name="Text Placeholder 3">
            <a:extLst>
              <a:ext uri="{FF2B5EF4-FFF2-40B4-BE49-F238E27FC236}">
                <a16:creationId xmlns:a16="http://schemas.microsoft.com/office/drawing/2014/main" id="{538894E0-C281-48EC-8949-C816B6A74413}"/>
              </a:ext>
            </a:extLst>
          </p:cNvPr>
          <p:cNvSpPr>
            <a:spLocks noGrp="1"/>
          </p:cNvSpPr>
          <p:nvPr>
            <p:ph type="body" sz="quarter" idx="52" hasCustomPrompt="1"/>
          </p:nvPr>
        </p:nvSpPr>
        <p:spPr>
          <a:xfrm>
            <a:off x="3944355" y="5165433"/>
            <a:ext cx="1154857" cy="388248"/>
          </a:xfrm>
        </p:spPr>
        <p:txBody>
          <a:bodyPr anchor="ctr"/>
          <a:lstStyle>
            <a:lvl1pPr marL="0" indent="0" algn="ctr" defTabSz="914400" rtl="0" eaLnBrk="1" latinLnBrk="0" hangingPunct="1">
              <a:lnSpc>
                <a:spcPct val="110000"/>
              </a:lnSpc>
              <a:spcAft>
                <a:spcPts val="1200"/>
              </a:spcAft>
              <a:buClr>
                <a:schemeClr val="accent1"/>
              </a:buClr>
              <a:buFontTx/>
              <a:buNone/>
              <a:defRPr lang="en-US" sz="12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LOREM IPSUM DOLOR SIT</a:t>
            </a:r>
          </a:p>
        </p:txBody>
      </p:sp>
      <p:sp>
        <p:nvSpPr>
          <p:cNvPr id="39" name="Text Placeholder 3">
            <a:extLst>
              <a:ext uri="{FF2B5EF4-FFF2-40B4-BE49-F238E27FC236}">
                <a16:creationId xmlns:a16="http://schemas.microsoft.com/office/drawing/2014/main" id="{CF2A8F9C-A066-4AE3-82D0-AD1E83832A11}"/>
              </a:ext>
            </a:extLst>
          </p:cNvPr>
          <p:cNvSpPr>
            <a:spLocks noGrp="1"/>
          </p:cNvSpPr>
          <p:nvPr>
            <p:ph type="body" sz="quarter" idx="53" hasCustomPrompt="1"/>
          </p:nvPr>
        </p:nvSpPr>
        <p:spPr>
          <a:xfrm>
            <a:off x="1867423" y="3963801"/>
            <a:ext cx="1154857" cy="388248"/>
          </a:xfrm>
        </p:spPr>
        <p:txBody>
          <a:bodyPr anchor="ctr"/>
          <a:lstStyle>
            <a:lvl1pPr marL="0" indent="0" algn="ctr" defTabSz="914400" rtl="0" eaLnBrk="1" latinLnBrk="0" hangingPunct="1">
              <a:lnSpc>
                <a:spcPct val="110000"/>
              </a:lnSpc>
              <a:spcAft>
                <a:spcPts val="1200"/>
              </a:spcAft>
              <a:buClr>
                <a:schemeClr val="accent1"/>
              </a:buClr>
              <a:buFontTx/>
              <a:buNone/>
              <a:defRPr lang="en-US" sz="1200" b="1" kern="1200" cap="all" baseline="0" dirty="0" smtClean="0">
                <a:solidFill>
                  <a:schemeClr val="bg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LOREM IPSUM DOLOR SIT</a:t>
            </a:r>
          </a:p>
        </p:txBody>
      </p:sp>
      <p:sp>
        <p:nvSpPr>
          <p:cNvPr id="40" name="Text Placeholder 3">
            <a:extLst>
              <a:ext uri="{FF2B5EF4-FFF2-40B4-BE49-F238E27FC236}">
                <a16:creationId xmlns:a16="http://schemas.microsoft.com/office/drawing/2014/main" id="{D69AA012-0164-4B3A-8CC7-33F0E528185D}"/>
              </a:ext>
            </a:extLst>
          </p:cNvPr>
          <p:cNvSpPr>
            <a:spLocks noGrp="1"/>
          </p:cNvSpPr>
          <p:nvPr>
            <p:ph type="body" sz="quarter" idx="54" hasCustomPrompt="1"/>
          </p:nvPr>
        </p:nvSpPr>
        <p:spPr>
          <a:xfrm>
            <a:off x="3457230" y="3687428"/>
            <a:ext cx="1154857" cy="388248"/>
          </a:xfrm>
        </p:spPr>
        <p:txBody>
          <a:bodyPr anchor="ctr"/>
          <a:lstStyle>
            <a:lvl1pPr marL="0" indent="0" algn="ctr" defTabSz="914400" rtl="0" eaLnBrk="1" latinLnBrk="0" hangingPunct="1">
              <a:lnSpc>
                <a:spcPct val="110000"/>
              </a:lnSpc>
              <a:spcAft>
                <a:spcPts val="1200"/>
              </a:spcAft>
              <a:buClr>
                <a:schemeClr val="accent1"/>
              </a:buClr>
              <a:buFontTx/>
              <a:buNone/>
              <a:defRPr lang="en-US" sz="12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LOREM IPSUM DOLOR SIT</a:t>
            </a:r>
          </a:p>
        </p:txBody>
      </p:sp>
    </p:spTree>
    <p:extLst>
      <p:ext uri="{BB962C8B-B14F-4D97-AF65-F5344CB8AC3E}">
        <p14:creationId xmlns:p14="http://schemas.microsoft.com/office/powerpoint/2010/main" val="1936845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136834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6" name="Rectangle 25">
            <a:extLst>
              <a:ext uri="{FF2B5EF4-FFF2-40B4-BE49-F238E27FC236}">
                <a16:creationId xmlns:a16="http://schemas.microsoft.com/office/drawing/2014/main" id="{B24C0359-26C9-46F0-AF46-EBF0D3B207DB}"/>
              </a:ext>
            </a:extLst>
          </p:cNvPr>
          <p:cNvSpPr/>
          <p:nvPr userDrawn="1"/>
        </p:nvSpPr>
        <p:spPr>
          <a:xfrm>
            <a:off x="7162800" y="1210090"/>
            <a:ext cx="4682209" cy="50444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hasCustomPrompt="1"/>
          </p:nvPr>
        </p:nvSpPr>
        <p:spPr>
          <a:xfrm>
            <a:off x="346991" y="1210090"/>
            <a:ext cx="6653884" cy="218393"/>
          </a:xfrm>
        </p:spPr>
        <p:txBody>
          <a:bodyPr/>
          <a:lstStyle>
            <a:lvl1pPr marL="0" indent="0" algn="just" defTabSz="914400" rtl="0" eaLnBrk="1" latinLnBrk="0" hangingPunct="1">
              <a:lnSpc>
                <a:spcPct val="11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8" name="Chart Placeholder 7">
            <a:extLst>
              <a:ext uri="{FF2B5EF4-FFF2-40B4-BE49-F238E27FC236}">
                <a16:creationId xmlns:a16="http://schemas.microsoft.com/office/drawing/2014/main" id="{4843FD1E-EAB7-4175-9B78-9D5C111E34A4}"/>
              </a:ext>
            </a:extLst>
          </p:cNvPr>
          <p:cNvSpPr>
            <a:spLocks noGrp="1"/>
          </p:cNvSpPr>
          <p:nvPr>
            <p:ph type="chart" sz="quarter" idx="45"/>
          </p:nvPr>
        </p:nvSpPr>
        <p:spPr>
          <a:xfrm>
            <a:off x="7294104" y="1842297"/>
            <a:ext cx="4419600" cy="4227121"/>
          </a:xfrm>
        </p:spPr>
        <p:txBody>
          <a:bodyPr anchor="ctr">
            <a:noAutofit/>
          </a:bodyPr>
          <a:lstStyle>
            <a:lvl1pPr marL="0" indent="0" algn="ctr">
              <a:buNone/>
              <a:defRPr sz="1200"/>
            </a:lvl1pPr>
          </a:lstStyle>
          <a:p>
            <a:endParaRPr lang="en-US" dirty="0"/>
          </a:p>
        </p:txBody>
      </p:sp>
      <p:sp>
        <p:nvSpPr>
          <p:cNvPr id="18" name="Text Placeholder 3">
            <a:extLst>
              <a:ext uri="{FF2B5EF4-FFF2-40B4-BE49-F238E27FC236}">
                <a16:creationId xmlns:a16="http://schemas.microsoft.com/office/drawing/2014/main" id="{26AC3C4A-CD00-4AD5-8649-307CC36D7B47}"/>
              </a:ext>
            </a:extLst>
          </p:cNvPr>
          <p:cNvSpPr>
            <a:spLocks noGrp="1"/>
          </p:cNvSpPr>
          <p:nvPr>
            <p:ph type="body" sz="quarter" idx="47"/>
          </p:nvPr>
        </p:nvSpPr>
        <p:spPr>
          <a:xfrm>
            <a:off x="346991" y="1540280"/>
            <a:ext cx="6653884"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9" name="Text Placeholder 4">
            <a:extLst>
              <a:ext uri="{FF2B5EF4-FFF2-40B4-BE49-F238E27FC236}">
                <a16:creationId xmlns:a16="http://schemas.microsoft.com/office/drawing/2014/main" id="{30953E63-FD32-4174-8912-73912B44F6DA}"/>
              </a:ext>
            </a:extLst>
          </p:cNvPr>
          <p:cNvSpPr>
            <a:spLocks noGrp="1"/>
          </p:cNvSpPr>
          <p:nvPr>
            <p:ph type="body" sz="quarter" idx="49" hasCustomPrompt="1"/>
          </p:nvPr>
        </p:nvSpPr>
        <p:spPr>
          <a:xfrm>
            <a:off x="7294103" y="1336150"/>
            <a:ext cx="4419601"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0" name="Text Placeholder 4">
            <a:extLst>
              <a:ext uri="{FF2B5EF4-FFF2-40B4-BE49-F238E27FC236}">
                <a16:creationId xmlns:a16="http://schemas.microsoft.com/office/drawing/2014/main" id="{26EC0A6B-EBD6-44C2-8D6F-23903FFDC045}"/>
              </a:ext>
            </a:extLst>
          </p:cNvPr>
          <p:cNvSpPr>
            <a:spLocks noGrp="1"/>
          </p:cNvSpPr>
          <p:nvPr>
            <p:ph type="body" sz="quarter" idx="50" hasCustomPrompt="1"/>
          </p:nvPr>
        </p:nvSpPr>
        <p:spPr>
          <a:xfrm>
            <a:off x="7294103" y="1534076"/>
            <a:ext cx="4419601"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916614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518646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hasCustomPrompt="1"/>
          </p:nvPr>
        </p:nvSpPr>
        <p:spPr>
          <a:xfrm>
            <a:off x="8181997" y="1180095"/>
            <a:ext cx="3663012"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8" name="Text Placeholder 3">
            <a:extLst>
              <a:ext uri="{FF2B5EF4-FFF2-40B4-BE49-F238E27FC236}">
                <a16:creationId xmlns:a16="http://schemas.microsoft.com/office/drawing/2014/main" id="{26AC3C4A-CD00-4AD5-8649-307CC36D7B47}"/>
              </a:ext>
            </a:extLst>
          </p:cNvPr>
          <p:cNvSpPr>
            <a:spLocks noGrp="1"/>
          </p:cNvSpPr>
          <p:nvPr>
            <p:ph type="body" sz="quarter" idx="47"/>
          </p:nvPr>
        </p:nvSpPr>
        <p:spPr>
          <a:xfrm>
            <a:off x="8181997" y="1484085"/>
            <a:ext cx="3663012"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9" name="Rectangle 18">
            <a:extLst>
              <a:ext uri="{FF2B5EF4-FFF2-40B4-BE49-F238E27FC236}">
                <a16:creationId xmlns:a16="http://schemas.microsoft.com/office/drawing/2014/main" id="{90E28323-9DA7-49AB-9DEC-CA9B9DB6FFC3}"/>
              </a:ext>
            </a:extLst>
          </p:cNvPr>
          <p:cNvSpPr/>
          <p:nvPr userDrawn="1"/>
        </p:nvSpPr>
        <p:spPr>
          <a:xfrm>
            <a:off x="346991" y="1469191"/>
            <a:ext cx="7634584" cy="47506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 Placeholder 3">
            <a:extLst>
              <a:ext uri="{FF2B5EF4-FFF2-40B4-BE49-F238E27FC236}">
                <a16:creationId xmlns:a16="http://schemas.microsoft.com/office/drawing/2014/main" id="{0DEACD88-E5C2-4ABC-A4DD-CB45F8A52282}"/>
              </a:ext>
            </a:extLst>
          </p:cNvPr>
          <p:cNvSpPr>
            <a:spLocks noGrp="1"/>
          </p:cNvSpPr>
          <p:nvPr>
            <p:ph type="body" sz="quarter" idx="48" hasCustomPrompt="1"/>
          </p:nvPr>
        </p:nvSpPr>
        <p:spPr>
          <a:xfrm>
            <a:off x="3054370" y="1180095"/>
            <a:ext cx="4927209"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1" name="Text Placeholder 3">
            <a:extLst>
              <a:ext uri="{FF2B5EF4-FFF2-40B4-BE49-F238E27FC236}">
                <a16:creationId xmlns:a16="http://schemas.microsoft.com/office/drawing/2014/main" id="{AA254D7A-57A1-4693-96A2-A5FE2BBA2E4B}"/>
              </a:ext>
            </a:extLst>
          </p:cNvPr>
          <p:cNvSpPr>
            <a:spLocks noGrp="1"/>
          </p:cNvSpPr>
          <p:nvPr>
            <p:ph type="body" sz="quarter" idx="49"/>
          </p:nvPr>
        </p:nvSpPr>
        <p:spPr>
          <a:xfrm>
            <a:off x="482314" y="2082291"/>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2" name="Text Placeholder 3">
            <a:extLst>
              <a:ext uri="{FF2B5EF4-FFF2-40B4-BE49-F238E27FC236}">
                <a16:creationId xmlns:a16="http://schemas.microsoft.com/office/drawing/2014/main" id="{CCC67521-05A6-4C49-AEDE-F06EA177A147}"/>
              </a:ext>
            </a:extLst>
          </p:cNvPr>
          <p:cNvSpPr>
            <a:spLocks noGrp="1"/>
          </p:cNvSpPr>
          <p:nvPr>
            <p:ph type="body" sz="quarter" idx="50"/>
          </p:nvPr>
        </p:nvSpPr>
        <p:spPr>
          <a:xfrm>
            <a:off x="482314" y="2773053"/>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3" name="Text Placeholder 3">
            <a:extLst>
              <a:ext uri="{FF2B5EF4-FFF2-40B4-BE49-F238E27FC236}">
                <a16:creationId xmlns:a16="http://schemas.microsoft.com/office/drawing/2014/main" id="{CB4D02B2-BEC7-4A3D-B617-F4CC14EB143C}"/>
              </a:ext>
            </a:extLst>
          </p:cNvPr>
          <p:cNvSpPr>
            <a:spLocks noGrp="1"/>
          </p:cNvSpPr>
          <p:nvPr>
            <p:ph type="body" sz="quarter" idx="51"/>
          </p:nvPr>
        </p:nvSpPr>
        <p:spPr>
          <a:xfrm>
            <a:off x="482314" y="3463814"/>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4" name="Text Placeholder 3">
            <a:extLst>
              <a:ext uri="{FF2B5EF4-FFF2-40B4-BE49-F238E27FC236}">
                <a16:creationId xmlns:a16="http://schemas.microsoft.com/office/drawing/2014/main" id="{D06C85C8-69DB-4EDA-B47C-7B866C68BD24}"/>
              </a:ext>
            </a:extLst>
          </p:cNvPr>
          <p:cNvSpPr>
            <a:spLocks noGrp="1"/>
          </p:cNvSpPr>
          <p:nvPr>
            <p:ph type="body" sz="quarter" idx="52"/>
          </p:nvPr>
        </p:nvSpPr>
        <p:spPr>
          <a:xfrm>
            <a:off x="482314" y="4154575"/>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5" name="Text Placeholder 3">
            <a:extLst>
              <a:ext uri="{FF2B5EF4-FFF2-40B4-BE49-F238E27FC236}">
                <a16:creationId xmlns:a16="http://schemas.microsoft.com/office/drawing/2014/main" id="{5083A622-6894-42B2-A549-8024DF678289}"/>
              </a:ext>
            </a:extLst>
          </p:cNvPr>
          <p:cNvSpPr>
            <a:spLocks noGrp="1"/>
          </p:cNvSpPr>
          <p:nvPr>
            <p:ph type="body" sz="quarter" idx="53"/>
          </p:nvPr>
        </p:nvSpPr>
        <p:spPr>
          <a:xfrm>
            <a:off x="482314" y="5536099"/>
            <a:ext cx="2424784" cy="586326"/>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6" name="Text Placeholder 3">
            <a:extLst>
              <a:ext uri="{FF2B5EF4-FFF2-40B4-BE49-F238E27FC236}">
                <a16:creationId xmlns:a16="http://schemas.microsoft.com/office/drawing/2014/main" id="{58CCBC01-5464-4BE4-84E9-9F05DE98657C}"/>
              </a:ext>
            </a:extLst>
          </p:cNvPr>
          <p:cNvSpPr>
            <a:spLocks noGrp="1"/>
          </p:cNvSpPr>
          <p:nvPr>
            <p:ph type="body" sz="quarter" idx="54"/>
          </p:nvPr>
        </p:nvSpPr>
        <p:spPr>
          <a:xfrm>
            <a:off x="482314" y="4845336"/>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42" name="Text Placeholder 3">
            <a:extLst>
              <a:ext uri="{FF2B5EF4-FFF2-40B4-BE49-F238E27FC236}">
                <a16:creationId xmlns:a16="http://schemas.microsoft.com/office/drawing/2014/main" id="{3095D705-5694-4C05-9445-A0E5ACE3C841}"/>
              </a:ext>
            </a:extLst>
          </p:cNvPr>
          <p:cNvSpPr>
            <a:spLocks noGrp="1"/>
          </p:cNvSpPr>
          <p:nvPr>
            <p:ph type="body" sz="quarter" idx="55" hasCustomPrompt="1"/>
          </p:nvPr>
        </p:nvSpPr>
        <p:spPr>
          <a:xfrm>
            <a:off x="482314" y="1790647"/>
            <a:ext cx="2424784"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Factors</a:t>
            </a:r>
          </a:p>
        </p:txBody>
      </p:sp>
      <p:sp>
        <p:nvSpPr>
          <p:cNvPr id="24" name="Rectangle 23">
            <a:extLst>
              <a:ext uri="{FF2B5EF4-FFF2-40B4-BE49-F238E27FC236}">
                <a16:creationId xmlns:a16="http://schemas.microsoft.com/office/drawing/2014/main" id="{F780801A-0F98-4DAF-863F-90CF14539645}"/>
              </a:ext>
            </a:extLst>
          </p:cNvPr>
          <p:cNvSpPr/>
          <p:nvPr userDrawn="1"/>
        </p:nvSpPr>
        <p:spPr>
          <a:xfrm>
            <a:off x="3054370" y="1469191"/>
            <a:ext cx="4927209" cy="536900"/>
          </a:xfrm>
          <a:prstGeom prst="rect">
            <a:avLst/>
          </a:prstGeom>
          <a:gradFill flip="none" rotWithShape="1">
            <a:gsLst>
              <a:gs pos="0">
                <a:schemeClr val="accent1"/>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6" name="Rectangle 25">
            <a:extLst>
              <a:ext uri="{FF2B5EF4-FFF2-40B4-BE49-F238E27FC236}">
                <a16:creationId xmlns:a16="http://schemas.microsoft.com/office/drawing/2014/main" id="{F1701BD8-8F40-4C48-A516-AAC48F520302}"/>
              </a:ext>
            </a:extLst>
          </p:cNvPr>
          <p:cNvSpPr/>
          <p:nvPr userDrawn="1"/>
        </p:nvSpPr>
        <p:spPr>
          <a:xfrm>
            <a:off x="3164273" y="1538287"/>
            <a:ext cx="1214434" cy="187167"/>
          </a:xfrm>
          <a:prstGeom prst="rect">
            <a:avLst/>
          </a:prstGeom>
        </p:spPr>
        <p:txBody>
          <a:bodyPr wrap="square" lIns="0" tIns="0" rIns="0" bIns="0" anchor="ctr">
            <a:spAutoFit/>
          </a:bodyPr>
          <a:lstStyle/>
          <a:p>
            <a:pPr>
              <a:lnSpc>
                <a:spcPct val="110000"/>
              </a:lnSpc>
              <a:spcAft>
                <a:spcPts val="800"/>
              </a:spcAft>
            </a:pPr>
            <a:r>
              <a:rPr lang="en-US" sz="1200" i="1" dirty="0">
                <a:solidFill>
                  <a:schemeClr val="bg1"/>
                </a:solidFill>
              </a:rPr>
              <a:t>Unfavorable</a:t>
            </a:r>
          </a:p>
        </p:txBody>
      </p:sp>
      <p:sp>
        <p:nvSpPr>
          <p:cNvPr id="27" name="Rectangle 26">
            <a:extLst>
              <a:ext uri="{FF2B5EF4-FFF2-40B4-BE49-F238E27FC236}">
                <a16:creationId xmlns:a16="http://schemas.microsoft.com/office/drawing/2014/main" id="{C39622A3-0819-4085-9277-2431DD9F20AA}"/>
              </a:ext>
            </a:extLst>
          </p:cNvPr>
          <p:cNvSpPr/>
          <p:nvPr userDrawn="1"/>
        </p:nvSpPr>
        <p:spPr>
          <a:xfrm>
            <a:off x="6621571" y="1538287"/>
            <a:ext cx="1214434" cy="187167"/>
          </a:xfrm>
          <a:prstGeom prst="rect">
            <a:avLst/>
          </a:prstGeom>
        </p:spPr>
        <p:txBody>
          <a:bodyPr wrap="square" lIns="0" tIns="0" rIns="0" bIns="0" anchor="ctr">
            <a:spAutoFit/>
          </a:bodyPr>
          <a:lstStyle/>
          <a:p>
            <a:pPr algn="r">
              <a:lnSpc>
                <a:spcPct val="110000"/>
              </a:lnSpc>
              <a:spcAft>
                <a:spcPts val="800"/>
              </a:spcAft>
            </a:pPr>
            <a:r>
              <a:rPr lang="en-US" sz="1200" i="1" dirty="0">
                <a:solidFill>
                  <a:schemeClr val="bg1"/>
                </a:solidFill>
              </a:rPr>
              <a:t>Favorable</a:t>
            </a:r>
          </a:p>
        </p:txBody>
      </p:sp>
      <p:sp>
        <p:nvSpPr>
          <p:cNvPr id="28" name="Rectangle 27">
            <a:extLst>
              <a:ext uri="{FF2B5EF4-FFF2-40B4-BE49-F238E27FC236}">
                <a16:creationId xmlns:a16="http://schemas.microsoft.com/office/drawing/2014/main" id="{09CE9C8A-0D5D-4B94-98AC-5CA3C7BDD358}"/>
              </a:ext>
            </a:extLst>
          </p:cNvPr>
          <p:cNvSpPr/>
          <p:nvPr userDrawn="1"/>
        </p:nvSpPr>
        <p:spPr>
          <a:xfrm>
            <a:off x="323640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0</a:t>
            </a:r>
          </a:p>
        </p:txBody>
      </p:sp>
      <p:sp>
        <p:nvSpPr>
          <p:cNvPr id="29" name="Rectangle 28">
            <a:extLst>
              <a:ext uri="{FF2B5EF4-FFF2-40B4-BE49-F238E27FC236}">
                <a16:creationId xmlns:a16="http://schemas.microsoft.com/office/drawing/2014/main" id="{99B4F67A-CE1D-410C-88E2-189CEAB1EF04}"/>
              </a:ext>
            </a:extLst>
          </p:cNvPr>
          <p:cNvSpPr/>
          <p:nvPr userDrawn="1"/>
        </p:nvSpPr>
        <p:spPr>
          <a:xfrm>
            <a:off x="415967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2</a:t>
            </a:r>
          </a:p>
        </p:txBody>
      </p:sp>
      <p:sp>
        <p:nvSpPr>
          <p:cNvPr id="30" name="Rectangle 29">
            <a:extLst>
              <a:ext uri="{FF2B5EF4-FFF2-40B4-BE49-F238E27FC236}">
                <a16:creationId xmlns:a16="http://schemas.microsoft.com/office/drawing/2014/main" id="{76019611-7D43-4F61-9700-0BB51D02BF0D}"/>
              </a:ext>
            </a:extLst>
          </p:cNvPr>
          <p:cNvSpPr/>
          <p:nvPr userDrawn="1"/>
        </p:nvSpPr>
        <p:spPr>
          <a:xfrm>
            <a:off x="5017724"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4</a:t>
            </a:r>
          </a:p>
        </p:txBody>
      </p:sp>
      <p:sp>
        <p:nvSpPr>
          <p:cNvPr id="31" name="Rectangle 30">
            <a:extLst>
              <a:ext uri="{FF2B5EF4-FFF2-40B4-BE49-F238E27FC236}">
                <a16:creationId xmlns:a16="http://schemas.microsoft.com/office/drawing/2014/main" id="{74103E95-90EF-4CFB-B054-82F04E00153A}"/>
              </a:ext>
            </a:extLst>
          </p:cNvPr>
          <p:cNvSpPr/>
          <p:nvPr userDrawn="1"/>
        </p:nvSpPr>
        <p:spPr>
          <a:xfrm>
            <a:off x="5931087"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6</a:t>
            </a:r>
          </a:p>
        </p:txBody>
      </p:sp>
      <p:sp>
        <p:nvSpPr>
          <p:cNvPr id="32" name="Rectangle 31">
            <a:extLst>
              <a:ext uri="{FF2B5EF4-FFF2-40B4-BE49-F238E27FC236}">
                <a16:creationId xmlns:a16="http://schemas.microsoft.com/office/drawing/2014/main" id="{B9729DBE-D0B0-49EA-A500-192B5135504C}"/>
              </a:ext>
            </a:extLst>
          </p:cNvPr>
          <p:cNvSpPr/>
          <p:nvPr userDrawn="1"/>
        </p:nvSpPr>
        <p:spPr>
          <a:xfrm>
            <a:off x="7648020" y="1749828"/>
            <a:ext cx="166712"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10</a:t>
            </a:r>
          </a:p>
        </p:txBody>
      </p:sp>
      <p:cxnSp>
        <p:nvCxnSpPr>
          <p:cNvPr id="33" name="Straight Connector 32">
            <a:extLst>
              <a:ext uri="{FF2B5EF4-FFF2-40B4-BE49-F238E27FC236}">
                <a16:creationId xmlns:a16="http://schemas.microsoft.com/office/drawing/2014/main" id="{5B862261-1DB4-445D-9C3D-E1BBDA22E973}"/>
              </a:ext>
            </a:extLst>
          </p:cNvPr>
          <p:cNvCxnSpPr/>
          <p:nvPr userDrawn="1"/>
        </p:nvCxnSpPr>
        <p:spPr>
          <a:xfrm>
            <a:off x="327808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02912A9-351D-491B-9430-18C665DF453D}"/>
              </a:ext>
            </a:extLst>
          </p:cNvPr>
          <p:cNvCxnSpPr/>
          <p:nvPr userDrawn="1"/>
        </p:nvCxnSpPr>
        <p:spPr>
          <a:xfrm>
            <a:off x="4168744"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33AF807-F683-4904-A5BD-E12CDDBF10AF}"/>
              </a:ext>
            </a:extLst>
          </p:cNvPr>
          <p:cNvCxnSpPr/>
          <p:nvPr userDrawn="1"/>
        </p:nvCxnSpPr>
        <p:spPr>
          <a:xfrm>
            <a:off x="5059402"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E64E714-4269-4F96-A489-D85B79D19A18}"/>
              </a:ext>
            </a:extLst>
          </p:cNvPr>
          <p:cNvCxnSpPr/>
          <p:nvPr userDrawn="1"/>
        </p:nvCxnSpPr>
        <p:spPr>
          <a:xfrm>
            <a:off x="5950060"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91F87CF-0E51-4C94-8B7A-1119284AF116}"/>
              </a:ext>
            </a:extLst>
          </p:cNvPr>
          <p:cNvCxnSpPr/>
          <p:nvPr userDrawn="1"/>
        </p:nvCxnSpPr>
        <p:spPr>
          <a:xfrm>
            <a:off x="773137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25F1E17-5F74-4714-B566-DCCB259EE590}"/>
              </a:ext>
            </a:extLst>
          </p:cNvPr>
          <p:cNvSpPr/>
          <p:nvPr userDrawn="1"/>
        </p:nvSpPr>
        <p:spPr>
          <a:xfrm>
            <a:off x="6811932"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8</a:t>
            </a:r>
          </a:p>
        </p:txBody>
      </p:sp>
      <p:cxnSp>
        <p:nvCxnSpPr>
          <p:cNvPr id="40" name="Straight Connector 39">
            <a:extLst>
              <a:ext uri="{FF2B5EF4-FFF2-40B4-BE49-F238E27FC236}">
                <a16:creationId xmlns:a16="http://schemas.microsoft.com/office/drawing/2014/main" id="{8FB6B444-7E36-41C5-AF3A-31E7CB2DAED9}"/>
              </a:ext>
            </a:extLst>
          </p:cNvPr>
          <p:cNvCxnSpPr/>
          <p:nvPr userDrawn="1"/>
        </p:nvCxnSpPr>
        <p:spPr>
          <a:xfrm>
            <a:off x="6840718"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6366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4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5229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hasCustomPrompt="1"/>
          </p:nvPr>
        </p:nvSpPr>
        <p:spPr>
          <a:xfrm>
            <a:off x="8181997" y="1180095"/>
            <a:ext cx="3663012"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8" name="Text Placeholder 3">
            <a:extLst>
              <a:ext uri="{FF2B5EF4-FFF2-40B4-BE49-F238E27FC236}">
                <a16:creationId xmlns:a16="http://schemas.microsoft.com/office/drawing/2014/main" id="{26AC3C4A-CD00-4AD5-8649-307CC36D7B47}"/>
              </a:ext>
            </a:extLst>
          </p:cNvPr>
          <p:cNvSpPr>
            <a:spLocks noGrp="1"/>
          </p:cNvSpPr>
          <p:nvPr>
            <p:ph type="body" sz="quarter" idx="47"/>
          </p:nvPr>
        </p:nvSpPr>
        <p:spPr>
          <a:xfrm>
            <a:off x="8181997" y="1484085"/>
            <a:ext cx="3663012"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9" name="Rectangle 18">
            <a:extLst>
              <a:ext uri="{FF2B5EF4-FFF2-40B4-BE49-F238E27FC236}">
                <a16:creationId xmlns:a16="http://schemas.microsoft.com/office/drawing/2014/main" id="{90E28323-9DA7-49AB-9DEC-CA9B9DB6FFC3}"/>
              </a:ext>
            </a:extLst>
          </p:cNvPr>
          <p:cNvSpPr/>
          <p:nvPr userDrawn="1"/>
        </p:nvSpPr>
        <p:spPr>
          <a:xfrm>
            <a:off x="346991" y="1469191"/>
            <a:ext cx="7634584" cy="47506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9BD668FD-EE8F-4BA8-8C9E-0B83F1F85F5A}"/>
              </a:ext>
            </a:extLst>
          </p:cNvPr>
          <p:cNvSpPr/>
          <p:nvPr userDrawn="1"/>
        </p:nvSpPr>
        <p:spPr>
          <a:xfrm>
            <a:off x="3054370" y="1469191"/>
            <a:ext cx="4927209" cy="536900"/>
          </a:xfrm>
          <a:prstGeom prst="rect">
            <a:avLst/>
          </a:prstGeom>
          <a:gradFill flip="none" rotWithShape="1">
            <a:gsLst>
              <a:gs pos="0">
                <a:schemeClr val="accent1"/>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 name="Rectangle 29">
            <a:extLst>
              <a:ext uri="{FF2B5EF4-FFF2-40B4-BE49-F238E27FC236}">
                <a16:creationId xmlns:a16="http://schemas.microsoft.com/office/drawing/2014/main" id="{E1421DF0-70B4-471F-80CD-2612A76DCDB9}"/>
              </a:ext>
            </a:extLst>
          </p:cNvPr>
          <p:cNvSpPr/>
          <p:nvPr userDrawn="1"/>
        </p:nvSpPr>
        <p:spPr>
          <a:xfrm>
            <a:off x="3164273" y="1538287"/>
            <a:ext cx="1214434" cy="187167"/>
          </a:xfrm>
          <a:prstGeom prst="rect">
            <a:avLst/>
          </a:prstGeom>
        </p:spPr>
        <p:txBody>
          <a:bodyPr wrap="square" lIns="0" tIns="0" rIns="0" bIns="0" anchor="ctr">
            <a:spAutoFit/>
          </a:bodyPr>
          <a:lstStyle/>
          <a:p>
            <a:pPr>
              <a:lnSpc>
                <a:spcPct val="110000"/>
              </a:lnSpc>
              <a:spcAft>
                <a:spcPts val="800"/>
              </a:spcAft>
            </a:pPr>
            <a:r>
              <a:rPr lang="en-US" sz="1200" i="1" dirty="0">
                <a:solidFill>
                  <a:schemeClr val="bg1"/>
                </a:solidFill>
              </a:rPr>
              <a:t>Unfavorable</a:t>
            </a:r>
          </a:p>
        </p:txBody>
      </p:sp>
      <p:sp>
        <p:nvSpPr>
          <p:cNvPr id="31" name="Rectangle 30">
            <a:extLst>
              <a:ext uri="{FF2B5EF4-FFF2-40B4-BE49-F238E27FC236}">
                <a16:creationId xmlns:a16="http://schemas.microsoft.com/office/drawing/2014/main" id="{F876FBB2-2D72-4481-9AD4-712A2532CD9D}"/>
              </a:ext>
            </a:extLst>
          </p:cNvPr>
          <p:cNvSpPr/>
          <p:nvPr userDrawn="1"/>
        </p:nvSpPr>
        <p:spPr>
          <a:xfrm>
            <a:off x="6621571" y="1538287"/>
            <a:ext cx="1214434" cy="187167"/>
          </a:xfrm>
          <a:prstGeom prst="rect">
            <a:avLst/>
          </a:prstGeom>
        </p:spPr>
        <p:txBody>
          <a:bodyPr wrap="square" lIns="0" tIns="0" rIns="0" bIns="0" anchor="ctr">
            <a:spAutoFit/>
          </a:bodyPr>
          <a:lstStyle/>
          <a:p>
            <a:pPr algn="r">
              <a:lnSpc>
                <a:spcPct val="110000"/>
              </a:lnSpc>
              <a:spcAft>
                <a:spcPts val="800"/>
              </a:spcAft>
            </a:pPr>
            <a:r>
              <a:rPr lang="en-US" sz="1200" i="1" dirty="0">
                <a:solidFill>
                  <a:schemeClr val="bg1"/>
                </a:solidFill>
              </a:rPr>
              <a:t>Favorable</a:t>
            </a:r>
          </a:p>
        </p:txBody>
      </p:sp>
      <p:sp>
        <p:nvSpPr>
          <p:cNvPr id="50" name="Text Placeholder 3">
            <a:extLst>
              <a:ext uri="{FF2B5EF4-FFF2-40B4-BE49-F238E27FC236}">
                <a16:creationId xmlns:a16="http://schemas.microsoft.com/office/drawing/2014/main" id="{0DEACD88-E5C2-4ABC-A4DD-CB45F8A52282}"/>
              </a:ext>
            </a:extLst>
          </p:cNvPr>
          <p:cNvSpPr>
            <a:spLocks noGrp="1"/>
          </p:cNvSpPr>
          <p:nvPr>
            <p:ph type="body" sz="quarter" idx="48" hasCustomPrompt="1"/>
          </p:nvPr>
        </p:nvSpPr>
        <p:spPr>
          <a:xfrm>
            <a:off x="3054370" y="1180095"/>
            <a:ext cx="4927209"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1" name="Text Placeholder 3">
            <a:extLst>
              <a:ext uri="{FF2B5EF4-FFF2-40B4-BE49-F238E27FC236}">
                <a16:creationId xmlns:a16="http://schemas.microsoft.com/office/drawing/2014/main" id="{AA254D7A-57A1-4693-96A2-A5FE2BBA2E4B}"/>
              </a:ext>
            </a:extLst>
          </p:cNvPr>
          <p:cNvSpPr>
            <a:spLocks noGrp="1"/>
          </p:cNvSpPr>
          <p:nvPr>
            <p:ph type="body" sz="quarter" idx="49"/>
          </p:nvPr>
        </p:nvSpPr>
        <p:spPr>
          <a:xfrm>
            <a:off x="482314" y="2082291"/>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2" name="Text Placeholder 3">
            <a:extLst>
              <a:ext uri="{FF2B5EF4-FFF2-40B4-BE49-F238E27FC236}">
                <a16:creationId xmlns:a16="http://schemas.microsoft.com/office/drawing/2014/main" id="{CCC67521-05A6-4C49-AEDE-F06EA177A147}"/>
              </a:ext>
            </a:extLst>
          </p:cNvPr>
          <p:cNvSpPr>
            <a:spLocks noGrp="1"/>
          </p:cNvSpPr>
          <p:nvPr>
            <p:ph type="body" sz="quarter" idx="50"/>
          </p:nvPr>
        </p:nvSpPr>
        <p:spPr>
          <a:xfrm>
            <a:off x="482314" y="3233560"/>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3" name="Text Placeholder 3">
            <a:extLst>
              <a:ext uri="{FF2B5EF4-FFF2-40B4-BE49-F238E27FC236}">
                <a16:creationId xmlns:a16="http://schemas.microsoft.com/office/drawing/2014/main" id="{CB4D02B2-BEC7-4A3D-B617-F4CC14EB143C}"/>
              </a:ext>
            </a:extLst>
          </p:cNvPr>
          <p:cNvSpPr>
            <a:spLocks noGrp="1"/>
          </p:cNvSpPr>
          <p:nvPr>
            <p:ph type="body" sz="quarter" idx="51"/>
          </p:nvPr>
        </p:nvSpPr>
        <p:spPr>
          <a:xfrm>
            <a:off x="482314" y="4384829"/>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5" name="Text Placeholder 3">
            <a:extLst>
              <a:ext uri="{FF2B5EF4-FFF2-40B4-BE49-F238E27FC236}">
                <a16:creationId xmlns:a16="http://schemas.microsoft.com/office/drawing/2014/main" id="{5083A622-6894-42B2-A549-8024DF678289}"/>
              </a:ext>
            </a:extLst>
          </p:cNvPr>
          <p:cNvSpPr>
            <a:spLocks noGrp="1"/>
          </p:cNvSpPr>
          <p:nvPr>
            <p:ph type="body" sz="quarter" idx="53"/>
          </p:nvPr>
        </p:nvSpPr>
        <p:spPr>
          <a:xfrm>
            <a:off x="482314" y="5536099"/>
            <a:ext cx="2424784" cy="586326"/>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42" name="Text Placeholder 3">
            <a:extLst>
              <a:ext uri="{FF2B5EF4-FFF2-40B4-BE49-F238E27FC236}">
                <a16:creationId xmlns:a16="http://schemas.microsoft.com/office/drawing/2014/main" id="{3095D705-5694-4C05-9445-A0E5ACE3C841}"/>
              </a:ext>
            </a:extLst>
          </p:cNvPr>
          <p:cNvSpPr>
            <a:spLocks noGrp="1"/>
          </p:cNvSpPr>
          <p:nvPr>
            <p:ph type="body" sz="quarter" idx="55" hasCustomPrompt="1"/>
          </p:nvPr>
        </p:nvSpPr>
        <p:spPr>
          <a:xfrm>
            <a:off x="482314" y="1790647"/>
            <a:ext cx="2424784"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Factors</a:t>
            </a:r>
          </a:p>
        </p:txBody>
      </p:sp>
      <p:sp>
        <p:nvSpPr>
          <p:cNvPr id="45" name="Rectangle 44">
            <a:extLst>
              <a:ext uri="{FF2B5EF4-FFF2-40B4-BE49-F238E27FC236}">
                <a16:creationId xmlns:a16="http://schemas.microsoft.com/office/drawing/2014/main" id="{318630E8-EC05-4765-9670-4D7C4680A1D9}"/>
              </a:ext>
            </a:extLst>
          </p:cNvPr>
          <p:cNvSpPr/>
          <p:nvPr userDrawn="1"/>
        </p:nvSpPr>
        <p:spPr>
          <a:xfrm>
            <a:off x="323640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0</a:t>
            </a:r>
          </a:p>
        </p:txBody>
      </p:sp>
      <p:sp>
        <p:nvSpPr>
          <p:cNvPr id="46" name="Rectangle 45">
            <a:extLst>
              <a:ext uri="{FF2B5EF4-FFF2-40B4-BE49-F238E27FC236}">
                <a16:creationId xmlns:a16="http://schemas.microsoft.com/office/drawing/2014/main" id="{86ECEE3F-1E12-4202-805D-BE5F1332C6F0}"/>
              </a:ext>
            </a:extLst>
          </p:cNvPr>
          <p:cNvSpPr/>
          <p:nvPr userDrawn="1"/>
        </p:nvSpPr>
        <p:spPr>
          <a:xfrm>
            <a:off x="415967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2</a:t>
            </a:r>
          </a:p>
        </p:txBody>
      </p:sp>
      <p:sp>
        <p:nvSpPr>
          <p:cNvPr id="47" name="Rectangle 46">
            <a:extLst>
              <a:ext uri="{FF2B5EF4-FFF2-40B4-BE49-F238E27FC236}">
                <a16:creationId xmlns:a16="http://schemas.microsoft.com/office/drawing/2014/main" id="{484F0000-9DCB-4BA4-89A3-FDA65618C732}"/>
              </a:ext>
            </a:extLst>
          </p:cNvPr>
          <p:cNvSpPr/>
          <p:nvPr userDrawn="1"/>
        </p:nvSpPr>
        <p:spPr>
          <a:xfrm>
            <a:off x="5017724"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4</a:t>
            </a:r>
          </a:p>
        </p:txBody>
      </p:sp>
      <p:sp>
        <p:nvSpPr>
          <p:cNvPr id="48" name="Rectangle 47">
            <a:extLst>
              <a:ext uri="{FF2B5EF4-FFF2-40B4-BE49-F238E27FC236}">
                <a16:creationId xmlns:a16="http://schemas.microsoft.com/office/drawing/2014/main" id="{429A1876-BBD4-4DD8-9BA4-B93B67FD1D0A}"/>
              </a:ext>
            </a:extLst>
          </p:cNvPr>
          <p:cNvSpPr/>
          <p:nvPr userDrawn="1"/>
        </p:nvSpPr>
        <p:spPr>
          <a:xfrm>
            <a:off x="5931087"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6</a:t>
            </a:r>
          </a:p>
        </p:txBody>
      </p:sp>
      <p:sp>
        <p:nvSpPr>
          <p:cNvPr id="49" name="Rectangle 48">
            <a:extLst>
              <a:ext uri="{FF2B5EF4-FFF2-40B4-BE49-F238E27FC236}">
                <a16:creationId xmlns:a16="http://schemas.microsoft.com/office/drawing/2014/main" id="{118E8838-ADFD-458F-8689-413B6DFB6055}"/>
              </a:ext>
            </a:extLst>
          </p:cNvPr>
          <p:cNvSpPr/>
          <p:nvPr userDrawn="1"/>
        </p:nvSpPr>
        <p:spPr>
          <a:xfrm>
            <a:off x="7648020" y="1749828"/>
            <a:ext cx="166712"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10</a:t>
            </a:r>
          </a:p>
        </p:txBody>
      </p:sp>
      <p:cxnSp>
        <p:nvCxnSpPr>
          <p:cNvPr id="54" name="Straight Connector 53">
            <a:extLst>
              <a:ext uri="{FF2B5EF4-FFF2-40B4-BE49-F238E27FC236}">
                <a16:creationId xmlns:a16="http://schemas.microsoft.com/office/drawing/2014/main" id="{CD56D336-A509-4BE1-AAA9-FE70E696714B}"/>
              </a:ext>
            </a:extLst>
          </p:cNvPr>
          <p:cNvCxnSpPr/>
          <p:nvPr userDrawn="1"/>
        </p:nvCxnSpPr>
        <p:spPr>
          <a:xfrm>
            <a:off x="327808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2F03DCC-FCF9-475D-977F-7C4FEA4956A6}"/>
              </a:ext>
            </a:extLst>
          </p:cNvPr>
          <p:cNvCxnSpPr/>
          <p:nvPr userDrawn="1"/>
        </p:nvCxnSpPr>
        <p:spPr>
          <a:xfrm>
            <a:off x="4168744"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AAEE78D-1820-43B1-BDDD-F94342FD8C1B}"/>
              </a:ext>
            </a:extLst>
          </p:cNvPr>
          <p:cNvCxnSpPr/>
          <p:nvPr userDrawn="1"/>
        </p:nvCxnSpPr>
        <p:spPr>
          <a:xfrm>
            <a:off x="5059402"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9BFBCCB-2BC9-408C-A214-1E5D6EF6C70D}"/>
              </a:ext>
            </a:extLst>
          </p:cNvPr>
          <p:cNvCxnSpPr/>
          <p:nvPr userDrawn="1"/>
        </p:nvCxnSpPr>
        <p:spPr>
          <a:xfrm>
            <a:off x="5950060"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D7F31E7-0D21-4FBD-B364-3ED955938056}"/>
              </a:ext>
            </a:extLst>
          </p:cNvPr>
          <p:cNvCxnSpPr/>
          <p:nvPr userDrawn="1"/>
        </p:nvCxnSpPr>
        <p:spPr>
          <a:xfrm>
            <a:off x="773137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222BF69C-5DD2-434F-852A-A760E5900CDA}"/>
              </a:ext>
            </a:extLst>
          </p:cNvPr>
          <p:cNvSpPr/>
          <p:nvPr userDrawn="1"/>
        </p:nvSpPr>
        <p:spPr>
          <a:xfrm>
            <a:off x="6811932"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8</a:t>
            </a:r>
          </a:p>
        </p:txBody>
      </p:sp>
      <p:cxnSp>
        <p:nvCxnSpPr>
          <p:cNvPr id="61" name="Straight Connector 60">
            <a:extLst>
              <a:ext uri="{FF2B5EF4-FFF2-40B4-BE49-F238E27FC236}">
                <a16:creationId xmlns:a16="http://schemas.microsoft.com/office/drawing/2014/main" id="{7E61F4F8-EBC4-49A4-8FDA-924DC51D6CC5}"/>
              </a:ext>
            </a:extLst>
          </p:cNvPr>
          <p:cNvCxnSpPr/>
          <p:nvPr userDrawn="1"/>
        </p:nvCxnSpPr>
        <p:spPr>
          <a:xfrm>
            <a:off x="6840718"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710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5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3955008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 name="Text Placeholder 3">
            <a:extLst>
              <a:ext uri="{FF2B5EF4-FFF2-40B4-BE49-F238E27FC236}">
                <a16:creationId xmlns:a16="http://schemas.microsoft.com/office/drawing/2014/main" id="{431D7D23-3D4C-42D4-B292-3BA4573DAA45}"/>
              </a:ext>
            </a:extLst>
          </p:cNvPr>
          <p:cNvSpPr>
            <a:spLocks noGrp="1"/>
          </p:cNvSpPr>
          <p:nvPr>
            <p:ph type="body" sz="quarter" idx="44" hasCustomPrompt="1"/>
          </p:nvPr>
        </p:nvSpPr>
        <p:spPr>
          <a:xfrm>
            <a:off x="8181997" y="1180095"/>
            <a:ext cx="3663012"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8" name="Text Placeholder 3">
            <a:extLst>
              <a:ext uri="{FF2B5EF4-FFF2-40B4-BE49-F238E27FC236}">
                <a16:creationId xmlns:a16="http://schemas.microsoft.com/office/drawing/2014/main" id="{26AC3C4A-CD00-4AD5-8649-307CC36D7B47}"/>
              </a:ext>
            </a:extLst>
          </p:cNvPr>
          <p:cNvSpPr>
            <a:spLocks noGrp="1"/>
          </p:cNvSpPr>
          <p:nvPr>
            <p:ph type="body" sz="quarter" idx="47"/>
          </p:nvPr>
        </p:nvSpPr>
        <p:spPr>
          <a:xfrm>
            <a:off x="8181997" y="1484085"/>
            <a:ext cx="3663012" cy="187167"/>
          </a:xfrm>
        </p:spPr>
        <p:txBody>
          <a:bodyPr/>
          <a:lstStyle>
            <a:lvl1pPr marL="247650" indent="-247650" algn="just" defTabSz="914400" rtl="0" eaLnBrk="1" latinLnBrk="0" hangingPunct="1">
              <a:lnSpc>
                <a:spcPct val="110000"/>
              </a:lnSpc>
              <a:spcBef>
                <a:spcPts val="0"/>
              </a:spcBef>
              <a:spcAft>
                <a:spcPts val="1200"/>
              </a:spcAft>
              <a:buClr>
                <a:schemeClr val="accent1"/>
              </a:buClr>
              <a:buFontTx/>
              <a:buChar char="■"/>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19" name="Rectangle 18">
            <a:extLst>
              <a:ext uri="{FF2B5EF4-FFF2-40B4-BE49-F238E27FC236}">
                <a16:creationId xmlns:a16="http://schemas.microsoft.com/office/drawing/2014/main" id="{90E28323-9DA7-49AB-9DEC-CA9B9DB6FFC3}"/>
              </a:ext>
            </a:extLst>
          </p:cNvPr>
          <p:cNvSpPr/>
          <p:nvPr userDrawn="1"/>
        </p:nvSpPr>
        <p:spPr>
          <a:xfrm>
            <a:off x="346991" y="1469191"/>
            <a:ext cx="7634584" cy="47506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9BD668FD-EE8F-4BA8-8C9E-0B83F1F85F5A}"/>
              </a:ext>
            </a:extLst>
          </p:cNvPr>
          <p:cNvSpPr/>
          <p:nvPr userDrawn="1"/>
        </p:nvSpPr>
        <p:spPr>
          <a:xfrm>
            <a:off x="3054370" y="1469191"/>
            <a:ext cx="4927209" cy="536900"/>
          </a:xfrm>
          <a:prstGeom prst="rect">
            <a:avLst/>
          </a:prstGeom>
          <a:gradFill flip="none" rotWithShape="1">
            <a:gsLst>
              <a:gs pos="0">
                <a:schemeClr val="accent1"/>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 name="Rectangle 29">
            <a:extLst>
              <a:ext uri="{FF2B5EF4-FFF2-40B4-BE49-F238E27FC236}">
                <a16:creationId xmlns:a16="http://schemas.microsoft.com/office/drawing/2014/main" id="{E1421DF0-70B4-471F-80CD-2612A76DCDB9}"/>
              </a:ext>
            </a:extLst>
          </p:cNvPr>
          <p:cNvSpPr/>
          <p:nvPr userDrawn="1"/>
        </p:nvSpPr>
        <p:spPr>
          <a:xfrm>
            <a:off x="3164273" y="1538287"/>
            <a:ext cx="1214434" cy="187167"/>
          </a:xfrm>
          <a:prstGeom prst="rect">
            <a:avLst/>
          </a:prstGeom>
        </p:spPr>
        <p:txBody>
          <a:bodyPr wrap="square" lIns="0" tIns="0" rIns="0" bIns="0" anchor="ctr">
            <a:spAutoFit/>
          </a:bodyPr>
          <a:lstStyle/>
          <a:p>
            <a:pPr>
              <a:lnSpc>
                <a:spcPct val="110000"/>
              </a:lnSpc>
              <a:spcAft>
                <a:spcPts val="800"/>
              </a:spcAft>
            </a:pPr>
            <a:r>
              <a:rPr lang="en-US" sz="1200" i="1" dirty="0">
                <a:solidFill>
                  <a:schemeClr val="bg1"/>
                </a:solidFill>
              </a:rPr>
              <a:t>Unfavorable</a:t>
            </a:r>
          </a:p>
        </p:txBody>
      </p:sp>
      <p:sp>
        <p:nvSpPr>
          <p:cNvPr id="31" name="Rectangle 30">
            <a:extLst>
              <a:ext uri="{FF2B5EF4-FFF2-40B4-BE49-F238E27FC236}">
                <a16:creationId xmlns:a16="http://schemas.microsoft.com/office/drawing/2014/main" id="{F876FBB2-2D72-4481-9AD4-712A2532CD9D}"/>
              </a:ext>
            </a:extLst>
          </p:cNvPr>
          <p:cNvSpPr/>
          <p:nvPr userDrawn="1"/>
        </p:nvSpPr>
        <p:spPr>
          <a:xfrm>
            <a:off x="6621571" y="1538287"/>
            <a:ext cx="1214434" cy="187167"/>
          </a:xfrm>
          <a:prstGeom prst="rect">
            <a:avLst/>
          </a:prstGeom>
        </p:spPr>
        <p:txBody>
          <a:bodyPr wrap="square" lIns="0" tIns="0" rIns="0" bIns="0" anchor="ctr">
            <a:spAutoFit/>
          </a:bodyPr>
          <a:lstStyle/>
          <a:p>
            <a:pPr algn="r">
              <a:lnSpc>
                <a:spcPct val="110000"/>
              </a:lnSpc>
              <a:spcAft>
                <a:spcPts val="800"/>
              </a:spcAft>
            </a:pPr>
            <a:r>
              <a:rPr lang="en-US" sz="1200" i="1" dirty="0">
                <a:solidFill>
                  <a:schemeClr val="bg1"/>
                </a:solidFill>
              </a:rPr>
              <a:t>Favorable</a:t>
            </a:r>
          </a:p>
        </p:txBody>
      </p:sp>
      <p:sp>
        <p:nvSpPr>
          <p:cNvPr id="50" name="Text Placeholder 3">
            <a:extLst>
              <a:ext uri="{FF2B5EF4-FFF2-40B4-BE49-F238E27FC236}">
                <a16:creationId xmlns:a16="http://schemas.microsoft.com/office/drawing/2014/main" id="{0DEACD88-E5C2-4ABC-A4DD-CB45F8A52282}"/>
              </a:ext>
            </a:extLst>
          </p:cNvPr>
          <p:cNvSpPr>
            <a:spLocks noGrp="1"/>
          </p:cNvSpPr>
          <p:nvPr>
            <p:ph type="body" sz="quarter" idx="48" hasCustomPrompt="1"/>
          </p:nvPr>
        </p:nvSpPr>
        <p:spPr>
          <a:xfrm>
            <a:off x="3054370" y="1180095"/>
            <a:ext cx="4927209"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1" name="Text Placeholder 3">
            <a:extLst>
              <a:ext uri="{FF2B5EF4-FFF2-40B4-BE49-F238E27FC236}">
                <a16:creationId xmlns:a16="http://schemas.microsoft.com/office/drawing/2014/main" id="{AA254D7A-57A1-4693-96A2-A5FE2BBA2E4B}"/>
              </a:ext>
            </a:extLst>
          </p:cNvPr>
          <p:cNvSpPr>
            <a:spLocks noGrp="1"/>
          </p:cNvSpPr>
          <p:nvPr>
            <p:ph type="body" sz="quarter" idx="49"/>
          </p:nvPr>
        </p:nvSpPr>
        <p:spPr>
          <a:xfrm>
            <a:off x="482314" y="2082291"/>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3" name="Text Placeholder 3">
            <a:extLst>
              <a:ext uri="{FF2B5EF4-FFF2-40B4-BE49-F238E27FC236}">
                <a16:creationId xmlns:a16="http://schemas.microsoft.com/office/drawing/2014/main" id="{CB4D02B2-BEC7-4A3D-B617-F4CC14EB143C}"/>
              </a:ext>
            </a:extLst>
          </p:cNvPr>
          <p:cNvSpPr>
            <a:spLocks noGrp="1"/>
          </p:cNvSpPr>
          <p:nvPr>
            <p:ph type="body" sz="quarter" idx="51"/>
          </p:nvPr>
        </p:nvSpPr>
        <p:spPr>
          <a:xfrm>
            <a:off x="482314" y="2945743"/>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4" name="Text Placeholder 3">
            <a:extLst>
              <a:ext uri="{FF2B5EF4-FFF2-40B4-BE49-F238E27FC236}">
                <a16:creationId xmlns:a16="http://schemas.microsoft.com/office/drawing/2014/main" id="{D06C85C8-69DB-4EDA-B47C-7B866C68BD24}"/>
              </a:ext>
            </a:extLst>
          </p:cNvPr>
          <p:cNvSpPr>
            <a:spLocks noGrp="1"/>
          </p:cNvSpPr>
          <p:nvPr>
            <p:ph type="body" sz="quarter" idx="52"/>
          </p:nvPr>
        </p:nvSpPr>
        <p:spPr>
          <a:xfrm>
            <a:off x="482314" y="3809195"/>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5" name="Text Placeholder 3">
            <a:extLst>
              <a:ext uri="{FF2B5EF4-FFF2-40B4-BE49-F238E27FC236}">
                <a16:creationId xmlns:a16="http://schemas.microsoft.com/office/drawing/2014/main" id="{5083A622-6894-42B2-A549-8024DF678289}"/>
              </a:ext>
            </a:extLst>
          </p:cNvPr>
          <p:cNvSpPr>
            <a:spLocks noGrp="1"/>
          </p:cNvSpPr>
          <p:nvPr>
            <p:ph type="body" sz="quarter" idx="53"/>
          </p:nvPr>
        </p:nvSpPr>
        <p:spPr>
          <a:xfrm>
            <a:off x="482314" y="5536099"/>
            <a:ext cx="2424784" cy="586326"/>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56" name="Text Placeholder 3">
            <a:extLst>
              <a:ext uri="{FF2B5EF4-FFF2-40B4-BE49-F238E27FC236}">
                <a16:creationId xmlns:a16="http://schemas.microsoft.com/office/drawing/2014/main" id="{58CCBC01-5464-4BE4-84E9-9F05DE98657C}"/>
              </a:ext>
            </a:extLst>
          </p:cNvPr>
          <p:cNvSpPr>
            <a:spLocks noGrp="1"/>
          </p:cNvSpPr>
          <p:nvPr>
            <p:ph type="body" sz="quarter" idx="54"/>
          </p:nvPr>
        </p:nvSpPr>
        <p:spPr>
          <a:xfrm>
            <a:off x="482314" y="4672647"/>
            <a:ext cx="2424784" cy="593432"/>
          </a:xfrm>
        </p:spPr>
        <p:txBody>
          <a:bodyPr anchor="ctr">
            <a:noAutofit/>
          </a:bodyPr>
          <a:lstStyle>
            <a:lvl1pPr marL="0" indent="0" algn="l" defTabSz="914400" rtl="0" eaLnBrk="1" latinLnBrk="0" hangingPunct="1">
              <a:lnSpc>
                <a:spcPct val="110000"/>
              </a:lnSpc>
              <a:spcAft>
                <a:spcPts val="1200"/>
              </a:spcAft>
              <a:buClr>
                <a:schemeClr val="accent1"/>
              </a:buClr>
              <a:buFontTx/>
              <a:buNone/>
              <a:defRPr lang="en-US" sz="1200" kern="1200" dirty="0" smtClean="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ext styles</a:t>
            </a:r>
          </a:p>
        </p:txBody>
      </p:sp>
      <p:sp>
        <p:nvSpPr>
          <p:cNvPr id="42" name="Text Placeholder 3">
            <a:extLst>
              <a:ext uri="{FF2B5EF4-FFF2-40B4-BE49-F238E27FC236}">
                <a16:creationId xmlns:a16="http://schemas.microsoft.com/office/drawing/2014/main" id="{3095D705-5694-4C05-9445-A0E5ACE3C841}"/>
              </a:ext>
            </a:extLst>
          </p:cNvPr>
          <p:cNvSpPr>
            <a:spLocks noGrp="1"/>
          </p:cNvSpPr>
          <p:nvPr>
            <p:ph type="body" sz="quarter" idx="55" hasCustomPrompt="1"/>
          </p:nvPr>
        </p:nvSpPr>
        <p:spPr>
          <a:xfrm>
            <a:off x="482314" y="1790647"/>
            <a:ext cx="2424784" cy="215957"/>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Factors</a:t>
            </a:r>
          </a:p>
        </p:txBody>
      </p:sp>
      <p:sp>
        <p:nvSpPr>
          <p:cNvPr id="45" name="Rectangle 44">
            <a:extLst>
              <a:ext uri="{FF2B5EF4-FFF2-40B4-BE49-F238E27FC236}">
                <a16:creationId xmlns:a16="http://schemas.microsoft.com/office/drawing/2014/main" id="{D9FD73A6-A773-4D25-A193-B48396B57824}"/>
              </a:ext>
            </a:extLst>
          </p:cNvPr>
          <p:cNvSpPr/>
          <p:nvPr userDrawn="1"/>
        </p:nvSpPr>
        <p:spPr>
          <a:xfrm>
            <a:off x="323640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0</a:t>
            </a:r>
          </a:p>
        </p:txBody>
      </p:sp>
      <p:sp>
        <p:nvSpPr>
          <p:cNvPr id="46" name="Rectangle 45">
            <a:extLst>
              <a:ext uri="{FF2B5EF4-FFF2-40B4-BE49-F238E27FC236}">
                <a16:creationId xmlns:a16="http://schemas.microsoft.com/office/drawing/2014/main" id="{D5A4DC70-9026-4833-8078-A36B7F25CA8F}"/>
              </a:ext>
            </a:extLst>
          </p:cNvPr>
          <p:cNvSpPr/>
          <p:nvPr userDrawn="1"/>
        </p:nvSpPr>
        <p:spPr>
          <a:xfrm>
            <a:off x="4159678"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2</a:t>
            </a:r>
          </a:p>
        </p:txBody>
      </p:sp>
      <p:sp>
        <p:nvSpPr>
          <p:cNvPr id="47" name="Rectangle 46">
            <a:extLst>
              <a:ext uri="{FF2B5EF4-FFF2-40B4-BE49-F238E27FC236}">
                <a16:creationId xmlns:a16="http://schemas.microsoft.com/office/drawing/2014/main" id="{EA2063CB-9E1A-4A39-BCC2-4A384C8A3FB5}"/>
              </a:ext>
            </a:extLst>
          </p:cNvPr>
          <p:cNvSpPr/>
          <p:nvPr userDrawn="1"/>
        </p:nvSpPr>
        <p:spPr>
          <a:xfrm>
            <a:off x="5017724"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4</a:t>
            </a:r>
          </a:p>
        </p:txBody>
      </p:sp>
      <p:sp>
        <p:nvSpPr>
          <p:cNvPr id="48" name="Rectangle 47">
            <a:extLst>
              <a:ext uri="{FF2B5EF4-FFF2-40B4-BE49-F238E27FC236}">
                <a16:creationId xmlns:a16="http://schemas.microsoft.com/office/drawing/2014/main" id="{C5D06850-C3AB-4E30-9BA0-CA2078A23D37}"/>
              </a:ext>
            </a:extLst>
          </p:cNvPr>
          <p:cNvSpPr/>
          <p:nvPr userDrawn="1"/>
        </p:nvSpPr>
        <p:spPr>
          <a:xfrm>
            <a:off x="5931087"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6</a:t>
            </a:r>
          </a:p>
        </p:txBody>
      </p:sp>
      <p:sp>
        <p:nvSpPr>
          <p:cNvPr id="49" name="Rectangle 48">
            <a:extLst>
              <a:ext uri="{FF2B5EF4-FFF2-40B4-BE49-F238E27FC236}">
                <a16:creationId xmlns:a16="http://schemas.microsoft.com/office/drawing/2014/main" id="{E1B5F3B9-93A9-42E5-AF8F-1F8F89AA6773}"/>
              </a:ext>
            </a:extLst>
          </p:cNvPr>
          <p:cNvSpPr/>
          <p:nvPr userDrawn="1"/>
        </p:nvSpPr>
        <p:spPr>
          <a:xfrm>
            <a:off x="7648020" y="1749828"/>
            <a:ext cx="166712"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10</a:t>
            </a:r>
          </a:p>
        </p:txBody>
      </p:sp>
      <p:cxnSp>
        <p:nvCxnSpPr>
          <p:cNvPr id="52" name="Straight Connector 51">
            <a:extLst>
              <a:ext uri="{FF2B5EF4-FFF2-40B4-BE49-F238E27FC236}">
                <a16:creationId xmlns:a16="http://schemas.microsoft.com/office/drawing/2014/main" id="{CF43462F-AABE-492E-BE81-28091FE0F9B4}"/>
              </a:ext>
            </a:extLst>
          </p:cNvPr>
          <p:cNvCxnSpPr/>
          <p:nvPr userDrawn="1"/>
        </p:nvCxnSpPr>
        <p:spPr>
          <a:xfrm>
            <a:off x="327808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618CBA4-AFC6-462D-A9A1-C8E0BB2CF0EF}"/>
              </a:ext>
            </a:extLst>
          </p:cNvPr>
          <p:cNvCxnSpPr/>
          <p:nvPr userDrawn="1"/>
        </p:nvCxnSpPr>
        <p:spPr>
          <a:xfrm>
            <a:off x="4168744"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7C0728-0BA9-4293-AA94-C368A9883539}"/>
              </a:ext>
            </a:extLst>
          </p:cNvPr>
          <p:cNvCxnSpPr/>
          <p:nvPr userDrawn="1"/>
        </p:nvCxnSpPr>
        <p:spPr>
          <a:xfrm>
            <a:off x="5059402"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A4FF7C-D797-4B09-AC8E-000B2DFF2645}"/>
              </a:ext>
            </a:extLst>
          </p:cNvPr>
          <p:cNvCxnSpPr/>
          <p:nvPr userDrawn="1"/>
        </p:nvCxnSpPr>
        <p:spPr>
          <a:xfrm>
            <a:off x="5950060"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9CCACC6-537E-4D21-A199-A2A8D762C048}"/>
              </a:ext>
            </a:extLst>
          </p:cNvPr>
          <p:cNvCxnSpPr/>
          <p:nvPr userDrawn="1"/>
        </p:nvCxnSpPr>
        <p:spPr>
          <a:xfrm>
            <a:off x="7731376"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6460033-E38A-406B-89ED-DFF44B70AD1C}"/>
              </a:ext>
            </a:extLst>
          </p:cNvPr>
          <p:cNvSpPr/>
          <p:nvPr userDrawn="1"/>
        </p:nvSpPr>
        <p:spPr>
          <a:xfrm>
            <a:off x="6811932" y="1749828"/>
            <a:ext cx="83356" cy="187167"/>
          </a:xfrm>
          <a:prstGeom prst="rect">
            <a:avLst/>
          </a:prstGeom>
        </p:spPr>
        <p:txBody>
          <a:bodyPr wrap="none" lIns="0" tIns="0" rIns="0" bIns="0" anchor="ctr">
            <a:spAutoFit/>
          </a:bodyPr>
          <a:lstStyle/>
          <a:p>
            <a:pPr algn="ctr">
              <a:lnSpc>
                <a:spcPct val="110000"/>
              </a:lnSpc>
              <a:spcAft>
                <a:spcPts val="800"/>
              </a:spcAft>
            </a:pPr>
            <a:r>
              <a:rPr lang="en-US" sz="1200" dirty="0">
                <a:solidFill>
                  <a:schemeClr val="bg1"/>
                </a:solidFill>
              </a:rPr>
              <a:t>8</a:t>
            </a:r>
          </a:p>
        </p:txBody>
      </p:sp>
      <p:cxnSp>
        <p:nvCxnSpPr>
          <p:cNvPr id="62" name="Straight Connector 61">
            <a:extLst>
              <a:ext uri="{FF2B5EF4-FFF2-40B4-BE49-F238E27FC236}">
                <a16:creationId xmlns:a16="http://schemas.microsoft.com/office/drawing/2014/main" id="{B9500135-1E74-4ED9-BB09-65CCC4A5E7E3}"/>
              </a:ext>
            </a:extLst>
          </p:cNvPr>
          <p:cNvCxnSpPr/>
          <p:nvPr userDrawn="1"/>
        </p:nvCxnSpPr>
        <p:spPr>
          <a:xfrm>
            <a:off x="6840718" y="2082292"/>
            <a:ext cx="0" cy="404723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46426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28310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1" name="Rectangle 20">
            <a:extLst>
              <a:ext uri="{FF2B5EF4-FFF2-40B4-BE49-F238E27FC236}">
                <a16:creationId xmlns:a16="http://schemas.microsoft.com/office/drawing/2014/main" id="{E70E5A99-21BE-4E90-883A-792CAC3E21B8}"/>
              </a:ext>
            </a:extLst>
          </p:cNvPr>
          <p:cNvSpPr/>
          <p:nvPr userDrawn="1"/>
        </p:nvSpPr>
        <p:spPr>
          <a:xfrm>
            <a:off x="6377976" y="1180095"/>
            <a:ext cx="5417786" cy="481895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 name="Content Placeholder 3">
            <a:extLst>
              <a:ext uri="{FF2B5EF4-FFF2-40B4-BE49-F238E27FC236}">
                <a16:creationId xmlns:a16="http://schemas.microsoft.com/office/drawing/2014/main" id="{96F85687-8ABA-4848-ABB7-D7557FD1C35D}"/>
              </a:ext>
            </a:extLst>
          </p:cNvPr>
          <p:cNvSpPr>
            <a:spLocks noGrp="1"/>
          </p:cNvSpPr>
          <p:nvPr>
            <p:ph sz="quarter" idx="46"/>
          </p:nvPr>
        </p:nvSpPr>
        <p:spPr>
          <a:xfrm>
            <a:off x="6483676" y="1809750"/>
            <a:ext cx="5206386" cy="4119012"/>
          </a:xfrm>
        </p:spPr>
        <p:txBody>
          <a:bodyPr>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F7C2B4B5-4B7B-4AB7-83A8-773D6244D49D}"/>
              </a:ext>
            </a:extLst>
          </p:cNvPr>
          <p:cNvSpPr>
            <a:spLocks noGrp="1"/>
          </p:cNvSpPr>
          <p:nvPr>
            <p:ph type="body" sz="quarter" idx="44"/>
          </p:nvPr>
        </p:nvSpPr>
        <p:spPr>
          <a:xfrm>
            <a:off x="346990" y="1498179"/>
            <a:ext cx="5749011" cy="185115"/>
          </a:xfrm>
        </p:spPr>
        <p:txBody>
          <a:bodyPr/>
          <a:lstStyle>
            <a:lvl1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Click to edit Master text styles</a:t>
            </a:r>
          </a:p>
        </p:txBody>
      </p:sp>
      <p:sp>
        <p:nvSpPr>
          <p:cNvPr id="17" name="Text Placeholder 3">
            <a:extLst>
              <a:ext uri="{FF2B5EF4-FFF2-40B4-BE49-F238E27FC236}">
                <a16:creationId xmlns:a16="http://schemas.microsoft.com/office/drawing/2014/main" id="{4CF25403-0FF5-4DB8-BBA1-64A91CFD3610}"/>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18" name="Text Placeholder 3">
            <a:extLst>
              <a:ext uri="{FF2B5EF4-FFF2-40B4-BE49-F238E27FC236}">
                <a16:creationId xmlns:a16="http://schemas.microsoft.com/office/drawing/2014/main" id="{D1536382-2D71-4FC2-A580-8A46699E8CA7}"/>
              </a:ext>
            </a:extLst>
          </p:cNvPr>
          <p:cNvSpPr>
            <a:spLocks noGrp="1"/>
          </p:cNvSpPr>
          <p:nvPr>
            <p:ph type="body" sz="quarter" idx="55" hasCustomPrompt="1"/>
          </p:nvPr>
        </p:nvSpPr>
        <p:spPr>
          <a:xfrm>
            <a:off x="346991" y="1180095"/>
            <a:ext cx="5749011" cy="215444"/>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ITLE STYLE</a:t>
            </a:r>
          </a:p>
        </p:txBody>
      </p:sp>
      <p:sp>
        <p:nvSpPr>
          <p:cNvPr id="23" name="Text Placeholder 4">
            <a:extLst>
              <a:ext uri="{FF2B5EF4-FFF2-40B4-BE49-F238E27FC236}">
                <a16:creationId xmlns:a16="http://schemas.microsoft.com/office/drawing/2014/main" id="{A2FD8896-369C-4481-9521-1BF69C7EB344}"/>
              </a:ext>
            </a:extLst>
          </p:cNvPr>
          <p:cNvSpPr>
            <a:spLocks noGrp="1"/>
          </p:cNvSpPr>
          <p:nvPr>
            <p:ph type="body" sz="quarter" idx="49" hasCustomPrompt="1"/>
          </p:nvPr>
        </p:nvSpPr>
        <p:spPr>
          <a:xfrm>
            <a:off x="6483677" y="1320904"/>
            <a:ext cx="5206385" cy="184666"/>
          </a:xfrm>
        </p:spPr>
        <p:txBody>
          <a:bodyPr wrap="square" anchor="t" anchorCtr="0">
            <a:sp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5" name="Text Placeholder 4">
            <a:extLst>
              <a:ext uri="{FF2B5EF4-FFF2-40B4-BE49-F238E27FC236}">
                <a16:creationId xmlns:a16="http://schemas.microsoft.com/office/drawing/2014/main" id="{DB409FB8-7410-4122-ADD2-01E1ADC87CF6}"/>
              </a:ext>
            </a:extLst>
          </p:cNvPr>
          <p:cNvSpPr>
            <a:spLocks noGrp="1"/>
          </p:cNvSpPr>
          <p:nvPr>
            <p:ph type="body" sz="quarter" idx="50" hasCustomPrompt="1"/>
          </p:nvPr>
        </p:nvSpPr>
        <p:spPr>
          <a:xfrm>
            <a:off x="6483677" y="1518830"/>
            <a:ext cx="5206385" cy="184666"/>
          </a:xfrm>
        </p:spPr>
        <p:txBody>
          <a:bodyPr wrap="square" anchor="b" anchorCtr="0">
            <a:sp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1274863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F0CC20-907E-4EB3-B9D7-3B8EA96551AD}"/>
              </a:ext>
            </a:extLst>
          </p:cNvPr>
          <p:cNvSpPr/>
          <p:nvPr userDrawn="1"/>
        </p:nvSpPr>
        <p:spPr>
          <a:xfrm>
            <a:off x="3102607" y="812042"/>
            <a:ext cx="2790517" cy="5476609"/>
          </a:xfrm>
          <a:prstGeom prst="rect">
            <a:avLst/>
          </a:prstGeom>
          <a:solidFill>
            <a:srgbClr val="F5F5F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13" name="Rectangle 12">
            <a:extLst>
              <a:ext uri="{FF2B5EF4-FFF2-40B4-BE49-F238E27FC236}">
                <a16:creationId xmlns:a16="http://schemas.microsoft.com/office/drawing/2014/main" id="{E274B779-2315-4586-93D5-B92310105B3B}"/>
              </a:ext>
            </a:extLst>
          </p:cNvPr>
          <p:cNvSpPr/>
          <p:nvPr userDrawn="1"/>
        </p:nvSpPr>
        <p:spPr>
          <a:xfrm>
            <a:off x="6031433" y="812042"/>
            <a:ext cx="2790517" cy="5476609"/>
          </a:xfrm>
          <a:prstGeom prst="rect">
            <a:avLst/>
          </a:prstGeom>
          <a:solidFill>
            <a:srgbClr val="F5F5F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14" name="Rectangle 13">
            <a:extLst>
              <a:ext uri="{FF2B5EF4-FFF2-40B4-BE49-F238E27FC236}">
                <a16:creationId xmlns:a16="http://schemas.microsoft.com/office/drawing/2014/main" id="{3AF4F7D2-BE09-4CCA-9C82-1F257E9D2542}"/>
              </a:ext>
            </a:extLst>
          </p:cNvPr>
          <p:cNvSpPr/>
          <p:nvPr userDrawn="1"/>
        </p:nvSpPr>
        <p:spPr>
          <a:xfrm>
            <a:off x="8960258" y="812042"/>
            <a:ext cx="2790517" cy="5476609"/>
          </a:xfrm>
          <a:prstGeom prst="rect">
            <a:avLst/>
          </a:prstGeom>
          <a:solidFill>
            <a:srgbClr val="F5F5F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 name="Title 1">
            <a:extLst>
              <a:ext uri="{FF2B5EF4-FFF2-40B4-BE49-F238E27FC236}">
                <a16:creationId xmlns:a16="http://schemas.microsoft.com/office/drawing/2014/main" id="{BEA737A2-6BBE-4D60-8DB8-AAF484E03986}"/>
              </a:ext>
            </a:extLst>
          </p:cNvPr>
          <p:cNvSpPr>
            <a:spLocks noGrp="1"/>
          </p:cNvSpPr>
          <p:nvPr>
            <p:ph type="title" hasCustomPrompt="1"/>
          </p:nvPr>
        </p:nvSpPr>
        <p:spPr>
          <a:xfrm>
            <a:off x="3102607" y="259406"/>
            <a:ext cx="8567307" cy="400110"/>
          </a:xfrm>
        </p:spPr>
        <p:txBody>
          <a:bodyPr wrap="square" lIns="0" tIns="0" rIns="0" bIns="0" anchor="ctr" anchorCtr="0">
            <a:spAutoFit/>
          </a:bodyPr>
          <a:lstStyle>
            <a:lvl1pPr algn="l" defTabSz="914400" rtl="0" eaLnBrk="1" latinLnBrk="0" hangingPunct="1">
              <a:lnSpc>
                <a:spcPct val="100000"/>
              </a:lnSpc>
              <a:spcBef>
                <a:spcPct val="0"/>
              </a:spcBef>
              <a:buNone/>
              <a:defRPr lang="fr-FR" sz="2600" b="1" kern="1200" dirty="0">
                <a:solidFill>
                  <a:schemeClr val="accent3"/>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4" name="Freeform: Shape 33">
            <a:extLst>
              <a:ext uri="{FF2B5EF4-FFF2-40B4-BE49-F238E27FC236}">
                <a16:creationId xmlns:a16="http://schemas.microsoft.com/office/drawing/2014/main" id="{77EDC5F6-C16E-4796-B194-BB25CED4CFB8}"/>
              </a:ext>
            </a:extLst>
          </p:cNvPr>
          <p:cNvSpPr/>
          <p:nvPr userDrawn="1"/>
        </p:nvSpPr>
        <p:spPr>
          <a:xfrm flipH="1">
            <a:off x="-1" y="1"/>
            <a:ext cx="1881189" cy="4772023"/>
          </a:xfrm>
          <a:custGeom>
            <a:avLst/>
            <a:gdLst>
              <a:gd name="connsiteX0" fmla="*/ 1881188 w 1881189"/>
              <a:gd name="connsiteY0" fmla="*/ 0 h 4772023"/>
              <a:gd name="connsiteX1" fmla="*/ 1135758 w 1881189"/>
              <a:gd name="connsiteY1" fmla="*/ 0 h 4772023"/>
              <a:gd name="connsiteX2" fmla="*/ 127 w 1881189"/>
              <a:gd name="connsiteY2" fmla="*/ 1739444 h 4772023"/>
              <a:gd name="connsiteX3" fmla="*/ 899 w 1881189"/>
              <a:gd name="connsiteY3" fmla="*/ 1740688 h 4772023"/>
              <a:gd name="connsiteX4" fmla="*/ 0 w 1881189"/>
              <a:gd name="connsiteY4" fmla="*/ 1740688 h 4772023"/>
              <a:gd name="connsiteX5" fmla="*/ 1881189 w 1881189"/>
              <a:gd name="connsiteY5" fmla="*/ 4772023 h 4772023"/>
              <a:gd name="connsiteX6" fmla="*/ 1881189 w 1881189"/>
              <a:gd name="connsiteY6" fmla="*/ 1740688 h 4772023"/>
              <a:gd name="connsiteX7" fmla="*/ 1881188 w 1881189"/>
              <a:gd name="connsiteY7" fmla="*/ 1740688 h 47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189" h="4772023">
                <a:moveTo>
                  <a:pt x="1881188" y="0"/>
                </a:moveTo>
                <a:lnTo>
                  <a:pt x="1135758" y="0"/>
                </a:lnTo>
                <a:lnTo>
                  <a:pt x="127" y="1739444"/>
                </a:lnTo>
                <a:lnTo>
                  <a:pt x="899" y="1740688"/>
                </a:lnTo>
                <a:lnTo>
                  <a:pt x="0" y="1740688"/>
                </a:lnTo>
                <a:lnTo>
                  <a:pt x="1881189" y="4772023"/>
                </a:lnTo>
                <a:lnTo>
                  <a:pt x="1881189" y="1740688"/>
                </a:lnTo>
                <a:lnTo>
                  <a:pt x="1881188" y="17406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Freeform: Shape 34">
            <a:extLst>
              <a:ext uri="{FF2B5EF4-FFF2-40B4-BE49-F238E27FC236}">
                <a16:creationId xmlns:a16="http://schemas.microsoft.com/office/drawing/2014/main" id="{F04157FB-EA65-4346-8715-F7B4FB9D9E07}"/>
              </a:ext>
            </a:extLst>
          </p:cNvPr>
          <p:cNvSpPr/>
          <p:nvPr userDrawn="1"/>
        </p:nvSpPr>
        <p:spPr>
          <a:xfrm flipV="1">
            <a:off x="826542" y="0"/>
            <a:ext cx="2134540" cy="1676215"/>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Content Placeholder 2">
            <a:extLst>
              <a:ext uri="{FF2B5EF4-FFF2-40B4-BE49-F238E27FC236}">
                <a16:creationId xmlns:a16="http://schemas.microsoft.com/office/drawing/2014/main" id="{A67B8B81-ECDF-434A-B342-05CE75E3D321}"/>
              </a:ext>
            </a:extLst>
          </p:cNvPr>
          <p:cNvSpPr>
            <a:spLocks noGrp="1"/>
          </p:cNvSpPr>
          <p:nvPr>
            <p:ph idx="14" hasCustomPrompt="1"/>
          </p:nvPr>
        </p:nvSpPr>
        <p:spPr>
          <a:xfrm>
            <a:off x="3222124" y="926342"/>
            <a:ext cx="2551481" cy="153888"/>
          </a:xfrm>
        </p:spPr>
        <p:txBody>
          <a:bodyPr wrap="square" lIns="0" tIns="0" rIns="0" bIns="0" anchor="t"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0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38" name="Content Placeholder 2">
            <a:extLst>
              <a:ext uri="{FF2B5EF4-FFF2-40B4-BE49-F238E27FC236}">
                <a16:creationId xmlns:a16="http://schemas.microsoft.com/office/drawing/2014/main" id="{E6976356-3616-4BC7-996B-058789BB7932}"/>
              </a:ext>
            </a:extLst>
          </p:cNvPr>
          <p:cNvSpPr>
            <a:spLocks noGrp="1"/>
          </p:cNvSpPr>
          <p:nvPr>
            <p:ph idx="16" hasCustomPrompt="1"/>
          </p:nvPr>
        </p:nvSpPr>
        <p:spPr>
          <a:xfrm>
            <a:off x="6150951" y="926342"/>
            <a:ext cx="2551481" cy="153888"/>
          </a:xfrm>
        </p:spPr>
        <p:txBody>
          <a:bodyPr wrap="square" lIns="0" tIns="0" rIns="0" bIns="0" anchor="t"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0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32" name="Content Placeholder 2">
            <a:extLst>
              <a:ext uri="{FF2B5EF4-FFF2-40B4-BE49-F238E27FC236}">
                <a16:creationId xmlns:a16="http://schemas.microsoft.com/office/drawing/2014/main" id="{30834714-5943-4942-95A5-F8D617B2402D}"/>
              </a:ext>
            </a:extLst>
          </p:cNvPr>
          <p:cNvSpPr>
            <a:spLocks noGrp="1"/>
          </p:cNvSpPr>
          <p:nvPr>
            <p:ph idx="17" hasCustomPrompt="1"/>
          </p:nvPr>
        </p:nvSpPr>
        <p:spPr>
          <a:xfrm>
            <a:off x="9079776" y="926342"/>
            <a:ext cx="2551481" cy="153888"/>
          </a:xfrm>
        </p:spPr>
        <p:txBody>
          <a:bodyPr wrap="square" lIns="0" tIns="0" rIns="0" bIns="0" anchor="t"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0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Tree>
    <p:extLst>
      <p:ext uri="{BB962C8B-B14F-4D97-AF65-F5344CB8AC3E}">
        <p14:creationId xmlns:p14="http://schemas.microsoft.com/office/powerpoint/2010/main" val="15081138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291436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8" name="Rectangle 17">
            <a:extLst>
              <a:ext uri="{FF2B5EF4-FFF2-40B4-BE49-F238E27FC236}">
                <a16:creationId xmlns:a16="http://schemas.microsoft.com/office/drawing/2014/main" id="{3671EA66-0310-461A-B547-C7B17A0D85BE}"/>
              </a:ext>
            </a:extLst>
          </p:cNvPr>
          <p:cNvSpPr/>
          <p:nvPr userDrawn="1"/>
        </p:nvSpPr>
        <p:spPr>
          <a:xfrm>
            <a:off x="5219700" y="1180095"/>
            <a:ext cx="6576062" cy="481895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 name="Content Placeholder 3">
            <a:extLst>
              <a:ext uri="{FF2B5EF4-FFF2-40B4-BE49-F238E27FC236}">
                <a16:creationId xmlns:a16="http://schemas.microsoft.com/office/drawing/2014/main" id="{96F85687-8ABA-4848-ABB7-D7557FD1C35D}"/>
              </a:ext>
            </a:extLst>
          </p:cNvPr>
          <p:cNvSpPr>
            <a:spLocks noGrp="1"/>
          </p:cNvSpPr>
          <p:nvPr>
            <p:ph sz="quarter" idx="46"/>
          </p:nvPr>
        </p:nvSpPr>
        <p:spPr>
          <a:xfrm>
            <a:off x="5372100" y="1847779"/>
            <a:ext cx="6254007"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F7C2B4B5-4B7B-4AB7-83A8-773D6244D49D}"/>
              </a:ext>
            </a:extLst>
          </p:cNvPr>
          <p:cNvSpPr>
            <a:spLocks noGrp="1"/>
          </p:cNvSpPr>
          <p:nvPr>
            <p:ph type="body" sz="quarter" idx="44"/>
          </p:nvPr>
        </p:nvSpPr>
        <p:spPr>
          <a:xfrm>
            <a:off x="346990" y="1498179"/>
            <a:ext cx="4593311" cy="185115"/>
          </a:xfrm>
        </p:spPr>
        <p:txBody>
          <a:bodyPr/>
          <a:lstStyle>
            <a:lvl1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Click to edit Master text styles</a:t>
            </a:r>
          </a:p>
        </p:txBody>
      </p:sp>
      <p:sp>
        <p:nvSpPr>
          <p:cNvPr id="17" name="Text Placeholder 3">
            <a:extLst>
              <a:ext uri="{FF2B5EF4-FFF2-40B4-BE49-F238E27FC236}">
                <a16:creationId xmlns:a16="http://schemas.microsoft.com/office/drawing/2014/main" id="{AC529F2E-DFC4-4637-981F-33EBEC9C3132}"/>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1" name="Text Placeholder 3">
            <a:extLst>
              <a:ext uri="{FF2B5EF4-FFF2-40B4-BE49-F238E27FC236}">
                <a16:creationId xmlns:a16="http://schemas.microsoft.com/office/drawing/2014/main" id="{BA7EF140-3E3D-4953-AE43-9F54A149609B}"/>
              </a:ext>
            </a:extLst>
          </p:cNvPr>
          <p:cNvSpPr>
            <a:spLocks noGrp="1"/>
          </p:cNvSpPr>
          <p:nvPr>
            <p:ph type="body" sz="quarter" idx="55" hasCustomPrompt="1"/>
          </p:nvPr>
        </p:nvSpPr>
        <p:spPr>
          <a:xfrm>
            <a:off x="346991" y="1180095"/>
            <a:ext cx="4593311" cy="215444"/>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ITLE STYLE</a:t>
            </a:r>
          </a:p>
        </p:txBody>
      </p:sp>
      <p:sp>
        <p:nvSpPr>
          <p:cNvPr id="19" name="Text Placeholder 4">
            <a:extLst>
              <a:ext uri="{FF2B5EF4-FFF2-40B4-BE49-F238E27FC236}">
                <a16:creationId xmlns:a16="http://schemas.microsoft.com/office/drawing/2014/main" id="{B6E48AAA-D107-484C-A8F0-1915DB0D6DC6}"/>
              </a:ext>
            </a:extLst>
          </p:cNvPr>
          <p:cNvSpPr>
            <a:spLocks noGrp="1"/>
          </p:cNvSpPr>
          <p:nvPr>
            <p:ph type="body" sz="quarter" idx="49" hasCustomPrompt="1"/>
          </p:nvPr>
        </p:nvSpPr>
        <p:spPr>
          <a:xfrm>
            <a:off x="5372102" y="1349479"/>
            <a:ext cx="6254007" cy="184666"/>
          </a:xfrm>
        </p:spPr>
        <p:txBody>
          <a:bodyPr wrap="square" anchor="t" anchorCtr="0">
            <a:no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3" name="Text Placeholder 4">
            <a:extLst>
              <a:ext uri="{FF2B5EF4-FFF2-40B4-BE49-F238E27FC236}">
                <a16:creationId xmlns:a16="http://schemas.microsoft.com/office/drawing/2014/main" id="{6F466743-F416-4C53-BF2C-083AB8CF8207}"/>
              </a:ext>
            </a:extLst>
          </p:cNvPr>
          <p:cNvSpPr>
            <a:spLocks noGrp="1"/>
          </p:cNvSpPr>
          <p:nvPr>
            <p:ph type="body" sz="quarter" idx="50" hasCustomPrompt="1"/>
          </p:nvPr>
        </p:nvSpPr>
        <p:spPr>
          <a:xfrm>
            <a:off x="5372102" y="1547405"/>
            <a:ext cx="6254007" cy="184666"/>
          </a:xfrm>
        </p:spPr>
        <p:txBody>
          <a:bodyPr wrap="square" anchor="b" anchorCtr="0">
            <a:no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3400538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60966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7" name="Rectangle 16">
            <a:extLst>
              <a:ext uri="{FF2B5EF4-FFF2-40B4-BE49-F238E27FC236}">
                <a16:creationId xmlns:a16="http://schemas.microsoft.com/office/drawing/2014/main" id="{894FD899-C492-45F4-BF37-2C348DE7C1EC}"/>
              </a:ext>
            </a:extLst>
          </p:cNvPr>
          <p:cNvSpPr/>
          <p:nvPr userDrawn="1"/>
        </p:nvSpPr>
        <p:spPr>
          <a:xfrm>
            <a:off x="346991" y="1264180"/>
            <a:ext cx="11448771" cy="238715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54839122-A562-4F7E-9939-CD9AC3631DB3}"/>
              </a:ext>
            </a:extLst>
          </p:cNvPr>
          <p:cNvSpPr/>
          <p:nvPr userDrawn="1"/>
        </p:nvSpPr>
        <p:spPr>
          <a:xfrm>
            <a:off x="346991" y="3864041"/>
            <a:ext cx="11448771" cy="238715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 name="Content Placeholder 3">
            <a:extLst>
              <a:ext uri="{FF2B5EF4-FFF2-40B4-BE49-F238E27FC236}">
                <a16:creationId xmlns:a16="http://schemas.microsoft.com/office/drawing/2014/main" id="{96F85687-8ABA-4848-ABB7-D7557FD1C35D}"/>
              </a:ext>
            </a:extLst>
          </p:cNvPr>
          <p:cNvSpPr>
            <a:spLocks noGrp="1"/>
          </p:cNvSpPr>
          <p:nvPr>
            <p:ph sz="quarter" idx="46"/>
          </p:nvPr>
        </p:nvSpPr>
        <p:spPr>
          <a:xfrm>
            <a:off x="474628" y="1862666"/>
            <a:ext cx="11193498"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872761A5-E549-4D78-BD09-FC705D99243D}"/>
              </a:ext>
            </a:extLst>
          </p:cNvPr>
          <p:cNvSpPr>
            <a:spLocks noGrp="1"/>
          </p:cNvSpPr>
          <p:nvPr>
            <p:ph sz="quarter" idx="47"/>
          </p:nvPr>
        </p:nvSpPr>
        <p:spPr>
          <a:xfrm>
            <a:off x="474628" y="4471039"/>
            <a:ext cx="11193498"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AD83047D-C1A8-4FA1-A595-4D71CDA8F6EF}"/>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0" name="Text Placeholder 4">
            <a:extLst>
              <a:ext uri="{FF2B5EF4-FFF2-40B4-BE49-F238E27FC236}">
                <a16:creationId xmlns:a16="http://schemas.microsoft.com/office/drawing/2014/main" id="{917569BB-14CC-49CE-A852-078D83D52D74}"/>
              </a:ext>
            </a:extLst>
          </p:cNvPr>
          <p:cNvSpPr>
            <a:spLocks noGrp="1"/>
          </p:cNvSpPr>
          <p:nvPr>
            <p:ph type="body" sz="quarter" idx="49" hasCustomPrompt="1"/>
          </p:nvPr>
        </p:nvSpPr>
        <p:spPr>
          <a:xfrm>
            <a:off x="474628" y="1379959"/>
            <a:ext cx="11151481" cy="184666"/>
          </a:xfrm>
        </p:spPr>
        <p:txBody>
          <a:bodyPr wrap="square" anchor="t" anchorCtr="0">
            <a:no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3" name="Text Placeholder 4">
            <a:extLst>
              <a:ext uri="{FF2B5EF4-FFF2-40B4-BE49-F238E27FC236}">
                <a16:creationId xmlns:a16="http://schemas.microsoft.com/office/drawing/2014/main" id="{C0CE2B2A-534B-47D6-9CCD-01214E4FB0EC}"/>
              </a:ext>
            </a:extLst>
          </p:cNvPr>
          <p:cNvSpPr>
            <a:spLocks noGrp="1"/>
          </p:cNvSpPr>
          <p:nvPr>
            <p:ph type="body" sz="quarter" idx="50" hasCustomPrompt="1"/>
          </p:nvPr>
        </p:nvSpPr>
        <p:spPr>
          <a:xfrm>
            <a:off x="474628" y="1577885"/>
            <a:ext cx="11151481" cy="184666"/>
          </a:xfrm>
        </p:spPr>
        <p:txBody>
          <a:bodyPr wrap="square" anchor="b" anchorCtr="0">
            <a:no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
        <p:nvSpPr>
          <p:cNvPr id="24" name="Text Placeholder 4">
            <a:extLst>
              <a:ext uri="{FF2B5EF4-FFF2-40B4-BE49-F238E27FC236}">
                <a16:creationId xmlns:a16="http://schemas.microsoft.com/office/drawing/2014/main" id="{990DB2EC-4886-4CD7-A896-7392F05B2207}"/>
              </a:ext>
            </a:extLst>
          </p:cNvPr>
          <p:cNvSpPr>
            <a:spLocks noGrp="1"/>
          </p:cNvSpPr>
          <p:nvPr>
            <p:ph type="body" sz="quarter" idx="51" hasCustomPrompt="1"/>
          </p:nvPr>
        </p:nvSpPr>
        <p:spPr>
          <a:xfrm>
            <a:off x="474628" y="3992484"/>
            <a:ext cx="11151481" cy="184666"/>
          </a:xfrm>
        </p:spPr>
        <p:txBody>
          <a:bodyPr wrap="square" anchor="t" anchorCtr="0">
            <a:no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5" name="Text Placeholder 4">
            <a:extLst>
              <a:ext uri="{FF2B5EF4-FFF2-40B4-BE49-F238E27FC236}">
                <a16:creationId xmlns:a16="http://schemas.microsoft.com/office/drawing/2014/main" id="{12A3973C-F63A-43A3-97C1-19106F423D47}"/>
              </a:ext>
            </a:extLst>
          </p:cNvPr>
          <p:cNvSpPr>
            <a:spLocks noGrp="1"/>
          </p:cNvSpPr>
          <p:nvPr>
            <p:ph type="body" sz="quarter" idx="52" hasCustomPrompt="1"/>
          </p:nvPr>
        </p:nvSpPr>
        <p:spPr>
          <a:xfrm>
            <a:off x="474628" y="4190410"/>
            <a:ext cx="11151481" cy="184666"/>
          </a:xfrm>
        </p:spPr>
        <p:txBody>
          <a:bodyPr wrap="square" anchor="b" anchorCtr="0">
            <a:no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16326695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1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022041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 name="Text Placeholder 3">
            <a:extLst>
              <a:ext uri="{FF2B5EF4-FFF2-40B4-BE49-F238E27FC236}">
                <a16:creationId xmlns:a16="http://schemas.microsoft.com/office/drawing/2014/main" id="{AD83047D-C1A8-4FA1-A595-4D71CDA8F6EF}"/>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Tree>
    <p:extLst>
      <p:ext uri="{BB962C8B-B14F-4D97-AF65-F5344CB8AC3E}">
        <p14:creationId xmlns:p14="http://schemas.microsoft.com/office/powerpoint/2010/main" val="413554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347244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1" name="Rectangle 20">
            <a:extLst>
              <a:ext uri="{FF2B5EF4-FFF2-40B4-BE49-F238E27FC236}">
                <a16:creationId xmlns:a16="http://schemas.microsoft.com/office/drawing/2014/main" id="{343E2E1A-BC52-498F-A340-D0FAF7405DDC}"/>
              </a:ext>
            </a:extLst>
          </p:cNvPr>
          <p:cNvSpPr/>
          <p:nvPr userDrawn="1"/>
        </p:nvSpPr>
        <p:spPr>
          <a:xfrm>
            <a:off x="346991" y="1264179"/>
            <a:ext cx="11448771" cy="340036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 name="Text Placeholder 3">
            <a:extLst>
              <a:ext uri="{FF2B5EF4-FFF2-40B4-BE49-F238E27FC236}">
                <a16:creationId xmlns:a16="http://schemas.microsoft.com/office/drawing/2014/main" id="{4AE8FB3A-2995-4DD2-B585-810A7E454619}"/>
              </a:ext>
            </a:extLst>
          </p:cNvPr>
          <p:cNvSpPr>
            <a:spLocks noGrp="1"/>
          </p:cNvSpPr>
          <p:nvPr>
            <p:ph type="body" sz="quarter" idx="47" hasCustomPrompt="1"/>
          </p:nvPr>
        </p:nvSpPr>
        <p:spPr>
          <a:xfrm>
            <a:off x="346991" y="4926732"/>
            <a:ext cx="11448771" cy="193899"/>
          </a:xfrm>
        </p:spPr>
        <p:txBody>
          <a:bodyPr wrap="square" lIns="0" tIns="0" rIns="0" bIns="0" anchor="t">
            <a:spAutoFit/>
          </a:bodyPr>
          <a:lstStyle>
            <a:lvl1pPr marL="0" indent="0">
              <a:buNone/>
              <a:defRPr lang="en-US" sz="1400" b="1" dirty="0">
                <a:solidFill>
                  <a:schemeClr val="accent1"/>
                </a:solidFill>
              </a:defRPr>
            </a:lvl1pPr>
          </a:lstStyle>
          <a:p>
            <a:pPr marL="0" lvl="0">
              <a:spcAft>
                <a:spcPts val="500"/>
              </a:spcAft>
            </a:pPr>
            <a:r>
              <a:rPr lang="en-US"/>
              <a:t>CLICK TO EDIT MASTER TEXT STYLES</a:t>
            </a:r>
          </a:p>
        </p:txBody>
      </p:sp>
      <p:sp>
        <p:nvSpPr>
          <p:cNvPr id="19" name="Text Placeholder 3">
            <a:extLst>
              <a:ext uri="{FF2B5EF4-FFF2-40B4-BE49-F238E27FC236}">
                <a16:creationId xmlns:a16="http://schemas.microsoft.com/office/drawing/2014/main" id="{1BC7A41E-61AC-4A0E-AD77-8559185BAE9B}"/>
              </a:ext>
            </a:extLst>
          </p:cNvPr>
          <p:cNvSpPr>
            <a:spLocks noGrp="1"/>
          </p:cNvSpPr>
          <p:nvPr>
            <p:ph type="body" sz="quarter" idx="48" hasCustomPrompt="1"/>
          </p:nvPr>
        </p:nvSpPr>
        <p:spPr>
          <a:xfrm>
            <a:off x="346991" y="5218454"/>
            <a:ext cx="11448771" cy="388248"/>
          </a:xfrm>
        </p:spPr>
        <p:txBody>
          <a:bodyPr wrap="square" lIns="0" tIns="0" rIns="0" bIns="0" anchor="t">
            <a:spAutoFit/>
          </a:bodyPr>
          <a:lstStyle>
            <a:lvl1pPr marL="171450" indent="-171450" algn="just" defTabSz="914400" rtl="0" eaLnBrk="1" latinLnBrk="0" hangingPunct="1">
              <a:lnSpc>
                <a:spcPct val="110000"/>
              </a:lnSpc>
              <a:spcAft>
                <a:spcPts val="600"/>
              </a:spcAft>
              <a:buClr>
                <a:schemeClr val="accent1"/>
              </a:buClr>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20" name="Text Placeholder 3">
            <a:extLst>
              <a:ext uri="{FF2B5EF4-FFF2-40B4-BE49-F238E27FC236}">
                <a16:creationId xmlns:a16="http://schemas.microsoft.com/office/drawing/2014/main" id="{4DE6F2DC-AF13-4890-872D-944F02D62594}"/>
              </a:ext>
            </a:extLst>
          </p:cNvPr>
          <p:cNvSpPr>
            <a:spLocks noGrp="1"/>
          </p:cNvSpPr>
          <p:nvPr>
            <p:ph type="body" sz="quarter" idx="41"/>
          </p:nvPr>
        </p:nvSpPr>
        <p:spPr>
          <a:xfrm>
            <a:off x="335490" y="174600"/>
            <a:ext cx="11504762"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342C5350-E914-4342-BAAA-769B68D72BE3}"/>
              </a:ext>
            </a:extLst>
          </p:cNvPr>
          <p:cNvSpPr>
            <a:spLocks noGrp="1"/>
          </p:cNvSpPr>
          <p:nvPr>
            <p:ph sz="quarter" idx="46"/>
          </p:nvPr>
        </p:nvSpPr>
        <p:spPr>
          <a:xfrm>
            <a:off x="474628" y="1862666"/>
            <a:ext cx="11193498"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4">
            <a:extLst>
              <a:ext uri="{FF2B5EF4-FFF2-40B4-BE49-F238E27FC236}">
                <a16:creationId xmlns:a16="http://schemas.microsoft.com/office/drawing/2014/main" id="{49FF29A6-E30D-4B0A-B0E6-C6E730F8AAB7}"/>
              </a:ext>
            </a:extLst>
          </p:cNvPr>
          <p:cNvSpPr>
            <a:spLocks noGrp="1"/>
          </p:cNvSpPr>
          <p:nvPr>
            <p:ph type="body" sz="quarter" idx="49" hasCustomPrompt="1"/>
          </p:nvPr>
        </p:nvSpPr>
        <p:spPr>
          <a:xfrm>
            <a:off x="474628" y="1379959"/>
            <a:ext cx="11151481" cy="184666"/>
          </a:xfrm>
        </p:spPr>
        <p:txBody>
          <a:bodyPr wrap="square" anchor="t" anchorCtr="0">
            <a:no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4" name="Text Placeholder 4">
            <a:extLst>
              <a:ext uri="{FF2B5EF4-FFF2-40B4-BE49-F238E27FC236}">
                <a16:creationId xmlns:a16="http://schemas.microsoft.com/office/drawing/2014/main" id="{9AA5FD3B-691B-43BF-8F33-ECF668B8EA78}"/>
              </a:ext>
            </a:extLst>
          </p:cNvPr>
          <p:cNvSpPr>
            <a:spLocks noGrp="1"/>
          </p:cNvSpPr>
          <p:nvPr>
            <p:ph type="body" sz="quarter" idx="50" hasCustomPrompt="1"/>
          </p:nvPr>
        </p:nvSpPr>
        <p:spPr>
          <a:xfrm>
            <a:off x="474628" y="1577885"/>
            <a:ext cx="11151481" cy="184666"/>
          </a:xfrm>
        </p:spPr>
        <p:txBody>
          <a:bodyPr wrap="square" anchor="b" anchorCtr="0">
            <a:no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7033827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403102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2" name="Rectangle 21">
            <a:extLst>
              <a:ext uri="{FF2B5EF4-FFF2-40B4-BE49-F238E27FC236}">
                <a16:creationId xmlns:a16="http://schemas.microsoft.com/office/drawing/2014/main" id="{B07CB99C-1533-4406-AC1C-949D96BAE0CD}"/>
              </a:ext>
            </a:extLst>
          </p:cNvPr>
          <p:cNvSpPr/>
          <p:nvPr userDrawn="1"/>
        </p:nvSpPr>
        <p:spPr>
          <a:xfrm>
            <a:off x="346989" y="3600490"/>
            <a:ext cx="11448771" cy="256014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 name="Text Placeholder 3">
            <a:extLst>
              <a:ext uri="{FF2B5EF4-FFF2-40B4-BE49-F238E27FC236}">
                <a16:creationId xmlns:a16="http://schemas.microsoft.com/office/drawing/2014/main" id="{4AE8FB3A-2995-4DD2-B585-810A7E454619}"/>
              </a:ext>
            </a:extLst>
          </p:cNvPr>
          <p:cNvSpPr>
            <a:spLocks noGrp="1"/>
          </p:cNvSpPr>
          <p:nvPr>
            <p:ph type="body" sz="quarter" idx="47" hasCustomPrompt="1"/>
          </p:nvPr>
        </p:nvSpPr>
        <p:spPr>
          <a:xfrm>
            <a:off x="346991" y="1264180"/>
            <a:ext cx="11448771" cy="193899"/>
          </a:xfrm>
        </p:spPr>
        <p:txBody>
          <a:bodyPr wrap="square" lIns="0" tIns="0" rIns="0" bIns="0" anchor="t">
            <a:spAutoFit/>
          </a:bodyPr>
          <a:lstStyle>
            <a:lvl1pPr marL="0" indent="0">
              <a:buNone/>
              <a:defRPr lang="en-US" sz="1400" b="1" cap="all" baseline="0" dirty="0">
                <a:solidFill>
                  <a:schemeClr val="accent1"/>
                </a:solidFill>
              </a:defRPr>
            </a:lvl1pPr>
          </a:lstStyle>
          <a:p>
            <a:pPr marL="0" lvl="0">
              <a:spcAft>
                <a:spcPts val="500"/>
              </a:spcAft>
            </a:pPr>
            <a:r>
              <a:rPr lang="en-US"/>
              <a:t>CLICK TO EDIT MASTER TEXT STYLES</a:t>
            </a:r>
          </a:p>
        </p:txBody>
      </p:sp>
      <p:sp>
        <p:nvSpPr>
          <p:cNvPr id="19" name="Text Placeholder 3">
            <a:extLst>
              <a:ext uri="{FF2B5EF4-FFF2-40B4-BE49-F238E27FC236}">
                <a16:creationId xmlns:a16="http://schemas.microsoft.com/office/drawing/2014/main" id="{1BC7A41E-61AC-4A0E-AD77-8559185BAE9B}"/>
              </a:ext>
            </a:extLst>
          </p:cNvPr>
          <p:cNvSpPr>
            <a:spLocks noGrp="1"/>
          </p:cNvSpPr>
          <p:nvPr>
            <p:ph type="body" sz="quarter" idx="48" hasCustomPrompt="1"/>
          </p:nvPr>
        </p:nvSpPr>
        <p:spPr>
          <a:xfrm>
            <a:off x="346991" y="1555677"/>
            <a:ext cx="11448771" cy="388248"/>
          </a:xfrm>
        </p:spPr>
        <p:txBody>
          <a:bodyPr wrap="square" lIns="0" tIns="0" rIns="0" bIns="0" anchor="t">
            <a:spAutoFit/>
          </a:bodyPr>
          <a:lstStyle>
            <a:lvl1pPr marL="171450" indent="-171450" algn="just" defTabSz="914400" rtl="0" eaLnBrk="1" latinLnBrk="0" hangingPunct="1">
              <a:lnSpc>
                <a:spcPct val="110000"/>
              </a:lnSpc>
              <a:spcBef>
                <a:spcPts val="0"/>
              </a:spcBef>
              <a:spcAft>
                <a:spcPts val="600"/>
              </a:spcAft>
              <a:buClr>
                <a:schemeClr val="accent1"/>
              </a:buClr>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7" name="Text Placeholder 3">
            <a:extLst>
              <a:ext uri="{FF2B5EF4-FFF2-40B4-BE49-F238E27FC236}">
                <a16:creationId xmlns:a16="http://schemas.microsoft.com/office/drawing/2014/main" id="{723AD244-F78A-4F5C-9C2E-9A197C9035E5}"/>
              </a:ext>
            </a:extLst>
          </p:cNvPr>
          <p:cNvSpPr>
            <a:spLocks noGrp="1"/>
          </p:cNvSpPr>
          <p:nvPr>
            <p:ph type="body" sz="quarter" idx="41"/>
          </p:nvPr>
        </p:nvSpPr>
        <p:spPr>
          <a:xfrm>
            <a:off x="335490" y="174600"/>
            <a:ext cx="11504762"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0" name="Content Placeholder 3">
            <a:extLst>
              <a:ext uri="{FF2B5EF4-FFF2-40B4-BE49-F238E27FC236}">
                <a16:creationId xmlns:a16="http://schemas.microsoft.com/office/drawing/2014/main" id="{003048E3-4B6A-4E8D-80FC-88F40CA35587}"/>
              </a:ext>
            </a:extLst>
          </p:cNvPr>
          <p:cNvSpPr>
            <a:spLocks noGrp="1"/>
          </p:cNvSpPr>
          <p:nvPr>
            <p:ph sz="quarter" idx="49"/>
          </p:nvPr>
        </p:nvSpPr>
        <p:spPr>
          <a:xfrm>
            <a:off x="474628" y="4194896"/>
            <a:ext cx="11193498" cy="12259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4">
            <a:extLst>
              <a:ext uri="{FF2B5EF4-FFF2-40B4-BE49-F238E27FC236}">
                <a16:creationId xmlns:a16="http://schemas.microsoft.com/office/drawing/2014/main" id="{F06841A3-6CBD-4AB6-97AB-ED2E2AD9ECFE}"/>
              </a:ext>
            </a:extLst>
          </p:cNvPr>
          <p:cNvSpPr>
            <a:spLocks noGrp="1"/>
          </p:cNvSpPr>
          <p:nvPr>
            <p:ph type="body" sz="quarter" idx="51" hasCustomPrompt="1"/>
          </p:nvPr>
        </p:nvSpPr>
        <p:spPr>
          <a:xfrm>
            <a:off x="474628" y="3716341"/>
            <a:ext cx="11151481" cy="184666"/>
          </a:xfrm>
        </p:spPr>
        <p:txBody>
          <a:bodyPr wrap="square" anchor="t" anchorCtr="0">
            <a:noAutofit/>
          </a:bodyPr>
          <a:lstStyle>
            <a:lvl1pPr marL="0" indent="0" algn="l">
              <a:lnSpc>
                <a:spcPct val="100000"/>
              </a:lnSpc>
              <a:buNone/>
              <a:defRPr sz="1200" b="1" cap="all" baseline="0">
                <a:solidFill>
                  <a:schemeClr val="accent1"/>
                </a:solidFill>
              </a:defRPr>
            </a:lvl1pPr>
          </a:lstStyle>
          <a:p>
            <a:pPr lvl="0"/>
            <a:r>
              <a:rPr lang="en-US"/>
              <a:t>Edit Master title</a:t>
            </a:r>
          </a:p>
        </p:txBody>
      </p:sp>
      <p:sp>
        <p:nvSpPr>
          <p:cNvPr id="25" name="Text Placeholder 4">
            <a:extLst>
              <a:ext uri="{FF2B5EF4-FFF2-40B4-BE49-F238E27FC236}">
                <a16:creationId xmlns:a16="http://schemas.microsoft.com/office/drawing/2014/main" id="{F0307792-38E1-44F8-9867-2F45AE714BD0}"/>
              </a:ext>
            </a:extLst>
          </p:cNvPr>
          <p:cNvSpPr>
            <a:spLocks noGrp="1"/>
          </p:cNvSpPr>
          <p:nvPr>
            <p:ph type="body" sz="quarter" idx="52" hasCustomPrompt="1"/>
          </p:nvPr>
        </p:nvSpPr>
        <p:spPr>
          <a:xfrm>
            <a:off x="474628" y="3914267"/>
            <a:ext cx="11151481" cy="184666"/>
          </a:xfrm>
        </p:spPr>
        <p:txBody>
          <a:bodyPr wrap="square" anchor="b" anchorCtr="0">
            <a:noAutofit/>
          </a:bodyPr>
          <a:lstStyle>
            <a:lvl1pPr marL="0" indent="0" algn="l">
              <a:lnSpc>
                <a:spcPct val="100000"/>
              </a:lnSpc>
              <a:buNone/>
              <a:defRPr sz="1200" b="0" cap="none" baseline="0">
                <a:solidFill>
                  <a:schemeClr val="bg1">
                    <a:lumMod val="50000"/>
                  </a:schemeClr>
                </a:solidFill>
              </a:defRPr>
            </a:lvl1pPr>
          </a:lstStyle>
          <a:p>
            <a:pPr lvl="0"/>
            <a:r>
              <a:rPr lang="en-US"/>
              <a:t>UoM</a:t>
            </a:r>
          </a:p>
        </p:txBody>
      </p:sp>
    </p:spTree>
    <p:extLst>
      <p:ext uri="{BB962C8B-B14F-4D97-AF65-F5344CB8AC3E}">
        <p14:creationId xmlns:p14="http://schemas.microsoft.com/office/powerpoint/2010/main" val="2474640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3" name="Rectangle 32">
            <a:extLst>
              <a:ext uri="{FF2B5EF4-FFF2-40B4-BE49-F238E27FC236}">
                <a16:creationId xmlns:a16="http://schemas.microsoft.com/office/drawing/2014/main" id="{148A234F-D83C-4D6E-B6DD-2832F498780A}"/>
              </a:ext>
            </a:extLst>
          </p:cNvPr>
          <p:cNvSpPr/>
          <p:nvPr userDrawn="1"/>
        </p:nvSpPr>
        <p:spPr>
          <a:xfrm>
            <a:off x="6821714" y="1210090"/>
            <a:ext cx="5023295" cy="28252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Chart Placeholder 7">
            <a:extLst>
              <a:ext uri="{FF2B5EF4-FFF2-40B4-BE49-F238E27FC236}">
                <a16:creationId xmlns:a16="http://schemas.microsoft.com/office/drawing/2014/main" id="{89DA438E-15F8-496B-8C13-0718896D7C1A}"/>
              </a:ext>
            </a:extLst>
          </p:cNvPr>
          <p:cNvSpPr>
            <a:spLocks noGrp="1"/>
          </p:cNvSpPr>
          <p:nvPr>
            <p:ph type="chart" sz="quarter" idx="45"/>
          </p:nvPr>
        </p:nvSpPr>
        <p:spPr>
          <a:xfrm>
            <a:off x="6957839" y="1888303"/>
            <a:ext cx="4751044" cy="2027456"/>
          </a:xfrm>
        </p:spPr>
        <p:txBody>
          <a:bodyPr anchor="ctr">
            <a:noAutofit/>
          </a:bodyPr>
          <a:lstStyle>
            <a:lvl1pPr marL="0" indent="0" algn="ctr">
              <a:buNone/>
              <a:defRPr sz="1200"/>
            </a:lvl1pPr>
          </a:lstStyle>
          <a:p>
            <a:endParaRPr lang="en-US" dirty="0"/>
          </a:p>
        </p:txBody>
      </p:sp>
      <p:sp>
        <p:nvSpPr>
          <p:cNvPr id="35" name="Text Placeholder 6">
            <a:extLst>
              <a:ext uri="{FF2B5EF4-FFF2-40B4-BE49-F238E27FC236}">
                <a16:creationId xmlns:a16="http://schemas.microsoft.com/office/drawing/2014/main" id="{6DD10C21-59CD-4C62-B565-E42412DEBDE3}"/>
              </a:ext>
            </a:extLst>
          </p:cNvPr>
          <p:cNvSpPr>
            <a:spLocks noGrp="1"/>
          </p:cNvSpPr>
          <p:nvPr>
            <p:ph type="body" sz="quarter" idx="34" hasCustomPrompt="1"/>
          </p:nvPr>
        </p:nvSpPr>
        <p:spPr>
          <a:xfrm>
            <a:off x="346990" y="1210090"/>
            <a:ext cx="6272885"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36" name="Text Placeholder 6">
            <a:extLst>
              <a:ext uri="{FF2B5EF4-FFF2-40B4-BE49-F238E27FC236}">
                <a16:creationId xmlns:a16="http://schemas.microsoft.com/office/drawing/2014/main" id="{91E9CD6E-E9FE-4A60-A335-87020965FCF8}"/>
              </a:ext>
            </a:extLst>
          </p:cNvPr>
          <p:cNvSpPr>
            <a:spLocks noGrp="1"/>
          </p:cNvSpPr>
          <p:nvPr>
            <p:ph type="body" sz="quarter" idx="46" hasCustomPrompt="1"/>
          </p:nvPr>
        </p:nvSpPr>
        <p:spPr>
          <a:xfrm>
            <a:off x="6821714" y="4163628"/>
            <a:ext cx="5023295"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18" name="Text Placeholder 4">
            <a:extLst>
              <a:ext uri="{FF2B5EF4-FFF2-40B4-BE49-F238E27FC236}">
                <a16:creationId xmlns:a16="http://schemas.microsoft.com/office/drawing/2014/main" id="{799DFAE7-1734-4C51-A5A3-C4EC4003FFFE}"/>
              </a:ext>
            </a:extLst>
          </p:cNvPr>
          <p:cNvSpPr>
            <a:spLocks noGrp="1"/>
          </p:cNvSpPr>
          <p:nvPr>
            <p:ph type="body" sz="quarter" idx="53" hasCustomPrompt="1"/>
          </p:nvPr>
        </p:nvSpPr>
        <p:spPr>
          <a:xfrm>
            <a:off x="6957837" y="1329918"/>
            <a:ext cx="4751045"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19" name="Text Placeholder 4">
            <a:extLst>
              <a:ext uri="{FF2B5EF4-FFF2-40B4-BE49-F238E27FC236}">
                <a16:creationId xmlns:a16="http://schemas.microsoft.com/office/drawing/2014/main" id="{8583B4D8-BE83-4E20-BCA8-C79ABA3ABBB7}"/>
              </a:ext>
            </a:extLst>
          </p:cNvPr>
          <p:cNvSpPr>
            <a:spLocks noGrp="1"/>
          </p:cNvSpPr>
          <p:nvPr>
            <p:ph type="body" sz="quarter" idx="56" hasCustomPrompt="1"/>
          </p:nvPr>
        </p:nvSpPr>
        <p:spPr>
          <a:xfrm>
            <a:off x="6957837" y="1575335"/>
            <a:ext cx="4751045"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Tree>
    <p:extLst>
      <p:ext uri="{BB962C8B-B14F-4D97-AF65-F5344CB8AC3E}">
        <p14:creationId xmlns:p14="http://schemas.microsoft.com/office/powerpoint/2010/main" val="4038906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5" name="Text Placeholder 6">
            <a:extLst>
              <a:ext uri="{FF2B5EF4-FFF2-40B4-BE49-F238E27FC236}">
                <a16:creationId xmlns:a16="http://schemas.microsoft.com/office/drawing/2014/main" id="{6DD10C21-59CD-4C62-B565-E42412DEBDE3}"/>
              </a:ext>
            </a:extLst>
          </p:cNvPr>
          <p:cNvSpPr>
            <a:spLocks noGrp="1"/>
          </p:cNvSpPr>
          <p:nvPr>
            <p:ph type="body" sz="quarter" idx="34" hasCustomPrompt="1"/>
          </p:nvPr>
        </p:nvSpPr>
        <p:spPr>
          <a:xfrm>
            <a:off x="346990" y="3821938"/>
            <a:ext cx="5590086"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36" name="Text Placeholder 6">
            <a:extLst>
              <a:ext uri="{FF2B5EF4-FFF2-40B4-BE49-F238E27FC236}">
                <a16:creationId xmlns:a16="http://schemas.microsoft.com/office/drawing/2014/main" id="{91E9CD6E-E9FE-4A60-A335-87020965FCF8}"/>
              </a:ext>
            </a:extLst>
          </p:cNvPr>
          <p:cNvSpPr>
            <a:spLocks noGrp="1"/>
          </p:cNvSpPr>
          <p:nvPr>
            <p:ph type="body" sz="quarter" idx="46" hasCustomPrompt="1"/>
          </p:nvPr>
        </p:nvSpPr>
        <p:spPr>
          <a:xfrm>
            <a:off x="6254923" y="3821938"/>
            <a:ext cx="5590086"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17" name="Rectangle 16">
            <a:extLst>
              <a:ext uri="{FF2B5EF4-FFF2-40B4-BE49-F238E27FC236}">
                <a16:creationId xmlns:a16="http://schemas.microsoft.com/office/drawing/2014/main" id="{6057EC1F-9E8D-4C36-A024-D49896297BC4}"/>
              </a:ext>
            </a:extLst>
          </p:cNvPr>
          <p:cNvSpPr/>
          <p:nvPr userDrawn="1"/>
        </p:nvSpPr>
        <p:spPr>
          <a:xfrm>
            <a:off x="6254923" y="1210090"/>
            <a:ext cx="5590086" cy="25110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20D89E54-6FB3-4DDB-A59F-9CA27050561A}"/>
              </a:ext>
            </a:extLst>
          </p:cNvPr>
          <p:cNvSpPr/>
          <p:nvPr userDrawn="1"/>
        </p:nvSpPr>
        <p:spPr>
          <a:xfrm>
            <a:off x="346990" y="1210090"/>
            <a:ext cx="5590086" cy="25110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 Placeholder 4">
            <a:extLst>
              <a:ext uri="{FF2B5EF4-FFF2-40B4-BE49-F238E27FC236}">
                <a16:creationId xmlns:a16="http://schemas.microsoft.com/office/drawing/2014/main" id="{F61B9772-A50F-403E-867A-3C885C01AD70}"/>
              </a:ext>
            </a:extLst>
          </p:cNvPr>
          <p:cNvSpPr>
            <a:spLocks noGrp="1"/>
          </p:cNvSpPr>
          <p:nvPr>
            <p:ph type="body" sz="quarter" idx="52" hasCustomPrompt="1"/>
          </p:nvPr>
        </p:nvSpPr>
        <p:spPr>
          <a:xfrm>
            <a:off x="481794" y="1329918"/>
            <a:ext cx="5320478"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20" name="Text Placeholder 4">
            <a:extLst>
              <a:ext uri="{FF2B5EF4-FFF2-40B4-BE49-F238E27FC236}">
                <a16:creationId xmlns:a16="http://schemas.microsoft.com/office/drawing/2014/main" id="{74F56C9F-D677-405D-BD6D-331C0709EFBA}"/>
              </a:ext>
            </a:extLst>
          </p:cNvPr>
          <p:cNvSpPr>
            <a:spLocks noGrp="1"/>
          </p:cNvSpPr>
          <p:nvPr>
            <p:ph type="body" sz="quarter" idx="53" hasCustomPrompt="1"/>
          </p:nvPr>
        </p:nvSpPr>
        <p:spPr>
          <a:xfrm>
            <a:off x="6388405" y="1329918"/>
            <a:ext cx="5320478"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34" name="Chart Placeholder 7">
            <a:extLst>
              <a:ext uri="{FF2B5EF4-FFF2-40B4-BE49-F238E27FC236}">
                <a16:creationId xmlns:a16="http://schemas.microsoft.com/office/drawing/2014/main" id="{89DA438E-15F8-496B-8C13-0718896D7C1A}"/>
              </a:ext>
            </a:extLst>
          </p:cNvPr>
          <p:cNvSpPr>
            <a:spLocks noGrp="1"/>
          </p:cNvSpPr>
          <p:nvPr>
            <p:ph type="chart" sz="quarter" idx="45"/>
          </p:nvPr>
        </p:nvSpPr>
        <p:spPr>
          <a:xfrm>
            <a:off x="6388405" y="1872997"/>
            <a:ext cx="5320478" cy="1730281"/>
          </a:xfrm>
        </p:spPr>
        <p:txBody>
          <a:bodyPr anchor="ctr">
            <a:noAutofit/>
          </a:bodyPr>
          <a:lstStyle>
            <a:lvl1pPr marL="0" indent="0" algn="ctr">
              <a:buNone/>
              <a:defRPr sz="1200"/>
            </a:lvl1pPr>
          </a:lstStyle>
          <a:p>
            <a:endParaRPr lang="en-US" dirty="0"/>
          </a:p>
        </p:txBody>
      </p:sp>
      <p:sp>
        <p:nvSpPr>
          <p:cNvPr id="21" name="Chart Placeholder 7">
            <a:extLst>
              <a:ext uri="{FF2B5EF4-FFF2-40B4-BE49-F238E27FC236}">
                <a16:creationId xmlns:a16="http://schemas.microsoft.com/office/drawing/2014/main" id="{EB4E12CD-4E03-4F97-991E-986CDA271580}"/>
              </a:ext>
            </a:extLst>
          </p:cNvPr>
          <p:cNvSpPr>
            <a:spLocks noGrp="1"/>
          </p:cNvSpPr>
          <p:nvPr>
            <p:ph type="chart" sz="quarter" idx="54"/>
          </p:nvPr>
        </p:nvSpPr>
        <p:spPr>
          <a:xfrm>
            <a:off x="481794" y="1872997"/>
            <a:ext cx="5320478" cy="1730281"/>
          </a:xfrm>
        </p:spPr>
        <p:txBody>
          <a:bodyPr anchor="ctr">
            <a:noAutofit/>
          </a:bodyPr>
          <a:lstStyle>
            <a:lvl1pPr marL="0" indent="0" algn="ctr">
              <a:buNone/>
              <a:defRPr sz="1200"/>
            </a:lvl1pPr>
          </a:lstStyle>
          <a:p>
            <a:endParaRPr lang="en-US" dirty="0"/>
          </a:p>
        </p:txBody>
      </p:sp>
      <p:sp>
        <p:nvSpPr>
          <p:cNvPr id="22" name="Text Placeholder 4">
            <a:extLst>
              <a:ext uri="{FF2B5EF4-FFF2-40B4-BE49-F238E27FC236}">
                <a16:creationId xmlns:a16="http://schemas.microsoft.com/office/drawing/2014/main" id="{F0115677-822F-4C70-9834-F470B3252278}"/>
              </a:ext>
            </a:extLst>
          </p:cNvPr>
          <p:cNvSpPr>
            <a:spLocks noGrp="1"/>
          </p:cNvSpPr>
          <p:nvPr>
            <p:ph type="body" sz="quarter" idx="55" hasCustomPrompt="1"/>
          </p:nvPr>
        </p:nvSpPr>
        <p:spPr>
          <a:xfrm>
            <a:off x="481794" y="1575335"/>
            <a:ext cx="5320478"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
        <p:nvSpPr>
          <p:cNvPr id="23" name="Text Placeholder 4">
            <a:extLst>
              <a:ext uri="{FF2B5EF4-FFF2-40B4-BE49-F238E27FC236}">
                <a16:creationId xmlns:a16="http://schemas.microsoft.com/office/drawing/2014/main" id="{773862F5-49B2-4AD6-A829-058323CF048A}"/>
              </a:ext>
            </a:extLst>
          </p:cNvPr>
          <p:cNvSpPr>
            <a:spLocks noGrp="1"/>
          </p:cNvSpPr>
          <p:nvPr>
            <p:ph type="body" sz="quarter" idx="56" hasCustomPrompt="1"/>
          </p:nvPr>
        </p:nvSpPr>
        <p:spPr>
          <a:xfrm>
            <a:off x="6388405" y="1575335"/>
            <a:ext cx="5320478"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Tree>
    <p:extLst>
      <p:ext uri="{BB962C8B-B14F-4D97-AF65-F5344CB8AC3E}">
        <p14:creationId xmlns:p14="http://schemas.microsoft.com/office/powerpoint/2010/main" val="2686363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extLst>
              <p:ext uri="{D42A27DB-BD31-4B8C-83A1-F6EECF244321}">
                <p14:modId xmlns:p14="http://schemas.microsoft.com/office/powerpoint/2010/main" val="34018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2" name="Text Placeholder 2">
            <a:extLst>
              <a:ext uri="{FF2B5EF4-FFF2-40B4-BE49-F238E27FC236}">
                <a16:creationId xmlns:a16="http://schemas.microsoft.com/office/drawing/2014/main" id="{82BAF926-7474-45AB-8A10-72124CAB1784}"/>
              </a:ext>
            </a:extLst>
          </p:cNvPr>
          <p:cNvSpPr>
            <a:spLocks noGrp="1"/>
          </p:cNvSpPr>
          <p:nvPr>
            <p:ph type="body" sz="quarter" idx="58"/>
          </p:nvPr>
        </p:nvSpPr>
        <p:spPr>
          <a:xfrm>
            <a:off x="9055231" y="1511753"/>
            <a:ext cx="2789777" cy="1249735"/>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lvl1pPr marL="0" indent="0" algn="l">
              <a:buFontTx/>
              <a:buNone/>
              <a:defRPr lang="en-US" sz="1600" b="1"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algn="ctr"/>
            <a:endParaRPr lang="en-US"/>
          </a:p>
        </p:txBody>
      </p:sp>
      <p:sp>
        <p:nvSpPr>
          <p:cNvPr id="3" name="Text Placeholder 2">
            <a:extLst>
              <a:ext uri="{FF2B5EF4-FFF2-40B4-BE49-F238E27FC236}">
                <a16:creationId xmlns:a16="http://schemas.microsoft.com/office/drawing/2014/main" id="{D108E751-0CCD-4005-AAA8-3876C979EB3C}"/>
              </a:ext>
            </a:extLst>
          </p:cNvPr>
          <p:cNvSpPr>
            <a:spLocks noGrp="1"/>
          </p:cNvSpPr>
          <p:nvPr>
            <p:ph type="body" sz="quarter" idx="57"/>
          </p:nvPr>
        </p:nvSpPr>
        <p:spPr>
          <a:xfrm>
            <a:off x="6095999" y="1511753"/>
            <a:ext cx="2789777" cy="1249735"/>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lvl1pPr marL="0" indent="0" algn="l">
              <a:buFontTx/>
              <a:buNone/>
              <a:defRPr lang="en-US" sz="1600" b="1" dirty="0" smtClean="0">
                <a:solidFill>
                  <a:schemeClr val="lt1"/>
                </a:solid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algn="ctr"/>
            <a:endParaRPr lang="en-US"/>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5" name="Text Placeholder 6">
            <a:extLst>
              <a:ext uri="{FF2B5EF4-FFF2-40B4-BE49-F238E27FC236}">
                <a16:creationId xmlns:a16="http://schemas.microsoft.com/office/drawing/2014/main" id="{6DD10C21-59CD-4C62-B565-E42412DEBDE3}"/>
              </a:ext>
            </a:extLst>
          </p:cNvPr>
          <p:cNvSpPr>
            <a:spLocks noGrp="1"/>
          </p:cNvSpPr>
          <p:nvPr>
            <p:ph type="body" sz="quarter" idx="34" hasCustomPrompt="1"/>
          </p:nvPr>
        </p:nvSpPr>
        <p:spPr>
          <a:xfrm>
            <a:off x="346990" y="1511753"/>
            <a:ext cx="5463258"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36" name="Text Placeholder 6">
            <a:extLst>
              <a:ext uri="{FF2B5EF4-FFF2-40B4-BE49-F238E27FC236}">
                <a16:creationId xmlns:a16="http://schemas.microsoft.com/office/drawing/2014/main" id="{91E9CD6E-E9FE-4A60-A335-87020965FCF8}"/>
              </a:ext>
            </a:extLst>
          </p:cNvPr>
          <p:cNvSpPr>
            <a:spLocks noGrp="1"/>
          </p:cNvSpPr>
          <p:nvPr>
            <p:ph type="body" sz="quarter" idx="46" hasCustomPrompt="1"/>
          </p:nvPr>
        </p:nvSpPr>
        <p:spPr>
          <a:xfrm>
            <a:off x="6095999" y="2877163"/>
            <a:ext cx="5749009" cy="184666"/>
          </a:xfrm>
        </p:spPr>
        <p:txBody>
          <a:bodyPr/>
          <a:lstStyle>
            <a:lvl1pPr marL="237744" indent="-237744" algn="just">
              <a:lnSpc>
                <a:spcPct val="100000"/>
              </a:lnSpc>
              <a:spcBef>
                <a:spcPts val="0"/>
              </a:spcBef>
              <a:spcAft>
                <a:spcPts val="15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19" name="Text Placeholder 4">
            <a:extLst>
              <a:ext uri="{FF2B5EF4-FFF2-40B4-BE49-F238E27FC236}">
                <a16:creationId xmlns:a16="http://schemas.microsoft.com/office/drawing/2014/main" id="{F61B9772-A50F-403E-867A-3C885C01AD70}"/>
              </a:ext>
            </a:extLst>
          </p:cNvPr>
          <p:cNvSpPr>
            <a:spLocks noGrp="1"/>
          </p:cNvSpPr>
          <p:nvPr>
            <p:ph type="body" sz="quarter" idx="52" hasCustomPrompt="1"/>
          </p:nvPr>
        </p:nvSpPr>
        <p:spPr>
          <a:xfrm>
            <a:off x="346992" y="1212306"/>
            <a:ext cx="5463258"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accent1"/>
                </a:solidFill>
              </a:defRPr>
            </a:lvl1pPr>
          </a:lstStyle>
          <a:p>
            <a:pPr marL="0" lvl="0">
              <a:spcAft>
                <a:spcPts val="500"/>
              </a:spcAft>
            </a:pPr>
            <a:r>
              <a:rPr lang="en-US"/>
              <a:t>EDIT MASTER TITLE</a:t>
            </a:r>
          </a:p>
        </p:txBody>
      </p:sp>
      <p:sp>
        <p:nvSpPr>
          <p:cNvPr id="20" name="Text Placeholder 4">
            <a:extLst>
              <a:ext uri="{FF2B5EF4-FFF2-40B4-BE49-F238E27FC236}">
                <a16:creationId xmlns:a16="http://schemas.microsoft.com/office/drawing/2014/main" id="{74F56C9F-D677-405D-BD6D-331C0709EFBA}"/>
              </a:ext>
            </a:extLst>
          </p:cNvPr>
          <p:cNvSpPr>
            <a:spLocks noGrp="1"/>
          </p:cNvSpPr>
          <p:nvPr>
            <p:ph type="body" sz="quarter" idx="53" hasCustomPrompt="1"/>
          </p:nvPr>
        </p:nvSpPr>
        <p:spPr>
          <a:xfrm>
            <a:off x="6095999" y="1212306"/>
            <a:ext cx="5749009"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accent1"/>
                </a:solidFill>
              </a:defRPr>
            </a:lvl1pPr>
          </a:lstStyle>
          <a:p>
            <a:pPr marL="0" lvl="0">
              <a:spcAft>
                <a:spcPts val="500"/>
              </a:spcAft>
            </a:pPr>
            <a:r>
              <a:rPr lang="en-US"/>
              <a:t>EDIT MASTER TITLE</a:t>
            </a:r>
          </a:p>
        </p:txBody>
      </p:sp>
      <p:sp>
        <p:nvSpPr>
          <p:cNvPr id="24" name="Text Placeholder 4">
            <a:extLst>
              <a:ext uri="{FF2B5EF4-FFF2-40B4-BE49-F238E27FC236}">
                <a16:creationId xmlns:a16="http://schemas.microsoft.com/office/drawing/2014/main" id="{793DEE7A-29FA-4B64-AA53-3379B5890AB7}"/>
              </a:ext>
            </a:extLst>
          </p:cNvPr>
          <p:cNvSpPr>
            <a:spLocks noGrp="1"/>
          </p:cNvSpPr>
          <p:nvPr>
            <p:ph type="body" sz="quarter" idx="54" hasCustomPrompt="1"/>
          </p:nvPr>
        </p:nvSpPr>
        <p:spPr>
          <a:xfrm>
            <a:off x="7263540" y="2043037"/>
            <a:ext cx="1480410" cy="187167"/>
          </a:xfrm>
        </p:spPr>
        <p:txBody>
          <a:bodyPr wrap="square" lIns="0" tIns="0" rIns="0" bIns="0" anchor="b">
            <a:spAutoFit/>
          </a:bodyPr>
          <a:lstStyle>
            <a:lvl1pPr marL="0" indent="0">
              <a:lnSpc>
                <a:spcPct val="100000"/>
              </a:lnSpc>
              <a:spcBef>
                <a:spcPts val="0"/>
              </a:spcBef>
              <a:spcAft>
                <a:spcPts val="0"/>
              </a:spcAft>
              <a:buNone/>
              <a:defRPr lang="en-US" sz="1400" b="1" dirty="0">
                <a:solidFill>
                  <a:schemeClr val="bg1"/>
                </a:solidFill>
              </a:defRPr>
            </a:lvl1pPr>
          </a:lstStyle>
          <a:p>
            <a:pPr marL="0" lvl="0">
              <a:spcAft>
                <a:spcPts val="500"/>
              </a:spcAft>
            </a:pPr>
            <a:r>
              <a:rPr lang="en-US"/>
              <a:t>TEXT</a:t>
            </a:r>
          </a:p>
        </p:txBody>
      </p:sp>
      <p:sp>
        <p:nvSpPr>
          <p:cNvPr id="26" name="Text Placeholder 4">
            <a:extLst>
              <a:ext uri="{FF2B5EF4-FFF2-40B4-BE49-F238E27FC236}">
                <a16:creationId xmlns:a16="http://schemas.microsoft.com/office/drawing/2014/main" id="{C8A3AE16-C1C4-4B13-9CA5-2CAE2BD95DDE}"/>
              </a:ext>
            </a:extLst>
          </p:cNvPr>
          <p:cNvSpPr>
            <a:spLocks noGrp="1"/>
          </p:cNvSpPr>
          <p:nvPr>
            <p:ph type="body" sz="quarter" idx="55" hasCustomPrompt="1"/>
          </p:nvPr>
        </p:nvSpPr>
        <p:spPr>
          <a:xfrm>
            <a:off x="10249879" y="2062341"/>
            <a:ext cx="1480410" cy="187167"/>
          </a:xfrm>
        </p:spPr>
        <p:txBody>
          <a:bodyPr wrap="square" lIns="0" tIns="0" rIns="0" bIns="0" anchor="b">
            <a:spAutoFit/>
          </a:bodyPr>
          <a:lstStyle>
            <a:lvl1pPr marL="0" indent="0">
              <a:lnSpc>
                <a:spcPct val="100000"/>
              </a:lnSpc>
              <a:spcBef>
                <a:spcPts val="0"/>
              </a:spcBef>
              <a:spcAft>
                <a:spcPts val="0"/>
              </a:spcAft>
              <a:buNone/>
              <a:defRPr lang="en-US" sz="1400" b="1" dirty="0">
                <a:solidFill>
                  <a:schemeClr val="bg1"/>
                </a:solidFill>
              </a:defRPr>
            </a:lvl1pPr>
          </a:lstStyle>
          <a:p>
            <a:pPr marL="0" lvl="0">
              <a:spcAft>
                <a:spcPts val="500"/>
              </a:spcAft>
            </a:pPr>
            <a:r>
              <a:rPr lang="en-US"/>
              <a:t>TEXT</a:t>
            </a:r>
          </a:p>
        </p:txBody>
      </p:sp>
      <p:sp>
        <p:nvSpPr>
          <p:cNvPr id="27" name="Picture Placeholder 2">
            <a:extLst>
              <a:ext uri="{FF2B5EF4-FFF2-40B4-BE49-F238E27FC236}">
                <a16:creationId xmlns:a16="http://schemas.microsoft.com/office/drawing/2014/main" id="{B6C67E59-D350-403F-968E-8E85F4CEA067}"/>
              </a:ext>
            </a:extLst>
          </p:cNvPr>
          <p:cNvSpPr>
            <a:spLocks noGrp="1"/>
          </p:cNvSpPr>
          <p:nvPr>
            <p:ph type="pic" sz="quarter" idx="29" hasCustomPrompt="1"/>
          </p:nvPr>
        </p:nvSpPr>
        <p:spPr>
          <a:xfrm>
            <a:off x="6198009" y="1654860"/>
            <a:ext cx="963521" cy="963521"/>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sp>
        <p:nvSpPr>
          <p:cNvPr id="28" name="Picture Placeholder 2">
            <a:extLst>
              <a:ext uri="{FF2B5EF4-FFF2-40B4-BE49-F238E27FC236}">
                <a16:creationId xmlns:a16="http://schemas.microsoft.com/office/drawing/2014/main" id="{A748A41B-F5A3-44A1-80DD-8D9CC51D6CA4}"/>
              </a:ext>
            </a:extLst>
          </p:cNvPr>
          <p:cNvSpPr>
            <a:spLocks noGrp="1"/>
          </p:cNvSpPr>
          <p:nvPr>
            <p:ph type="pic" sz="quarter" idx="56" hasCustomPrompt="1"/>
          </p:nvPr>
        </p:nvSpPr>
        <p:spPr>
          <a:xfrm>
            <a:off x="9171640" y="1674164"/>
            <a:ext cx="963521" cy="963521"/>
          </a:xfrm>
          <a:prstGeom prst="ellipse">
            <a:avLst/>
          </a:prstGeom>
        </p:spPr>
        <p:txBody>
          <a:bodyPr anchor="ctr" anchorCtr="1">
            <a:noAutofit/>
          </a:bodyPr>
          <a:lstStyle>
            <a:lvl1pPr marL="0" indent="0">
              <a:buNone/>
              <a:defRPr sz="1400">
                <a:solidFill>
                  <a:schemeClr val="bg1"/>
                </a:solidFill>
              </a:defRPr>
            </a:lvl1pPr>
          </a:lstStyle>
          <a:p>
            <a:r>
              <a:rPr lang="en-US" dirty="0"/>
              <a:t>Icon</a:t>
            </a:r>
          </a:p>
        </p:txBody>
      </p:sp>
    </p:spTree>
    <p:extLst>
      <p:ext uri="{BB962C8B-B14F-4D97-AF65-F5344CB8AC3E}">
        <p14:creationId xmlns:p14="http://schemas.microsoft.com/office/powerpoint/2010/main" val="3198394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5" name="Text Placeholder 3">
            <a:extLst>
              <a:ext uri="{FF2B5EF4-FFF2-40B4-BE49-F238E27FC236}">
                <a16:creationId xmlns:a16="http://schemas.microsoft.com/office/drawing/2014/main" id="{FAD21058-695E-4B96-AF2D-D8188011ACD6}"/>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21" name="Rectangle 20">
            <a:extLst>
              <a:ext uri="{FF2B5EF4-FFF2-40B4-BE49-F238E27FC236}">
                <a16:creationId xmlns:a16="http://schemas.microsoft.com/office/drawing/2014/main" id="{83914DB4-E662-41EB-8BAA-D408F66971A4}"/>
              </a:ext>
            </a:extLst>
          </p:cNvPr>
          <p:cNvSpPr/>
          <p:nvPr userDrawn="1"/>
        </p:nvSpPr>
        <p:spPr>
          <a:xfrm>
            <a:off x="6200838" y="1141354"/>
            <a:ext cx="5389017" cy="2497656"/>
          </a:xfrm>
          <a:prstGeom prst="rect">
            <a:avLst/>
          </a:prstGeom>
          <a:solidFill>
            <a:schemeClr val="accent3"/>
          </a:solidFill>
          <a:ln>
            <a:noFill/>
          </a:ln>
        </p:spPr>
        <p:txBody>
          <a:bodyPr wrap="square" anchor="ctr">
            <a:noAutofit/>
          </a:bodyPr>
          <a:lstStyle/>
          <a:p>
            <a:pPr algn="ctr" defTabSz="1443469">
              <a:lnSpc>
                <a:spcPct val="90000"/>
              </a:lnSpc>
              <a:spcBef>
                <a:spcPct val="0"/>
              </a:spcBef>
              <a:spcAft>
                <a:spcPct val="35000"/>
              </a:spcAft>
            </a:pPr>
            <a:endParaRPr lang="en-IN" sz="1400" b="1" dirty="0">
              <a:solidFill>
                <a:schemeClr val="bg1"/>
              </a:solidFill>
            </a:endParaRPr>
          </a:p>
        </p:txBody>
      </p:sp>
      <p:sp>
        <p:nvSpPr>
          <p:cNvPr id="27" name="Rectangle 26">
            <a:extLst>
              <a:ext uri="{FF2B5EF4-FFF2-40B4-BE49-F238E27FC236}">
                <a16:creationId xmlns:a16="http://schemas.microsoft.com/office/drawing/2014/main" id="{FC27DC54-8507-4343-8287-8F8F3E28CD3C}"/>
              </a:ext>
            </a:extLst>
          </p:cNvPr>
          <p:cNvSpPr/>
          <p:nvPr userDrawn="1"/>
        </p:nvSpPr>
        <p:spPr>
          <a:xfrm>
            <a:off x="588811" y="3853114"/>
            <a:ext cx="5389017" cy="2497656"/>
          </a:xfrm>
          <a:prstGeom prst="rect">
            <a:avLst/>
          </a:pr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0581" tIns="240581" rIns="240581" bIns="240581" numCol="1" spcCol="1270" anchor="ctr" anchorCtr="0">
            <a:noAutofit/>
          </a:bodyPr>
          <a:lstStyle/>
          <a:p>
            <a:pPr algn="ctr" defTabSz="1443469">
              <a:lnSpc>
                <a:spcPct val="90000"/>
              </a:lnSpc>
              <a:spcBef>
                <a:spcPct val="0"/>
              </a:spcBef>
              <a:spcAft>
                <a:spcPct val="35000"/>
              </a:spcAft>
            </a:pPr>
            <a:endParaRPr lang="en-IN" sz="1400" b="1" dirty="0">
              <a:solidFill>
                <a:schemeClr val="bg1"/>
              </a:solidFill>
            </a:endParaRPr>
          </a:p>
        </p:txBody>
      </p:sp>
      <p:sp>
        <p:nvSpPr>
          <p:cNvPr id="28" name="Rectangle 27">
            <a:extLst>
              <a:ext uri="{FF2B5EF4-FFF2-40B4-BE49-F238E27FC236}">
                <a16:creationId xmlns:a16="http://schemas.microsoft.com/office/drawing/2014/main" id="{6647B58C-2522-41ED-9BA2-7904F504F94D}"/>
              </a:ext>
            </a:extLst>
          </p:cNvPr>
          <p:cNvSpPr/>
          <p:nvPr userDrawn="1"/>
        </p:nvSpPr>
        <p:spPr>
          <a:xfrm>
            <a:off x="6200838" y="3853115"/>
            <a:ext cx="5389017" cy="2497656"/>
          </a:xfrm>
          <a:prstGeom prst="rect">
            <a:avLst/>
          </a:prstGeom>
          <a:solidFill>
            <a:schemeClr val="accent6"/>
          </a:solidFill>
        </p:spPr>
        <p:txBody>
          <a:bodyPr wrap="square" anchor="ctr">
            <a:noAutofit/>
          </a:bodyPr>
          <a:lstStyle/>
          <a:p>
            <a:pPr algn="ctr" defTabSz="1443469">
              <a:spcBef>
                <a:spcPct val="0"/>
              </a:spcBef>
              <a:spcAft>
                <a:spcPct val="35000"/>
              </a:spcAft>
            </a:pPr>
            <a:endParaRPr lang="en-IN" b="1" dirty="0">
              <a:solidFill>
                <a:schemeClr val="bg1"/>
              </a:solidFill>
            </a:endParaRPr>
          </a:p>
        </p:txBody>
      </p:sp>
      <p:sp>
        <p:nvSpPr>
          <p:cNvPr id="29" name="Rectangle 28">
            <a:extLst>
              <a:ext uri="{FF2B5EF4-FFF2-40B4-BE49-F238E27FC236}">
                <a16:creationId xmlns:a16="http://schemas.microsoft.com/office/drawing/2014/main" id="{103A54AF-A0D2-4FAF-AE46-E8876E24D2D7}"/>
              </a:ext>
            </a:extLst>
          </p:cNvPr>
          <p:cNvSpPr/>
          <p:nvPr userDrawn="1"/>
        </p:nvSpPr>
        <p:spPr>
          <a:xfrm>
            <a:off x="588811" y="1141353"/>
            <a:ext cx="5389017" cy="2497656"/>
          </a:xfrm>
          <a:prstGeom prst="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0581" tIns="240581" rIns="240581" bIns="240581" numCol="1" spcCol="1270" anchor="ctr" anchorCtr="0">
            <a:noAutofit/>
          </a:bodyPr>
          <a:lstStyle/>
          <a:p>
            <a:pPr algn="ctr" defTabSz="1443469">
              <a:lnSpc>
                <a:spcPct val="90000"/>
              </a:lnSpc>
              <a:spcBef>
                <a:spcPct val="0"/>
              </a:spcBef>
              <a:spcAft>
                <a:spcPct val="35000"/>
              </a:spcAft>
            </a:pPr>
            <a:endParaRPr lang="en-IN" sz="1400" b="1" dirty="0">
              <a:solidFill>
                <a:schemeClr val="bg1"/>
              </a:solidFill>
            </a:endParaRPr>
          </a:p>
        </p:txBody>
      </p:sp>
      <p:sp>
        <p:nvSpPr>
          <p:cNvPr id="30" name="Freeform: Shape 29">
            <a:extLst>
              <a:ext uri="{FF2B5EF4-FFF2-40B4-BE49-F238E27FC236}">
                <a16:creationId xmlns:a16="http://schemas.microsoft.com/office/drawing/2014/main" id="{164EAFB7-91A3-42EC-A5E4-E66600FE386B}"/>
              </a:ext>
            </a:extLst>
          </p:cNvPr>
          <p:cNvSpPr/>
          <p:nvPr userDrawn="1"/>
        </p:nvSpPr>
        <p:spPr>
          <a:xfrm>
            <a:off x="5105084" y="2766843"/>
            <a:ext cx="945101" cy="945098"/>
          </a:xfrm>
          <a:custGeom>
            <a:avLst/>
            <a:gdLst>
              <a:gd name="connsiteX0" fmla="*/ 718205 w 718205"/>
              <a:gd name="connsiteY0" fmla="*/ 0 h 718205"/>
              <a:gd name="connsiteX1" fmla="*/ 718205 w 718205"/>
              <a:gd name="connsiteY1" fmla="*/ 718205 h 718205"/>
              <a:gd name="connsiteX2" fmla="*/ 0 w 718205"/>
              <a:gd name="connsiteY2" fmla="*/ 718205 h 718205"/>
              <a:gd name="connsiteX3" fmla="*/ 718205 w 718205"/>
              <a:gd name="connsiteY3" fmla="*/ 0 h 718205"/>
            </a:gdLst>
            <a:ahLst/>
            <a:cxnLst>
              <a:cxn ang="0">
                <a:pos x="connsiteX0" y="connsiteY0"/>
              </a:cxn>
              <a:cxn ang="0">
                <a:pos x="connsiteX1" y="connsiteY1"/>
              </a:cxn>
              <a:cxn ang="0">
                <a:pos x="connsiteX2" y="connsiteY2"/>
              </a:cxn>
              <a:cxn ang="0">
                <a:pos x="connsiteX3" y="connsiteY3"/>
              </a:cxn>
            </a:cxnLst>
            <a:rect l="l" t="t" r="r" b="b"/>
            <a:pathLst>
              <a:path w="718205" h="718205">
                <a:moveTo>
                  <a:pt x="718205" y="0"/>
                </a:moveTo>
                <a:lnTo>
                  <a:pt x="718205" y="718205"/>
                </a:lnTo>
                <a:lnTo>
                  <a:pt x="0" y="718205"/>
                </a:lnTo>
                <a:lnTo>
                  <a:pt x="718205"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6153758C-BFC6-487B-8D20-87061CB03C0B}"/>
              </a:ext>
            </a:extLst>
          </p:cNvPr>
          <p:cNvSpPr/>
          <p:nvPr userDrawn="1"/>
        </p:nvSpPr>
        <p:spPr>
          <a:xfrm>
            <a:off x="6128481" y="2766844"/>
            <a:ext cx="945101" cy="945098"/>
          </a:xfrm>
          <a:custGeom>
            <a:avLst/>
            <a:gdLst>
              <a:gd name="connsiteX0" fmla="*/ 0 w 718205"/>
              <a:gd name="connsiteY0" fmla="*/ 0 h 718205"/>
              <a:gd name="connsiteX1" fmla="*/ 718205 w 718205"/>
              <a:gd name="connsiteY1" fmla="*/ 718205 h 718205"/>
              <a:gd name="connsiteX2" fmla="*/ 0 w 718205"/>
              <a:gd name="connsiteY2" fmla="*/ 718205 h 718205"/>
              <a:gd name="connsiteX3" fmla="*/ 0 w 718205"/>
              <a:gd name="connsiteY3" fmla="*/ 0 h 718205"/>
            </a:gdLst>
            <a:ahLst/>
            <a:cxnLst>
              <a:cxn ang="0">
                <a:pos x="connsiteX0" y="connsiteY0"/>
              </a:cxn>
              <a:cxn ang="0">
                <a:pos x="connsiteX1" y="connsiteY1"/>
              </a:cxn>
              <a:cxn ang="0">
                <a:pos x="connsiteX2" y="connsiteY2"/>
              </a:cxn>
              <a:cxn ang="0">
                <a:pos x="connsiteX3" y="connsiteY3"/>
              </a:cxn>
            </a:cxnLst>
            <a:rect l="l" t="t" r="r" b="b"/>
            <a:pathLst>
              <a:path w="718205" h="718205">
                <a:moveTo>
                  <a:pt x="0" y="0"/>
                </a:moveTo>
                <a:lnTo>
                  <a:pt x="718205" y="718205"/>
                </a:lnTo>
                <a:lnTo>
                  <a:pt x="0" y="718205"/>
                </a:lnTo>
                <a:lnTo>
                  <a:pt x="0"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461CC442-426B-4D67-A0E2-3D610716D551}"/>
              </a:ext>
            </a:extLst>
          </p:cNvPr>
          <p:cNvSpPr/>
          <p:nvPr userDrawn="1"/>
        </p:nvSpPr>
        <p:spPr>
          <a:xfrm>
            <a:off x="5105084" y="3781095"/>
            <a:ext cx="945101" cy="945098"/>
          </a:xfrm>
          <a:custGeom>
            <a:avLst/>
            <a:gdLst>
              <a:gd name="connsiteX0" fmla="*/ 0 w 718205"/>
              <a:gd name="connsiteY0" fmla="*/ 0 h 718205"/>
              <a:gd name="connsiteX1" fmla="*/ 718205 w 718205"/>
              <a:gd name="connsiteY1" fmla="*/ 0 h 718205"/>
              <a:gd name="connsiteX2" fmla="*/ 718205 w 718205"/>
              <a:gd name="connsiteY2" fmla="*/ 718205 h 718205"/>
              <a:gd name="connsiteX3" fmla="*/ 0 w 718205"/>
              <a:gd name="connsiteY3" fmla="*/ 0 h 718205"/>
            </a:gdLst>
            <a:ahLst/>
            <a:cxnLst>
              <a:cxn ang="0">
                <a:pos x="connsiteX0" y="connsiteY0"/>
              </a:cxn>
              <a:cxn ang="0">
                <a:pos x="connsiteX1" y="connsiteY1"/>
              </a:cxn>
              <a:cxn ang="0">
                <a:pos x="connsiteX2" y="connsiteY2"/>
              </a:cxn>
              <a:cxn ang="0">
                <a:pos x="connsiteX3" y="connsiteY3"/>
              </a:cxn>
            </a:cxnLst>
            <a:rect l="l" t="t" r="r" b="b"/>
            <a:pathLst>
              <a:path w="718205" h="718205">
                <a:moveTo>
                  <a:pt x="0" y="0"/>
                </a:moveTo>
                <a:lnTo>
                  <a:pt x="718205" y="0"/>
                </a:lnTo>
                <a:lnTo>
                  <a:pt x="718205" y="718205"/>
                </a:lnTo>
                <a:lnTo>
                  <a:pt x="0"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D2BB1B67-8D14-4900-9F1F-9F339F63A55E}"/>
              </a:ext>
            </a:extLst>
          </p:cNvPr>
          <p:cNvSpPr/>
          <p:nvPr userDrawn="1"/>
        </p:nvSpPr>
        <p:spPr>
          <a:xfrm>
            <a:off x="6128480" y="3781093"/>
            <a:ext cx="945099" cy="945098"/>
          </a:xfrm>
          <a:custGeom>
            <a:avLst/>
            <a:gdLst>
              <a:gd name="connsiteX0" fmla="*/ 0 w 718204"/>
              <a:gd name="connsiteY0" fmla="*/ 0 h 718204"/>
              <a:gd name="connsiteX1" fmla="*/ 718204 w 718204"/>
              <a:gd name="connsiteY1" fmla="*/ 0 h 718204"/>
              <a:gd name="connsiteX2" fmla="*/ 0 w 718204"/>
              <a:gd name="connsiteY2" fmla="*/ 718204 h 718204"/>
              <a:gd name="connsiteX3" fmla="*/ 0 w 718204"/>
              <a:gd name="connsiteY3" fmla="*/ 0 h 718204"/>
            </a:gdLst>
            <a:ahLst/>
            <a:cxnLst>
              <a:cxn ang="0">
                <a:pos x="connsiteX0" y="connsiteY0"/>
              </a:cxn>
              <a:cxn ang="0">
                <a:pos x="connsiteX1" y="connsiteY1"/>
              </a:cxn>
              <a:cxn ang="0">
                <a:pos x="connsiteX2" y="connsiteY2"/>
              </a:cxn>
              <a:cxn ang="0">
                <a:pos x="connsiteX3" y="connsiteY3"/>
              </a:cxn>
            </a:cxnLst>
            <a:rect l="l" t="t" r="r" b="b"/>
            <a:pathLst>
              <a:path w="718204" h="718204">
                <a:moveTo>
                  <a:pt x="0" y="0"/>
                </a:moveTo>
                <a:lnTo>
                  <a:pt x="718204" y="0"/>
                </a:lnTo>
                <a:lnTo>
                  <a:pt x="0" y="718204"/>
                </a:lnTo>
                <a:lnTo>
                  <a:pt x="0" y="0"/>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 Placeholder 4">
            <a:extLst>
              <a:ext uri="{FF2B5EF4-FFF2-40B4-BE49-F238E27FC236}">
                <a16:creationId xmlns:a16="http://schemas.microsoft.com/office/drawing/2014/main" id="{086DD9AA-3648-4955-A491-CC440F458075}"/>
              </a:ext>
            </a:extLst>
          </p:cNvPr>
          <p:cNvSpPr>
            <a:spLocks noGrp="1"/>
          </p:cNvSpPr>
          <p:nvPr>
            <p:ph type="body" sz="quarter" idx="52" hasCustomPrompt="1"/>
          </p:nvPr>
        </p:nvSpPr>
        <p:spPr>
          <a:xfrm>
            <a:off x="1167960" y="1293464"/>
            <a:ext cx="4508114"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bg1"/>
                </a:solidFill>
              </a:defRPr>
            </a:lvl1pPr>
          </a:lstStyle>
          <a:p>
            <a:pPr marL="0" lvl="0">
              <a:spcAft>
                <a:spcPts val="500"/>
              </a:spcAft>
            </a:pPr>
            <a:r>
              <a:rPr lang="en-US"/>
              <a:t>EDIT MASTER TITLE</a:t>
            </a:r>
          </a:p>
        </p:txBody>
      </p:sp>
      <p:sp>
        <p:nvSpPr>
          <p:cNvPr id="37" name="Text Placeholder 4">
            <a:extLst>
              <a:ext uri="{FF2B5EF4-FFF2-40B4-BE49-F238E27FC236}">
                <a16:creationId xmlns:a16="http://schemas.microsoft.com/office/drawing/2014/main" id="{F08B37C2-04F8-4999-B2A6-E4DAA7E0B2AA}"/>
              </a:ext>
            </a:extLst>
          </p:cNvPr>
          <p:cNvSpPr>
            <a:spLocks noGrp="1"/>
          </p:cNvSpPr>
          <p:nvPr>
            <p:ph type="body" sz="quarter" idx="53" hasCustomPrompt="1"/>
          </p:nvPr>
        </p:nvSpPr>
        <p:spPr>
          <a:xfrm>
            <a:off x="6886811" y="1293464"/>
            <a:ext cx="4508114"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bg1"/>
                </a:solidFill>
              </a:defRPr>
            </a:lvl1pPr>
          </a:lstStyle>
          <a:p>
            <a:pPr marL="0" lvl="0">
              <a:spcAft>
                <a:spcPts val="500"/>
              </a:spcAft>
            </a:pPr>
            <a:r>
              <a:rPr lang="en-US"/>
              <a:t>EDIT MASTER TITLE</a:t>
            </a:r>
          </a:p>
        </p:txBody>
      </p:sp>
      <p:sp>
        <p:nvSpPr>
          <p:cNvPr id="38" name="Text Placeholder 4">
            <a:extLst>
              <a:ext uri="{FF2B5EF4-FFF2-40B4-BE49-F238E27FC236}">
                <a16:creationId xmlns:a16="http://schemas.microsoft.com/office/drawing/2014/main" id="{BA128BB7-6636-422D-8DCF-E2BAAD3A2334}"/>
              </a:ext>
            </a:extLst>
          </p:cNvPr>
          <p:cNvSpPr>
            <a:spLocks noGrp="1"/>
          </p:cNvSpPr>
          <p:nvPr>
            <p:ph type="body" sz="quarter" idx="54" hasCustomPrompt="1"/>
          </p:nvPr>
        </p:nvSpPr>
        <p:spPr>
          <a:xfrm>
            <a:off x="1167960" y="4565817"/>
            <a:ext cx="4508114"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bg1"/>
                </a:solidFill>
              </a:defRPr>
            </a:lvl1pPr>
          </a:lstStyle>
          <a:p>
            <a:pPr marL="0" lvl="0">
              <a:spcAft>
                <a:spcPts val="500"/>
              </a:spcAft>
            </a:pPr>
            <a:r>
              <a:rPr lang="en-US"/>
              <a:t>EDIT MASTER TITLE</a:t>
            </a:r>
          </a:p>
        </p:txBody>
      </p:sp>
      <p:sp>
        <p:nvSpPr>
          <p:cNvPr id="39" name="Text Placeholder 4">
            <a:extLst>
              <a:ext uri="{FF2B5EF4-FFF2-40B4-BE49-F238E27FC236}">
                <a16:creationId xmlns:a16="http://schemas.microsoft.com/office/drawing/2014/main" id="{1E8A800D-5CE1-4736-B1E2-56F10641430B}"/>
              </a:ext>
            </a:extLst>
          </p:cNvPr>
          <p:cNvSpPr>
            <a:spLocks noGrp="1"/>
          </p:cNvSpPr>
          <p:nvPr>
            <p:ph type="body" sz="quarter" idx="55" hasCustomPrompt="1"/>
          </p:nvPr>
        </p:nvSpPr>
        <p:spPr>
          <a:xfrm>
            <a:off x="6886811" y="4561020"/>
            <a:ext cx="4508114"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chemeClr val="bg1"/>
                </a:solidFill>
              </a:defRPr>
            </a:lvl1pPr>
          </a:lstStyle>
          <a:p>
            <a:pPr marL="0" lvl="0">
              <a:spcAft>
                <a:spcPts val="500"/>
              </a:spcAft>
            </a:pPr>
            <a:r>
              <a:rPr lang="en-US"/>
              <a:t>EDIT MASTER TITLE</a:t>
            </a:r>
          </a:p>
        </p:txBody>
      </p:sp>
      <p:sp>
        <p:nvSpPr>
          <p:cNvPr id="40" name="Text Placeholder 6">
            <a:extLst>
              <a:ext uri="{FF2B5EF4-FFF2-40B4-BE49-F238E27FC236}">
                <a16:creationId xmlns:a16="http://schemas.microsoft.com/office/drawing/2014/main" id="{05AA37F5-5D16-44ED-93CC-771BDA4DBB60}"/>
              </a:ext>
            </a:extLst>
          </p:cNvPr>
          <p:cNvSpPr>
            <a:spLocks noGrp="1"/>
          </p:cNvSpPr>
          <p:nvPr>
            <p:ph type="body" sz="quarter" idx="34" hasCustomPrompt="1"/>
          </p:nvPr>
        </p:nvSpPr>
        <p:spPr>
          <a:xfrm>
            <a:off x="1167960" y="1584124"/>
            <a:ext cx="4508114" cy="185115"/>
          </a:xfrm>
        </p:spPr>
        <p:txBody>
          <a:bodyPr/>
          <a:lstStyle>
            <a:lvl1pPr marL="237744" indent="-237744">
              <a:lnSpc>
                <a:spcPct val="100000"/>
              </a:lnSpc>
              <a:spcBef>
                <a:spcPts val="0"/>
              </a:spcBef>
              <a:spcAft>
                <a:spcPts val="1500"/>
              </a:spcAft>
              <a:buClr>
                <a:schemeClr val="bg1"/>
              </a:buClr>
              <a:buFont typeface="Wingdings" panose="05000000000000000000" pitchFamily="2" charset="2"/>
              <a:buChar char="n"/>
              <a:defRPr lang="en-US" sz="1200" kern="1200" dirty="0">
                <a:solidFill>
                  <a:schemeClr val="bg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41" name="Text Placeholder 6">
            <a:extLst>
              <a:ext uri="{FF2B5EF4-FFF2-40B4-BE49-F238E27FC236}">
                <a16:creationId xmlns:a16="http://schemas.microsoft.com/office/drawing/2014/main" id="{7B24DD62-7A91-4E9A-8DAF-B9D542C3B03A}"/>
              </a:ext>
            </a:extLst>
          </p:cNvPr>
          <p:cNvSpPr>
            <a:spLocks noGrp="1"/>
          </p:cNvSpPr>
          <p:nvPr>
            <p:ph type="body" sz="quarter" idx="56" hasCustomPrompt="1"/>
          </p:nvPr>
        </p:nvSpPr>
        <p:spPr>
          <a:xfrm>
            <a:off x="6886811" y="1584124"/>
            <a:ext cx="4508114" cy="185115"/>
          </a:xfrm>
        </p:spPr>
        <p:txBody>
          <a:bodyPr/>
          <a:lstStyle>
            <a:lvl1pPr marL="237744" indent="-237744">
              <a:lnSpc>
                <a:spcPct val="100000"/>
              </a:lnSpc>
              <a:spcBef>
                <a:spcPts val="0"/>
              </a:spcBef>
              <a:spcAft>
                <a:spcPts val="1500"/>
              </a:spcAft>
              <a:buClr>
                <a:schemeClr val="bg1"/>
              </a:buClr>
              <a:buFont typeface="Wingdings" panose="05000000000000000000" pitchFamily="2" charset="2"/>
              <a:buChar char="n"/>
              <a:defRPr lang="en-US" sz="1200" kern="1200" dirty="0">
                <a:solidFill>
                  <a:schemeClr val="bg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42" name="Text Placeholder 6">
            <a:extLst>
              <a:ext uri="{FF2B5EF4-FFF2-40B4-BE49-F238E27FC236}">
                <a16:creationId xmlns:a16="http://schemas.microsoft.com/office/drawing/2014/main" id="{66ACF245-9975-4B06-A01F-CF56C850D5E4}"/>
              </a:ext>
            </a:extLst>
          </p:cNvPr>
          <p:cNvSpPr>
            <a:spLocks noGrp="1"/>
          </p:cNvSpPr>
          <p:nvPr>
            <p:ph type="body" sz="quarter" idx="57" hasCustomPrompt="1"/>
          </p:nvPr>
        </p:nvSpPr>
        <p:spPr>
          <a:xfrm>
            <a:off x="1167960" y="4862154"/>
            <a:ext cx="4508114" cy="185115"/>
          </a:xfrm>
        </p:spPr>
        <p:txBody>
          <a:bodyPr/>
          <a:lstStyle>
            <a:lvl1pPr marL="237744" indent="-237744">
              <a:lnSpc>
                <a:spcPct val="100000"/>
              </a:lnSpc>
              <a:spcBef>
                <a:spcPts val="0"/>
              </a:spcBef>
              <a:spcAft>
                <a:spcPts val="1500"/>
              </a:spcAft>
              <a:buClr>
                <a:schemeClr val="bg1"/>
              </a:buClr>
              <a:buFont typeface="Wingdings" panose="05000000000000000000" pitchFamily="2" charset="2"/>
              <a:buChar char="n"/>
              <a:defRPr lang="en-US" sz="1200" kern="1200" dirty="0">
                <a:solidFill>
                  <a:schemeClr val="bg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43" name="Text Placeholder 6">
            <a:extLst>
              <a:ext uri="{FF2B5EF4-FFF2-40B4-BE49-F238E27FC236}">
                <a16:creationId xmlns:a16="http://schemas.microsoft.com/office/drawing/2014/main" id="{884FD4D6-1E78-4D1A-9CA6-163841E72645}"/>
              </a:ext>
            </a:extLst>
          </p:cNvPr>
          <p:cNvSpPr>
            <a:spLocks noGrp="1"/>
          </p:cNvSpPr>
          <p:nvPr>
            <p:ph type="body" sz="quarter" idx="58" hasCustomPrompt="1"/>
          </p:nvPr>
        </p:nvSpPr>
        <p:spPr>
          <a:xfrm>
            <a:off x="6886811" y="4862154"/>
            <a:ext cx="4508114" cy="185115"/>
          </a:xfrm>
        </p:spPr>
        <p:txBody>
          <a:bodyPr/>
          <a:lstStyle>
            <a:lvl1pPr marL="237744" indent="-237744">
              <a:lnSpc>
                <a:spcPct val="100000"/>
              </a:lnSpc>
              <a:spcBef>
                <a:spcPts val="0"/>
              </a:spcBef>
              <a:spcAft>
                <a:spcPts val="1500"/>
              </a:spcAft>
              <a:buClr>
                <a:schemeClr val="bg1"/>
              </a:buClr>
              <a:buFont typeface="Wingdings" panose="05000000000000000000" pitchFamily="2" charset="2"/>
              <a:buChar char="n"/>
              <a:defRPr lang="en-US" sz="1200" kern="1200" dirty="0">
                <a:solidFill>
                  <a:schemeClr val="bg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
        <p:nvSpPr>
          <p:cNvPr id="44" name="Text Placeholder 4">
            <a:extLst>
              <a:ext uri="{FF2B5EF4-FFF2-40B4-BE49-F238E27FC236}">
                <a16:creationId xmlns:a16="http://schemas.microsoft.com/office/drawing/2014/main" id="{BDD9E967-9457-45AD-84CE-1B962A23D8BF}"/>
              </a:ext>
            </a:extLst>
          </p:cNvPr>
          <p:cNvSpPr>
            <a:spLocks noGrp="1"/>
          </p:cNvSpPr>
          <p:nvPr>
            <p:ph type="body" sz="quarter" idx="59" hasCustomPrompt="1"/>
          </p:nvPr>
        </p:nvSpPr>
        <p:spPr>
          <a:xfrm>
            <a:off x="5718253" y="3228137"/>
            <a:ext cx="197169" cy="387798"/>
          </a:xfrm>
        </p:spPr>
        <p:txBody>
          <a:bodyPr wrap="none" lIns="0" tIns="0" rIns="0" bIns="0" anchor="ctr">
            <a:spAutoFit/>
          </a:bodyPr>
          <a:lstStyle>
            <a:lvl1pPr marL="0" indent="0">
              <a:buNone/>
              <a:defRPr lang="en-US" sz="2800" b="1" dirty="0">
                <a:solidFill>
                  <a:schemeClr val="bg1"/>
                </a:solidFill>
              </a:defRPr>
            </a:lvl1pPr>
          </a:lstStyle>
          <a:p>
            <a:pPr marL="0" lvl="0" algn="ctr" defTabSz="1443469">
              <a:spcBef>
                <a:spcPct val="0"/>
              </a:spcBef>
              <a:spcAft>
                <a:spcPct val="35000"/>
              </a:spcAft>
            </a:pPr>
            <a:r>
              <a:rPr lang="en-US"/>
              <a:t>S</a:t>
            </a:r>
          </a:p>
        </p:txBody>
      </p:sp>
      <p:sp>
        <p:nvSpPr>
          <p:cNvPr id="45" name="Text Placeholder 4">
            <a:extLst>
              <a:ext uri="{FF2B5EF4-FFF2-40B4-BE49-F238E27FC236}">
                <a16:creationId xmlns:a16="http://schemas.microsoft.com/office/drawing/2014/main" id="{0696CA73-9599-4FF8-AC67-5690767E6324}"/>
              </a:ext>
            </a:extLst>
          </p:cNvPr>
          <p:cNvSpPr>
            <a:spLocks noGrp="1"/>
          </p:cNvSpPr>
          <p:nvPr>
            <p:ph type="body" sz="quarter" idx="60" hasCustomPrompt="1"/>
          </p:nvPr>
        </p:nvSpPr>
        <p:spPr>
          <a:xfrm>
            <a:off x="6183427" y="3228137"/>
            <a:ext cx="376706" cy="387798"/>
          </a:xfrm>
        </p:spPr>
        <p:txBody>
          <a:bodyPr wrap="none" lIns="0" tIns="0" rIns="0" bIns="0" anchor="ctr">
            <a:spAutoFit/>
          </a:bodyPr>
          <a:lstStyle>
            <a:lvl1pPr marL="0" indent="0">
              <a:buNone/>
              <a:defRPr lang="en-US" sz="2800" b="1" dirty="0">
                <a:solidFill>
                  <a:schemeClr val="bg1"/>
                </a:solidFill>
              </a:defRPr>
            </a:lvl1pPr>
          </a:lstStyle>
          <a:p>
            <a:pPr marL="0" lvl="0" algn="ctr" defTabSz="1443469">
              <a:spcBef>
                <a:spcPct val="0"/>
              </a:spcBef>
              <a:spcAft>
                <a:spcPct val="35000"/>
              </a:spcAft>
            </a:pPr>
            <a:r>
              <a:rPr lang="en-US"/>
              <a:t>W</a:t>
            </a:r>
          </a:p>
        </p:txBody>
      </p:sp>
      <p:sp>
        <p:nvSpPr>
          <p:cNvPr id="46" name="Text Placeholder 4">
            <a:extLst>
              <a:ext uri="{FF2B5EF4-FFF2-40B4-BE49-F238E27FC236}">
                <a16:creationId xmlns:a16="http://schemas.microsoft.com/office/drawing/2014/main" id="{22A3A7BA-97B6-4516-8445-551C69FF0284}"/>
              </a:ext>
            </a:extLst>
          </p:cNvPr>
          <p:cNvSpPr>
            <a:spLocks noGrp="1"/>
          </p:cNvSpPr>
          <p:nvPr>
            <p:ph type="body" sz="quarter" idx="61" hasCustomPrompt="1"/>
          </p:nvPr>
        </p:nvSpPr>
        <p:spPr>
          <a:xfrm>
            <a:off x="5671766" y="3879244"/>
            <a:ext cx="290144" cy="387798"/>
          </a:xfrm>
        </p:spPr>
        <p:txBody>
          <a:bodyPr wrap="none" lIns="0" tIns="0" rIns="0" bIns="0" anchor="ctr">
            <a:spAutoFit/>
          </a:bodyPr>
          <a:lstStyle>
            <a:lvl1pPr marL="0" indent="0">
              <a:buNone/>
              <a:defRPr lang="en-US" sz="2800" b="1" dirty="0">
                <a:solidFill>
                  <a:schemeClr val="bg1"/>
                </a:solidFill>
              </a:defRPr>
            </a:lvl1pPr>
          </a:lstStyle>
          <a:p>
            <a:pPr marL="0" lvl="0" algn="ctr" defTabSz="1443469">
              <a:spcBef>
                <a:spcPct val="0"/>
              </a:spcBef>
              <a:spcAft>
                <a:spcPct val="35000"/>
              </a:spcAft>
            </a:pPr>
            <a:r>
              <a:rPr lang="en-US"/>
              <a:t>O</a:t>
            </a:r>
          </a:p>
        </p:txBody>
      </p:sp>
      <p:sp>
        <p:nvSpPr>
          <p:cNvPr id="47" name="Text Placeholder 4">
            <a:extLst>
              <a:ext uri="{FF2B5EF4-FFF2-40B4-BE49-F238E27FC236}">
                <a16:creationId xmlns:a16="http://schemas.microsoft.com/office/drawing/2014/main" id="{81334BCC-EC80-40C1-9F08-13441A55A4D3}"/>
              </a:ext>
            </a:extLst>
          </p:cNvPr>
          <p:cNvSpPr>
            <a:spLocks noGrp="1"/>
          </p:cNvSpPr>
          <p:nvPr>
            <p:ph type="body" sz="quarter" idx="62" hasCustomPrompt="1"/>
          </p:nvPr>
        </p:nvSpPr>
        <p:spPr>
          <a:xfrm>
            <a:off x="6264379" y="3879244"/>
            <a:ext cx="214802" cy="387798"/>
          </a:xfrm>
        </p:spPr>
        <p:txBody>
          <a:bodyPr wrap="none" lIns="0" tIns="0" rIns="0" bIns="0" anchor="ctr">
            <a:spAutoFit/>
          </a:bodyPr>
          <a:lstStyle>
            <a:lvl1pPr marL="0" indent="0">
              <a:buNone/>
              <a:defRPr lang="en-US" sz="2800" b="1" dirty="0">
                <a:solidFill>
                  <a:schemeClr val="bg1"/>
                </a:solidFill>
              </a:defRPr>
            </a:lvl1pPr>
          </a:lstStyle>
          <a:p>
            <a:pPr marL="0" lvl="0" algn="ctr" defTabSz="1443469">
              <a:spcBef>
                <a:spcPct val="0"/>
              </a:spcBef>
              <a:spcAft>
                <a:spcPct val="35000"/>
              </a:spcAft>
            </a:pPr>
            <a:r>
              <a:rPr lang="en-US"/>
              <a:t>T</a:t>
            </a:r>
          </a:p>
        </p:txBody>
      </p:sp>
      <p:sp>
        <p:nvSpPr>
          <p:cNvPr id="48" name="Picture Placeholder 2">
            <a:extLst>
              <a:ext uri="{FF2B5EF4-FFF2-40B4-BE49-F238E27FC236}">
                <a16:creationId xmlns:a16="http://schemas.microsoft.com/office/drawing/2014/main" id="{E8A2896E-E20C-4565-B993-2047DEEFD78B}"/>
              </a:ext>
            </a:extLst>
          </p:cNvPr>
          <p:cNvSpPr>
            <a:spLocks noGrp="1"/>
          </p:cNvSpPr>
          <p:nvPr>
            <p:ph type="pic" sz="quarter" idx="29" hasCustomPrompt="1"/>
          </p:nvPr>
        </p:nvSpPr>
        <p:spPr>
          <a:xfrm>
            <a:off x="749466" y="1383061"/>
            <a:ext cx="343134" cy="343134"/>
          </a:xfrm>
          <a:prstGeom prst="ellipse">
            <a:avLst/>
          </a:prstGeom>
        </p:spPr>
        <p:txBody>
          <a:bodyPr anchor="ctr" anchorCtr="1">
            <a:noAutofit/>
          </a:bodyPr>
          <a:lstStyle>
            <a:lvl1pPr marL="0" indent="0">
              <a:buNone/>
              <a:defRPr sz="600">
                <a:solidFill>
                  <a:schemeClr val="bg1"/>
                </a:solidFill>
              </a:defRPr>
            </a:lvl1pPr>
          </a:lstStyle>
          <a:p>
            <a:r>
              <a:rPr lang="en-US" dirty="0"/>
              <a:t>Icon</a:t>
            </a:r>
          </a:p>
        </p:txBody>
      </p:sp>
      <p:sp>
        <p:nvSpPr>
          <p:cNvPr id="49" name="Picture Placeholder 2">
            <a:extLst>
              <a:ext uri="{FF2B5EF4-FFF2-40B4-BE49-F238E27FC236}">
                <a16:creationId xmlns:a16="http://schemas.microsoft.com/office/drawing/2014/main" id="{5EF1C3FD-EBBA-4031-9EE0-3998FA816DEA}"/>
              </a:ext>
            </a:extLst>
          </p:cNvPr>
          <p:cNvSpPr>
            <a:spLocks noGrp="1"/>
          </p:cNvSpPr>
          <p:nvPr>
            <p:ph type="pic" sz="quarter" idx="63" hasCustomPrompt="1"/>
          </p:nvPr>
        </p:nvSpPr>
        <p:spPr>
          <a:xfrm>
            <a:off x="6361493" y="1383061"/>
            <a:ext cx="343134" cy="343134"/>
          </a:xfrm>
          <a:prstGeom prst="ellipse">
            <a:avLst/>
          </a:prstGeom>
        </p:spPr>
        <p:txBody>
          <a:bodyPr anchor="ctr" anchorCtr="1">
            <a:noAutofit/>
          </a:bodyPr>
          <a:lstStyle>
            <a:lvl1pPr marL="0" indent="0">
              <a:buNone/>
              <a:defRPr sz="600">
                <a:solidFill>
                  <a:schemeClr val="bg1"/>
                </a:solidFill>
              </a:defRPr>
            </a:lvl1pPr>
          </a:lstStyle>
          <a:p>
            <a:r>
              <a:rPr lang="en-US" dirty="0"/>
              <a:t>Icon</a:t>
            </a:r>
          </a:p>
        </p:txBody>
      </p:sp>
      <p:sp>
        <p:nvSpPr>
          <p:cNvPr id="50" name="Picture Placeholder 2">
            <a:extLst>
              <a:ext uri="{FF2B5EF4-FFF2-40B4-BE49-F238E27FC236}">
                <a16:creationId xmlns:a16="http://schemas.microsoft.com/office/drawing/2014/main" id="{D79035C4-7ED3-42B3-BE5F-37E0637EB893}"/>
              </a:ext>
            </a:extLst>
          </p:cNvPr>
          <p:cNvSpPr>
            <a:spLocks noGrp="1"/>
          </p:cNvSpPr>
          <p:nvPr>
            <p:ph type="pic" sz="quarter" idx="64" hasCustomPrompt="1"/>
          </p:nvPr>
        </p:nvSpPr>
        <p:spPr>
          <a:xfrm>
            <a:off x="749466" y="4637419"/>
            <a:ext cx="343134" cy="343134"/>
          </a:xfrm>
          <a:prstGeom prst="ellipse">
            <a:avLst/>
          </a:prstGeom>
        </p:spPr>
        <p:txBody>
          <a:bodyPr anchor="ctr" anchorCtr="1">
            <a:noAutofit/>
          </a:bodyPr>
          <a:lstStyle>
            <a:lvl1pPr marL="0" indent="0">
              <a:buNone/>
              <a:defRPr sz="600">
                <a:solidFill>
                  <a:schemeClr val="bg1"/>
                </a:solidFill>
              </a:defRPr>
            </a:lvl1pPr>
          </a:lstStyle>
          <a:p>
            <a:r>
              <a:rPr lang="en-US" dirty="0"/>
              <a:t>Icon</a:t>
            </a:r>
          </a:p>
        </p:txBody>
      </p:sp>
      <p:sp>
        <p:nvSpPr>
          <p:cNvPr id="51" name="Picture Placeholder 2">
            <a:extLst>
              <a:ext uri="{FF2B5EF4-FFF2-40B4-BE49-F238E27FC236}">
                <a16:creationId xmlns:a16="http://schemas.microsoft.com/office/drawing/2014/main" id="{63151CE4-E8AB-4E25-91D7-C285FFAE43BC}"/>
              </a:ext>
            </a:extLst>
          </p:cNvPr>
          <p:cNvSpPr>
            <a:spLocks noGrp="1"/>
          </p:cNvSpPr>
          <p:nvPr>
            <p:ph type="pic" sz="quarter" idx="65" hasCustomPrompt="1"/>
          </p:nvPr>
        </p:nvSpPr>
        <p:spPr>
          <a:xfrm>
            <a:off x="6361493" y="4637419"/>
            <a:ext cx="343134" cy="343134"/>
          </a:xfrm>
          <a:prstGeom prst="ellipse">
            <a:avLst/>
          </a:prstGeom>
        </p:spPr>
        <p:txBody>
          <a:bodyPr anchor="ctr" anchorCtr="1">
            <a:noAutofit/>
          </a:bodyPr>
          <a:lstStyle>
            <a:lvl1pPr marL="0" indent="0">
              <a:buNone/>
              <a:defRPr sz="600">
                <a:solidFill>
                  <a:schemeClr val="bg1"/>
                </a:solidFill>
              </a:defRPr>
            </a:lvl1pPr>
          </a:lstStyle>
          <a:p>
            <a:r>
              <a:rPr lang="en-US" dirty="0"/>
              <a:t>Icon</a:t>
            </a:r>
          </a:p>
        </p:txBody>
      </p:sp>
    </p:spTree>
    <p:extLst>
      <p:ext uri="{BB962C8B-B14F-4D97-AF65-F5344CB8AC3E}">
        <p14:creationId xmlns:p14="http://schemas.microsoft.com/office/powerpoint/2010/main" val="26740797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Rectangle 19">
            <a:extLst>
              <a:ext uri="{FF2B5EF4-FFF2-40B4-BE49-F238E27FC236}">
                <a16:creationId xmlns:a16="http://schemas.microsoft.com/office/drawing/2014/main" id="{4509EB56-97F5-41A3-9E9F-EC542A38D394}"/>
              </a:ext>
            </a:extLst>
          </p:cNvPr>
          <p:cNvSpPr/>
          <p:nvPr userDrawn="1"/>
        </p:nvSpPr>
        <p:spPr>
          <a:xfrm>
            <a:off x="387047" y="1334400"/>
            <a:ext cx="2710797" cy="4846080"/>
          </a:xfrm>
          <a:prstGeom prst="rect">
            <a:avLst/>
          </a:pr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1" name="Rectangle 20">
            <a:extLst>
              <a:ext uri="{FF2B5EF4-FFF2-40B4-BE49-F238E27FC236}">
                <a16:creationId xmlns:a16="http://schemas.microsoft.com/office/drawing/2014/main" id="{6265BC99-1109-43E6-A0DA-DFEF01C6D7B5}"/>
              </a:ext>
            </a:extLst>
          </p:cNvPr>
          <p:cNvSpPr/>
          <p:nvPr userDrawn="1"/>
        </p:nvSpPr>
        <p:spPr>
          <a:xfrm>
            <a:off x="3289417" y="1334400"/>
            <a:ext cx="2710797" cy="4846080"/>
          </a:xfrm>
          <a:prstGeom prst="rect">
            <a:avLst/>
          </a:pr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algn="ctr" defTabSz="711200">
              <a:lnSpc>
                <a:spcPct val="90000"/>
              </a:lnSpc>
              <a:spcBef>
                <a:spcPct val="0"/>
              </a:spcBef>
              <a:spcAft>
                <a:spcPct val="35000"/>
              </a:spcAft>
            </a:pPr>
            <a:endParaRPr lang="en-US" sz="1600" b="1" dirty="0">
              <a:solidFill>
                <a:schemeClr val="bg1"/>
              </a:solidFill>
            </a:endParaRPr>
          </a:p>
        </p:txBody>
      </p:sp>
      <p:sp>
        <p:nvSpPr>
          <p:cNvPr id="23" name="Rectangle 22">
            <a:extLst>
              <a:ext uri="{FF2B5EF4-FFF2-40B4-BE49-F238E27FC236}">
                <a16:creationId xmlns:a16="http://schemas.microsoft.com/office/drawing/2014/main" id="{08DE5087-A010-47CF-9F80-CDE828475408}"/>
              </a:ext>
            </a:extLst>
          </p:cNvPr>
          <p:cNvSpPr/>
          <p:nvPr userDrawn="1"/>
        </p:nvSpPr>
        <p:spPr>
          <a:xfrm>
            <a:off x="6191787" y="1334400"/>
            <a:ext cx="2710797" cy="4846080"/>
          </a:xfrm>
          <a:prstGeom prst="rect">
            <a:avLst/>
          </a:prstGeom>
          <a:solidFill>
            <a:schemeClr val="accent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0" i="0" u="none" kern="1200" dirty="0">
              <a:solidFill>
                <a:schemeClr val="bg1"/>
              </a:solidFill>
            </a:endParaRPr>
          </a:p>
        </p:txBody>
      </p:sp>
      <p:sp>
        <p:nvSpPr>
          <p:cNvPr id="28" name="Rectangle 27">
            <a:extLst>
              <a:ext uri="{FF2B5EF4-FFF2-40B4-BE49-F238E27FC236}">
                <a16:creationId xmlns:a16="http://schemas.microsoft.com/office/drawing/2014/main" id="{4B404BCC-D9B6-43F9-BD34-9629BADE5AEF}"/>
              </a:ext>
            </a:extLst>
          </p:cNvPr>
          <p:cNvSpPr/>
          <p:nvPr userDrawn="1"/>
        </p:nvSpPr>
        <p:spPr>
          <a:xfrm>
            <a:off x="9094157" y="1334400"/>
            <a:ext cx="2710797" cy="4846080"/>
          </a:xfrm>
          <a:prstGeom prst="rect">
            <a:avLst/>
          </a:prstGeom>
          <a:solidFill>
            <a:schemeClr val="accent3">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b="1" kern="1200" dirty="0">
              <a:solidFill>
                <a:schemeClr val="bg1"/>
              </a:solidFill>
            </a:endParaRPr>
          </a:p>
        </p:txBody>
      </p:sp>
      <p:sp>
        <p:nvSpPr>
          <p:cNvPr id="3" name="Picture Placeholder 2">
            <a:extLst>
              <a:ext uri="{FF2B5EF4-FFF2-40B4-BE49-F238E27FC236}">
                <a16:creationId xmlns:a16="http://schemas.microsoft.com/office/drawing/2014/main" id="{1FDBE885-D26B-44F5-ADA3-780D09760397}"/>
              </a:ext>
            </a:extLst>
          </p:cNvPr>
          <p:cNvSpPr>
            <a:spLocks noGrp="1"/>
          </p:cNvSpPr>
          <p:nvPr>
            <p:ph type="pic" sz="quarter" idx="29" hasCustomPrompt="1"/>
          </p:nvPr>
        </p:nvSpPr>
        <p:spPr>
          <a:xfrm>
            <a:off x="1322495" y="1618010"/>
            <a:ext cx="839901" cy="36897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3" name="Picture Placeholder 2">
            <a:extLst>
              <a:ext uri="{FF2B5EF4-FFF2-40B4-BE49-F238E27FC236}">
                <a16:creationId xmlns:a16="http://schemas.microsoft.com/office/drawing/2014/main" id="{E8950C22-54C8-4F19-9084-241805659E24}"/>
              </a:ext>
            </a:extLst>
          </p:cNvPr>
          <p:cNvSpPr>
            <a:spLocks noGrp="1"/>
          </p:cNvSpPr>
          <p:nvPr>
            <p:ph type="pic" sz="quarter" idx="31" hasCustomPrompt="1"/>
          </p:nvPr>
        </p:nvSpPr>
        <p:spPr>
          <a:xfrm>
            <a:off x="7292227" y="1581922"/>
            <a:ext cx="509917" cy="509917"/>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4" name="Picture Placeholder 2">
            <a:extLst>
              <a:ext uri="{FF2B5EF4-FFF2-40B4-BE49-F238E27FC236}">
                <a16:creationId xmlns:a16="http://schemas.microsoft.com/office/drawing/2014/main" id="{112FAF4A-9104-4ED4-8C44-3D98F73C253B}"/>
              </a:ext>
            </a:extLst>
          </p:cNvPr>
          <p:cNvSpPr>
            <a:spLocks noGrp="1"/>
          </p:cNvSpPr>
          <p:nvPr>
            <p:ph type="pic" sz="quarter" idx="32" hasCustomPrompt="1"/>
          </p:nvPr>
        </p:nvSpPr>
        <p:spPr>
          <a:xfrm>
            <a:off x="10189495" y="1528380"/>
            <a:ext cx="520120" cy="548237"/>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8" name="Text Placeholder 4">
            <a:extLst>
              <a:ext uri="{FF2B5EF4-FFF2-40B4-BE49-F238E27FC236}">
                <a16:creationId xmlns:a16="http://schemas.microsoft.com/office/drawing/2014/main" id="{E07BE2C4-4BC9-4EB9-AA60-E6CA24203C64}"/>
              </a:ext>
            </a:extLst>
          </p:cNvPr>
          <p:cNvSpPr>
            <a:spLocks noGrp="1"/>
          </p:cNvSpPr>
          <p:nvPr>
            <p:ph type="body" sz="quarter" idx="34" hasCustomPrompt="1"/>
          </p:nvPr>
        </p:nvSpPr>
        <p:spPr>
          <a:xfrm>
            <a:off x="517672" y="2197885"/>
            <a:ext cx="2404010"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1" name="Text Placeholder 4">
            <a:extLst>
              <a:ext uri="{FF2B5EF4-FFF2-40B4-BE49-F238E27FC236}">
                <a16:creationId xmlns:a16="http://schemas.microsoft.com/office/drawing/2014/main" id="{20F0CD87-19B4-4C74-9F03-BE0D27571BFD}"/>
              </a:ext>
            </a:extLst>
          </p:cNvPr>
          <p:cNvSpPr>
            <a:spLocks noGrp="1"/>
          </p:cNvSpPr>
          <p:nvPr>
            <p:ph type="body" sz="quarter" idx="36" hasCustomPrompt="1"/>
          </p:nvPr>
        </p:nvSpPr>
        <p:spPr>
          <a:xfrm>
            <a:off x="3420042" y="2197885"/>
            <a:ext cx="2404010" cy="193899"/>
          </a:xfrm>
        </p:spPr>
        <p:txBody>
          <a:bodyPr anchor="b" anchorCtr="0"/>
          <a:lstStyle>
            <a:lvl1pPr marL="0" indent="0" algn="ctr">
              <a:buNone/>
              <a:defRPr sz="1400" b="1" cap="all" baseline="0">
                <a:solidFill>
                  <a:schemeClr val="bg1"/>
                </a:solidFill>
              </a:defRPr>
            </a:lvl1pPr>
          </a:lstStyle>
          <a:p>
            <a:pPr lvl="0"/>
            <a:r>
              <a:rPr lang="en-US"/>
              <a:t>TITLE</a:t>
            </a:r>
          </a:p>
        </p:txBody>
      </p:sp>
      <p:sp>
        <p:nvSpPr>
          <p:cNvPr id="54" name="Text Placeholder 4">
            <a:extLst>
              <a:ext uri="{FF2B5EF4-FFF2-40B4-BE49-F238E27FC236}">
                <a16:creationId xmlns:a16="http://schemas.microsoft.com/office/drawing/2014/main" id="{8358BA92-F9FC-4659-9CD8-5F3E58DDB6D5}"/>
              </a:ext>
            </a:extLst>
          </p:cNvPr>
          <p:cNvSpPr>
            <a:spLocks noGrp="1"/>
          </p:cNvSpPr>
          <p:nvPr>
            <p:ph type="body" sz="quarter" idx="38" hasCustomPrompt="1"/>
          </p:nvPr>
        </p:nvSpPr>
        <p:spPr>
          <a:xfrm>
            <a:off x="6322412" y="2225585"/>
            <a:ext cx="2404010" cy="215444"/>
          </a:xfrm>
        </p:spPr>
        <p:txBody>
          <a:bodyPr anchor="b" anchorCtr="0"/>
          <a:lstStyle>
            <a:lvl1pPr marL="0" indent="0" algn="ctr">
              <a:lnSpc>
                <a:spcPct val="100000"/>
              </a:lnSpc>
              <a:buNone/>
              <a:defRPr sz="1400" b="1" cap="all" baseline="0">
                <a:solidFill>
                  <a:schemeClr val="bg1"/>
                </a:solidFill>
              </a:defRPr>
            </a:lvl1pPr>
          </a:lstStyle>
          <a:p>
            <a:pPr lvl="0"/>
            <a:r>
              <a:rPr lang="en-US"/>
              <a:t>TITLE</a:t>
            </a:r>
          </a:p>
        </p:txBody>
      </p:sp>
      <p:sp>
        <p:nvSpPr>
          <p:cNvPr id="57" name="Text Placeholder 4">
            <a:extLst>
              <a:ext uri="{FF2B5EF4-FFF2-40B4-BE49-F238E27FC236}">
                <a16:creationId xmlns:a16="http://schemas.microsoft.com/office/drawing/2014/main" id="{C01A813C-AC40-45E9-8F98-24056AEB920C}"/>
              </a:ext>
            </a:extLst>
          </p:cNvPr>
          <p:cNvSpPr>
            <a:spLocks noGrp="1"/>
          </p:cNvSpPr>
          <p:nvPr>
            <p:ph type="body" sz="quarter" idx="40" hasCustomPrompt="1"/>
          </p:nvPr>
        </p:nvSpPr>
        <p:spPr>
          <a:xfrm>
            <a:off x="9224782" y="2225585"/>
            <a:ext cx="2404010" cy="215444"/>
          </a:xfrm>
        </p:spPr>
        <p:txBody>
          <a:bodyPr anchor="b" anchorCtr="0"/>
          <a:lstStyle>
            <a:lvl1pPr marL="0" indent="0" algn="ctr">
              <a:lnSpc>
                <a:spcPct val="100000"/>
              </a:lnSpc>
              <a:spcBef>
                <a:spcPts val="0"/>
              </a:spcBef>
              <a:spcAft>
                <a:spcPts val="1800"/>
              </a:spcAft>
              <a:buNone/>
              <a:defRPr sz="1400" b="1" cap="all" baseline="0">
                <a:solidFill>
                  <a:schemeClr val="bg1"/>
                </a:solidFill>
              </a:defRPr>
            </a:lvl1pPr>
          </a:lstStyle>
          <a:p>
            <a:pPr lvl="0"/>
            <a:r>
              <a:rPr lang="en-US"/>
              <a:t>TITLE</a:t>
            </a: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59" name="Picture Placeholder 2">
            <a:extLst>
              <a:ext uri="{FF2B5EF4-FFF2-40B4-BE49-F238E27FC236}">
                <a16:creationId xmlns:a16="http://schemas.microsoft.com/office/drawing/2014/main" id="{20E749DC-1256-420A-83F7-E889042A97CA}"/>
              </a:ext>
            </a:extLst>
          </p:cNvPr>
          <p:cNvSpPr>
            <a:spLocks noGrp="1"/>
          </p:cNvSpPr>
          <p:nvPr>
            <p:ph type="pic" sz="quarter" idx="43" hasCustomPrompt="1"/>
          </p:nvPr>
        </p:nvSpPr>
        <p:spPr>
          <a:xfrm>
            <a:off x="4394935" y="1552618"/>
            <a:ext cx="499760" cy="499760"/>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32" name="Text Placeholder 6">
            <a:extLst>
              <a:ext uri="{FF2B5EF4-FFF2-40B4-BE49-F238E27FC236}">
                <a16:creationId xmlns:a16="http://schemas.microsoft.com/office/drawing/2014/main" id="{1E00F731-A780-4FD5-BD8C-C101D9A42758}"/>
              </a:ext>
            </a:extLst>
          </p:cNvPr>
          <p:cNvSpPr>
            <a:spLocks noGrp="1"/>
          </p:cNvSpPr>
          <p:nvPr>
            <p:ph type="body" sz="quarter" idx="44" hasCustomPrompt="1"/>
          </p:nvPr>
        </p:nvSpPr>
        <p:spPr>
          <a:xfrm>
            <a:off x="517672" y="2609099"/>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3" name="Text Placeholder 6">
            <a:extLst>
              <a:ext uri="{FF2B5EF4-FFF2-40B4-BE49-F238E27FC236}">
                <a16:creationId xmlns:a16="http://schemas.microsoft.com/office/drawing/2014/main" id="{A45C2383-893B-4C19-B414-BAE0C4AD7881}"/>
              </a:ext>
            </a:extLst>
          </p:cNvPr>
          <p:cNvSpPr>
            <a:spLocks noGrp="1"/>
          </p:cNvSpPr>
          <p:nvPr>
            <p:ph type="body" sz="quarter" idx="45" hasCustomPrompt="1"/>
          </p:nvPr>
        </p:nvSpPr>
        <p:spPr>
          <a:xfrm>
            <a:off x="3420042" y="2609099"/>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4" name="Text Placeholder 6">
            <a:extLst>
              <a:ext uri="{FF2B5EF4-FFF2-40B4-BE49-F238E27FC236}">
                <a16:creationId xmlns:a16="http://schemas.microsoft.com/office/drawing/2014/main" id="{65F0B487-7138-49AB-B01A-6BB256F2CA0A}"/>
              </a:ext>
            </a:extLst>
          </p:cNvPr>
          <p:cNvSpPr>
            <a:spLocks noGrp="1"/>
          </p:cNvSpPr>
          <p:nvPr>
            <p:ph type="body" sz="quarter" idx="46" hasCustomPrompt="1"/>
          </p:nvPr>
        </p:nvSpPr>
        <p:spPr>
          <a:xfrm>
            <a:off x="6322412" y="2609099"/>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sp>
        <p:nvSpPr>
          <p:cNvPr id="35" name="Text Placeholder 6">
            <a:extLst>
              <a:ext uri="{FF2B5EF4-FFF2-40B4-BE49-F238E27FC236}">
                <a16:creationId xmlns:a16="http://schemas.microsoft.com/office/drawing/2014/main" id="{C319146C-A224-433C-9698-30A9E7E5A9F1}"/>
              </a:ext>
            </a:extLst>
          </p:cNvPr>
          <p:cNvSpPr>
            <a:spLocks noGrp="1"/>
          </p:cNvSpPr>
          <p:nvPr>
            <p:ph type="body" sz="quarter" idx="47" hasCustomPrompt="1"/>
          </p:nvPr>
        </p:nvSpPr>
        <p:spPr>
          <a:xfrm>
            <a:off x="9224782" y="2609099"/>
            <a:ext cx="2404010" cy="184666"/>
          </a:xfrm>
        </p:spPr>
        <p:txBody>
          <a:bodyPr/>
          <a:lstStyle>
            <a:lvl1pPr marL="237744" indent="-237744">
              <a:lnSpc>
                <a:spcPct val="100000"/>
              </a:lnSpc>
              <a:spcBef>
                <a:spcPts val="0"/>
              </a:spcBef>
              <a:spcAft>
                <a:spcPts val="1200"/>
              </a:spcAft>
              <a:buClr>
                <a:schemeClr val="bg1"/>
              </a:buClr>
              <a:buFont typeface="Wingdings" panose="05000000000000000000" pitchFamily="2" charset="2"/>
              <a:buChar char="n"/>
              <a:defRPr sz="1200">
                <a:solidFill>
                  <a:schemeClr val="bg1"/>
                </a:solidFill>
              </a:defRPr>
            </a:lvl1pPr>
          </a:lstStyle>
          <a:p>
            <a:pPr lvl="0"/>
            <a:r>
              <a:rPr lang="en-US"/>
              <a:t>Edit Master text styles</a:t>
            </a:r>
          </a:p>
        </p:txBody>
      </p:sp>
      <p:cxnSp>
        <p:nvCxnSpPr>
          <p:cNvPr id="63" name="Straight Connector 62">
            <a:extLst>
              <a:ext uri="{FF2B5EF4-FFF2-40B4-BE49-F238E27FC236}">
                <a16:creationId xmlns:a16="http://schemas.microsoft.com/office/drawing/2014/main" id="{EC59F9C8-A977-481C-A264-E464A41CCE82}"/>
              </a:ext>
            </a:extLst>
          </p:cNvPr>
          <p:cNvCxnSpPr/>
          <p:nvPr userDrawn="1"/>
        </p:nvCxnSpPr>
        <p:spPr>
          <a:xfrm>
            <a:off x="542514" y="2503716"/>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83B00B-7A64-4DAD-9213-A2C27456B31B}"/>
              </a:ext>
            </a:extLst>
          </p:cNvPr>
          <p:cNvCxnSpPr/>
          <p:nvPr userDrawn="1"/>
        </p:nvCxnSpPr>
        <p:spPr>
          <a:xfrm>
            <a:off x="3444884" y="2503716"/>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928D7FF-0935-4C3A-9650-280AC39D42FA}"/>
              </a:ext>
            </a:extLst>
          </p:cNvPr>
          <p:cNvCxnSpPr/>
          <p:nvPr userDrawn="1"/>
        </p:nvCxnSpPr>
        <p:spPr>
          <a:xfrm>
            <a:off x="6347254" y="2503716"/>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DF65455-0611-4726-99AE-AEA1EF663ACE}"/>
              </a:ext>
            </a:extLst>
          </p:cNvPr>
          <p:cNvCxnSpPr/>
          <p:nvPr userDrawn="1"/>
        </p:nvCxnSpPr>
        <p:spPr>
          <a:xfrm>
            <a:off x="9249624" y="2503716"/>
            <a:ext cx="23998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2957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F0CC20-907E-4EB3-B9D7-3B8EA96551AD}"/>
              </a:ext>
            </a:extLst>
          </p:cNvPr>
          <p:cNvSpPr/>
          <p:nvPr userDrawn="1"/>
        </p:nvSpPr>
        <p:spPr>
          <a:xfrm>
            <a:off x="3102607" y="812042"/>
            <a:ext cx="4219516" cy="5476609"/>
          </a:xfrm>
          <a:prstGeom prst="rect">
            <a:avLst/>
          </a:prstGeom>
          <a:solidFill>
            <a:srgbClr val="F5F5F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13" name="Rectangle 12">
            <a:extLst>
              <a:ext uri="{FF2B5EF4-FFF2-40B4-BE49-F238E27FC236}">
                <a16:creationId xmlns:a16="http://schemas.microsoft.com/office/drawing/2014/main" id="{E274B779-2315-4586-93D5-B92310105B3B}"/>
              </a:ext>
            </a:extLst>
          </p:cNvPr>
          <p:cNvSpPr/>
          <p:nvPr userDrawn="1"/>
        </p:nvSpPr>
        <p:spPr>
          <a:xfrm>
            <a:off x="7531259" y="812042"/>
            <a:ext cx="4219516" cy="5476609"/>
          </a:xfrm>
          <a:prstGeom prst="rect">
            <a:avLst/>
          </a:prstGeom>
          <a:solidFill>
            <a:srgbClr val="F5F5F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1440" tIns="822960" rIns="91440" bIns="91440" numCol="1" spcCol="1270" anchor="t" anchorCtr="0">
            <a:noAutofit/>
          </a:bodyPr>
          <a:lstStyle/>
          <a:p>
            <a:pPr marL="0" lvl="0" indent="0" algn="ctr" defTabSz="711200">
              <a:lnSpc>
                <a:spcPct val="90000"/>
              </a:lnSpc>
              <a:spcBef>
                <a:spcPct val="0"/>
              </a:spcBef>
              <a:spcAft>
                <a:spcPct val="35000"/>
              </a:spcAft>
              <a:buNone/>
            </a:pPr>
            <a:endParaRPr lang="en-US" sz="1600" kern="1200" dirty="0"/>
          </a:p>
        </p:txBody>
      </p:sp>
      <p:sp>
        <p:nvSpPr>
          <p:cNvPr id="2" name="Title 1">
            <a:extLst>
              <a:ext uri="{FF2B5EF4-FFF2-40B4-BE49-F238E27FC236}">
                <a16:creationId xmlns:a16="http://schemas.microsoft.com/office/drawing/2014/main" id="{BEA737A2-6BBE-4D60-8DB8-AAF484E03986}"/>
              </a:ext>
            </a:extLst>
          </p:cNvPr>
          <p:cNvSpPr>
            <a:spLocks noGrp="1"/>
          </p:cNvSpPr>
          <p:nvPr userDrawn="1">
            <p:ph type="title" hasCustomPrompt="1"/>
          </p:nvPr>
        </p:nvSpPr>
        <p:spPr>
          <a:xfrm>
            <a:off x="3102607" y="259406"/>
            <a:ext cx="8567307" cy="400110"/>
          </a:xfrm>
        </p:spPr>
        <p:txBody>
          <a:bodyPr wrap="square" lIns="0" tIns="0" rIns="0" bIns="0" anchor="ctr" anchorCtr="0">
            <a:spAutoFit/>
          </a:bodyPr>
          <a:lstStyle>
            <a:lvl1pPr algn="l" defTabSz="914400" rtl="0" eaLnBrk="1" latinLnBrk="0" hangingPunct="1">
              <a:lnSpc>
                <a:spcPct val="100000"/>
              </a:lnSpc>
              <a:spcBef>
                <a:spcPct val="0"/>
              </a:spcBef>
              <a:buNone/>
              <a:defRPr lang="fr-FR" sz="2600" b="1" kern="1200" dirty="0">
                <a:solidFill>
                  <a:schemeClr val="accent3"/>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4" name="Freeform: Shape 33">
            <a:extLst>
              <a:ext uri="{FF2B5EF4-FFF2-40B4-BE49-F238E27FC236}">
                <a16:creationId xmlns:a16="http://schemas.microsoft.com/office/drawing/2014/main" id="{77EDC5F6-C16E-4796-B194-BB25CED4CFB8}"/>
              </a:ext>
            </a:extLst>
          </p:cNvPr>
          <p:cNvSpPr/>
          <p:nvPr userDrawn="1"/>
        </p:nvSpPr>
        <p:spPr>
          <a:xfrm flipH="1">
            <a:off x="-1" y="1"/>
            <a:ext cx="1881189" cy="4772023"/>
          </a:xfrm>
          <a:custGeom>
            <a:avLst/>
            <a:gdLst>
              <a:gd name="connsiteX0" fmla="*/ 1881188 w 1881189"/>
              <a:gd name="connsiteY0" fmla="*/ 0 h 4772023"/>
              <a:gd name="connsiteX1" fmla="*/ 1135758 w 1881189"/>
              <a:gd name="connsiteY1" fmla="*/ 0 h 4772023"/>
              <a:gd name="connsiteX2" fmla="*/ 127 w 1881189"/>
              <a:gd name="connsiteY2" fmla="*/ 1739444 h 4772023"/>
              <a:gd name="connsiteX3" fmla="*/ 899 w 1881189"/>
              <a:gd name="connsiteY3" fmla="*/ 1740688 h 4772023"/>
              <a:gd name="connsiteX4" fmla="*/ 0 w 1881189"/>
              <a:gd name="connsiteY4" fmla="*/ 1740688 h 4772023"/>
              <a:gd name="connsiteX5" fmla="*/ 1881189 w 1881189"/>
              <a:gd name="connsiteY5" fmla="*/ 4772023 h 4772023"/>
              <a:gd name="connsiteX6" fmla="*/ 1881189 w 1881189"/>
              <a:gd name="connsiteY6" fmla="*/ 1740688 h 4772023"/>
              <a:gd name="connsiteX7" fmla="*/ 1881188 w 1881189"/>
              <a:gd name="connsiteY7" fmla="*/ 1740688 h 47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189" h="4772023">
                <a:moveTo>
                  <a:pt x="1881188" y="0"/>
                </a:moveTo>
                <a:lnTo>
                  <a:pt x="1135758" y="0"/>
                </a:lnTo>
                <a:lnTo>
                  <a:pt x="127" y="1739444"/>
                </a:lnTo>
                <a:lnTo>
                  <a:pt x="899" y="1740688"/>
                </a:lnTo>
                <a:lnTo>
                  <a:pt x="0" y="1740688"/>
                </a:lnTo>
                <a:lnTo>
                  <a:pt x="1881189" y="4772023"/>
                </a:lnTo>
                <a:lnTo>
                  <a:pt x="1881189" y="1740688"/>
                </a:lnTo>
                <a:lnTo>
                  <a:pt x="1881188" y="17406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Freeform: Shape 34">
            <a:extLst>
              <a:ext uri="{FF2B5EF4-FFF2-40B4-BE49-F238E27FC236}">
                <a16:creationId xmlns:a16="http://schemas.microsoft.com/office/drawing/2014/main" id="{F04157FB-EA65-4346-8715-F7B4FB9D9E07}"/>
              </a:ext>
            </a:extLst>
          </p:cNvPr>
          <p:cNvSpPr/>
          <p:nvPr userDrawn="1"/>
        </p:nvSpPr>
        <p:spPr>
          <a:xfrm flipV="1">
            <a:off x="826542" y="0"/>
            <a:ext cx="2134540" cy="1676215"/>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Content Placeholder 2">
            <a:extLst>
              <a:ext uri="{FF2B5EF4-FFF2-40B4-BE49-F238E27FC236}">
                <a16:creationId xmlns:a16="http://schemas.microsoft.com/office/drawing/2014/main" id="{A67B8B81-ECDF-434A-B342-05CE75E3D321}"/>
              </a:ext>
            </a:extLst>
          </p:cNvPr>
          <p:cNvSpPr>
            <a:spLocks noGrp="1"/>
          </p:cNvSpPr>
          <p:nvPr userDrawn="1">
            <p:ph idx="14" hasCustomPrompt="1"/>
          </p:nvPr>
        </p:nvSpPr>
        <p:spPr>
          <a:xfrm>
            <a:off x="3217458" y="926342"/>
            <a:ext cx="3989815" cy="153888"/>
          </a:xfrm>
        </p:spPr>
        <p:txBody>
          <a:bodyPr wrap="square" lIns="0" tIns="0" rIns="0" bIns="0" anchor="t" anchorCtr="0">
            <a:no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0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38" name="Content Placeholder 2">
            <a:extLst>
              <a:ext uri="{FF2B5EF4-FFF2-40B4-BE49-F238E27FC236}">
                <a16:creationId xmlns:a16="http://schemas.microsoft.com/office/drawing/2014/main" id="{E6976356-3616-4BC7-996B-058789BB7932}"/>
              </a:ext>
            </a:extLst>
          </p:cNvPr>
          <p:cNvSpPr>
            <a:spLocks noGrp="1"/>
          </p:cNvSpPr>
          <p:nvPr>
            <p:ph idx="16" hasCustomPrompt="1"/>
          </p:nvPr>
        </p:nvSpPr>
        <p:spPr>
          <a:xfrm>
            <a:off x="7646110" y="926342"/>
            <a:ext cx="3989815" cy="153888"/>
          </a:xfrm>
        </p:spPr>
        <p:txBody>
          <a:bodyPr wrap="square" lIns="0" tIns="0" rIns="0" bIns="0" anchor="t" anchorCtr="0">
            <a:no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0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Tree>
    <p:extLst>
      <p:ext uri="{BB962C8B-B14F-4D97-AF65-F5344CB8AC3E}">
        <p14:creationId xmlns:p14="http://schemas.microsoft.com/office/powerpoint/2010/main" val="20507729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858331C-086A-43F7-892A-CFDD441E50B0}"/>
              </a:ext>
            </a:extLst>
          </p:cNvPr>
          <p:cNvSpPr/>
          <p:nvPr userDrawn="1"/>
        </p:nvSpPr>
        <p:spPr>
          <a:xfrm flipH="1">
            <a:off x="0" y="4076781"/>
            <a:ext cx="12192000" cy="301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88216863-639D-4E3D-96EE-1DF776D54089}"/>
              </a:ext>
            </a:extLst>
          </p:cNvPr>
          <p:cNvGraphicFramePr>
            <a:graphicFrameLocks noChangeAspect="1"/>
          </p:cNvGraphicFramePr>
          <p:nvPr userDrawn="1">
            <p:custDataLst>
              <p:tags r:id="rId1"/>
            </p:custDataLst>
            <p:extLst>
              <p:ext uri="{D42A27DB-BD31-4B8C-83A1-F6EECF244321}">
                <p14:modId xmlns:p14="http://schemas.microsoft.com/office/powerpoint/2010/main" val="36132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88216863-639D-4E3D-96EE-1DF776D540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9F3C5A-BF2D-40AE-9FE6-7AED61ED7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 name="Text Placeholder 3">
            <a:extLst>
              <a:ext uri="{FF2B5EF4-FFF2-40B4-BE49-F238E27FC236}">
                <a16:creationId xmlns:a16="http://schemas.microsoft.com/office/drawing/2014/main" id="{C67E64B7-2590-47A3-93C9-AEBCD6518B2B}"/>
              </a:ext>
            </a:extLst>
          </p:cNvPr>
          <p:cNvSpPr>
            <a:spLocks noGrp="1"/>
          </p:cNvSpPr>
          <p:nvPr>
            <p:ph type="body" sz="quarter" idx="53" hasCustomPrompt="1"/>
          </p:nvPr>
        </p:nvSpPr>
        <p:spPr>
          <a:xfrm>
            <a:off x="6150069" y="1141354"/>
            <a:ext cx="309151" cy="309565"/>
          </a:xfrm>
          <a:prstGeom prst="ellipse">
            <a:avLst/>
          </a:prstGeom>
          <a:solidFill>
            <a:schemeClr val="accent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4" name="Text Placeholder 3">
            <a:extLst>
              <a:ext uri="{FF2B5EF4-FFF2-40B4-BE49-F238E27FC236}">
                <a16:creationId xmlns:a16="http://schemas.microsoft.com/office/drawing/2014/main" id="{1ABEF945-2CC2-4B91-BC52-635316C8DD32}"/>
              </a:ext>
            </a:extLst>
          </p:cNvPr>
          <p:cNvSpPr>
            <a:spLocks noGrp="1"/>
          </p:cNvSpPr>
          <p:nvPr>
            <p:ph type="body" sz="quarter" idx="54" hasCustomPrompt="1"/>
          </p:nvPr>
        </p:nvSpPr>
        <p:spPr>
          <a:xfrm>
            <a:off x="8103886" y="1141354"/>
            <a:ext cx="309151" cy="309565"/>
          </a:xfrm>
          <a:prstGeom prst="ellipse">
            <a:avLst/>
          </a:prstGeom>
          <a:solidFill>
            <a:srgbClr val="2E82B5"/>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5" name="Text Placeholder 3">
            <a:extLst>
              <a:ext uri="{FF2B5EF4-FFF2-40B4-BE49-F238E27FC236}">
                <a16:creationId xmlns:a16="http://schemas.microsoft.com/office/drawing/2014/main" id="{86F1BB27-A26A-47E8-9A68-D32389D6C223}"/>
              </a:ext>
            </a:extLst>
          </p:cNvPr>
          <p:cNvSpPr>
            <a:spLocks noGrp="1"/>
          </p:cNvSpPr>
          <p:nvPr>
            <p:ph type="body" sz="quarter" idx="55" hasCustomPrompt="1"/>
          </p:nvPr>
        </p:nvSpPr>
        <p:spPr>
          <a:xfrm>
            <a:off x="9823665" y="1141354"/>
            <a:ext cx="309151" cy="309565"/>
          </a:xfrm>
          <a:prstGeom prst="ellipse">
            <a:avLst/>
          </a:prstGeom>
          <a:solidFill>
            <a:srgbClr val="E8C92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6" name="Text Placeholder 3">
            <a:extLst>
              <a:ext uri="{FF2B5EF4-FFF2-40B4-BE49-F238E27FC236}">
                <a16:creationId xmlns:a16="http://schemas.microsoft.com/office/drawing/2014/main" id="{84F23EB7-2ED0-44BB-91A3-5338B0220F53}"/>
              </a:ext>
            </a:extLst>
          </p:cNvPr>
          <p:cNvSpPr>
            <a:spLocks noGrp="1"/>
          </p:cNvSpPr>
          <p:nvPr>
            <p:ph type="body" sz="quarter" idx="56" hasCustomPrompt="1"/>
          </p:nvPr>
        </p:nvSpPr>
        <p:spPr>
          <a:xfrm>
            <a:off x="11025674" y="1141354"/>
            <a:ext cx="309151" cy="309565"/>
          </a:xfrm>
          <a:prstGeom prst="ellipse">
            <a:avLst/>
          </a:prstGeom>
          <a:solidFill>
            <a:srgbClr val="236288"/>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71" name="Text Placeholder 6">
            <a:extLst>
              <a:ext uri="{FF2B5EF4-FFF2-40B4-BE49-F238E27FC236}">
                <a16:creationId xmlns:a16="http://schemas.microsoft.com/office/drawing/2014/main" id="{05CEBBC7-F8F0-491B-8C57-3ABA8FA4FC68}"/>
              </a:ext>
            </a:extLst>
          </p:cNvPr>
          <p:cNvSpPr>
            <a:spLocks noGrp="1"/>
          </p:cNvSpPr>
          <p:nvPr userDrawn="1">
            <p:ph type="body" sz="quarter" idx="34" hasCustomPrompt="1"/>
          </p:nvPr>
        </p:nvSpPr>
        <p:spPr>
          <a:xfrm>
            <a:off x="472450" y="1803751"/>
            <a:ext cx="3565833" cy="1812227"/>
          </a:xfrm>
        </p:spPr>
        <p:txBody>
          <a:bodyPr anchor="b" anchorCtr="0"/>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2" name="Text Placeholder 6">
            <a:extLst>
              <a:ext uri="{FF2B5EF4-FFF2-40B4-BE49-F238E27FC236}">
                <a16:creationId xmlns:a16="http://schemas.microsoft.com/office/drawing/2014/main" id="{5E9531B4-4C9A-4B92-8FBE-54AD98F009C1}"/>
              </a:ext>
            </a:extLst>
          </p:cNvPr>
          <p:cNvSpPr>
            <a:spLocks noGrp="1"/>
          </p:cNvSpPr>
          <p:nvPr userDrawn="1">
            <p:ph type="body" sz="quarter" idx="42" hasCustomPrompt="1"/>
          </p:nvPr>
        </p:nvSpPr>
        <p:spPr>
          <a:xfrm>
            <a:off x="3066744" y="4531355"/>
            <a:ext cx="3248636" cy="1405962"/>
          </a:xfrm>
        </p:spPr>
        <p:txBody>
          <a:bodyPr/>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3" name="Text Placeholder 6">
            <a:extLst>
              <a:ext uri="{FF2B5EF4-FFF2-40B4-BE49-F238E27FC236}">
                <a16:creationId xmlns:a16="http://schemas.microsoft.com/office/drawing/2014/main" id="{CF4F3A7D-51AF-4E5A-BF62-4030EEB194ED}"/>
              </a:ext>
            </a:extLst>
          </p:cNvPr>
          <p:cNvSpPr>
            <a:spLocks noGrp="1"/>
          </p:cNvSpPr>
          <p:nvPr userDrawn="1">
            <p:ph type="body" sz="quarter" idx="43" hasCustomPrompt="1"/>
          </p:nvPr>
        </p:nvSpPr>
        <p:spPr>
          <a:xfrm>
            <a:off x="8686497" y="4531355"/>
            <a:ext cx="3248636" cy="1609095"/>
          </a:xfrm>
        </p:spPr>
        <p:txBody>
          <a:bodyPr/>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4" name="Text Placeholder 6">
            <a:extLst>
              <a:ext uri="{FF2B5EF4-FFF2-40B4-BE49-F238E27FC236}">
                <a16:creationId xmlns:a16="http://schemas.microsoft.com/office/drawing/2014/main" id="{BA5DB107-21C4-434B-83F5-228C25F27BB3}"/>
              </a:ext>
            </a:extLst>
          </p:cNvPr>
          <p:cNvSpPr>
            <a:spLocks noGrp="1"/>
          </p:cNvSpPr>
          <p:nvPr userDrawn="1">
            <p:ph type="body" sz="quarter" idx="44" hasCustomPrompt="1"/>
          </p:nvPr>
        </p:nvSpPr>
        <p:spPr>
          <a:xfrm>
            <a:off x="5692467" y="1803751"/>
            <a:ext cx="3565833" cy="1812227"/>
          </a:xfrm>
        </p:spPr>
        <p:txBody>
          <a:bodyPr anchor="b" anchorCtr="0"/>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5" name="Text Placeholder 6">
            <a:extLst>
              <a:ext uri="{FF2B5EF4-FFF2-40B4-BE49-F238E27FC236}">
                <a16:creationId xmlns:a16="http://schemas.microsoft.com/office/drawing/2014/main" id="{D3B35986-6750-4A09-8E34-47550FA5EB45}"/>
              </a:ext>
            </a:extLst>
          </p:cNvPr>
          <p:cNvSpPr>
            <a:spLocks noGrp="1"/>
          </p:cNvSpPr>
          <p:nvPr userDrawn="1">
            <p:ph type="body" sz="quarter" idx="45" hasCustomPrompt="1"/>
          </p:nvPr>
        </p:nvSpPr>
        <p:spPr>
          <a:xfrm>
            <a:off x="1477227" y="453135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6" name="Text Placeholder 6">
            <a:extLst>
              <a:ext uri="{FF2B5EF4-FFF2-40B4-BE49-F238E27FC236}">
                <a16:creationId xmlns:a16="http://schemas.microsoft.com/office/drawing/2014/main" id="{6F6D707B-9A15-4AC5-824A-F88CEFA24618}"/>
              </a:ext>
            </a:extLst>
          </p:cNvPr>
          <p:cNvSpPr>
            <a:spLocks noGrp="1"/>
          </p:cNvSpPr>
          <p:nvPr userDrawn="1">
            <p:ph type="body" sz="quarter" idx="46" hasCustomPrompt="1"/>
          </p:nvPr>
        </p:nvSpPr>
        <p:spPr>
          <a:xfrm>
            <a:off x="4287105"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6"/>
                </a:solidFill>
              </a:defRPr>
            </a:lvl1pPr>
          </a:lstStyle>
          <a:p>
            <a:pPr lvl="0"/>
            <a:r>
              <a:rPr lang="en-US"/>
              <a:t>TEXT</a:t>
            </a:r>
          </a:p>
        </p:txBody>
      </p:sp>
      <p:sp>
        <p:nvSpPr>
          <p:cNvPr id="77" name="Text Placeholder 6">
            <a:extLst>
              <a:ext uri="{FF2B5EF4-FFF2-40B4-BE49-F238E27FC236}">
                <a16:creationId xmlns:a16="http://schemas.microsoft.com/office/drawing/2014/main" id="{3BCD5D3E-1996-487A-91B2-E9C8E7898765}"/>
              </a:ext>
            </a:extLst>
          </p:cNvPr>
          <p:cNvSpPr>
            <a:spLocks noGrp="1"/>
          </p:cNvSpPr>
          <p:nvPr userDrawn="1">
            <p:ph type="body" sz="quarter" idx="47" hasCustomPrompt="1"/>
          </p:nvPr>
        </p:nvSpPr>
        <p:spPr>
          <a:xfrm>
            <a:off x="9906858"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4"/>
                </a:solidFill>
              </a:defRPr>
            </a:lvl1pPr>
          </a:lstStyle>
          <a:p>
            <a:pPr lvl="0"/>
            <a:r>
              <a:rPr lang="en-US"/>
              <a:t>TEXT</a:t>
            </a:r>
          </a:p>
        </p:txBody>
      </p:sp>
      <p:sp>
        <p:nvSpPr>
          <p:cNvPr id="78" name="Text Placeholder 6">
            <a:extLst>
              <a:ext uri="{FF2B5EF4-FFF2-40B4-BE49-F238E27FC236}">
                <a16:creationId xmlns:a16="http://schemas.microsoft.com/office/drawing/2014/main" id="{B85FC8BA-22D8-45EC-AEDF-A6605EC9CD72}"/>
              </a:ext>
            </a:extLst>
          </p:cNvPr>
          <p:cNvSpPr>
            <a:spLocks noGrp="1"/>
          </p:cNvSpPr>
          <p:nvPr userDrawn="1">
            <p:ph type="body" sz="quarter" idx="48" hasCustomPrompt="1"/>
          </p:nvPr>
        </p:nvSpPr>
        <p:spPr>
          <a:xfrm>
            <a:off x="7071426" y="4573704"/>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9" name="Text Placeholder 6">
            <a:extLst>
              <a:ext uri="{FF2B5EF4-FFF2-40B4-BE49-F238E27FC236}">
                <a16:creationId xmlns:a16="http://schemas.microsoft.com/office/drawing/2014/main" id="{DB43C15C-71A6-491C-9B3F-62B2C083C1B6}"/>
              </a:ext>
            </a:extLst>
          </p:cNvPr>
          <p:cNvSpPr>
            <a:spLocks noGrp="1"/>
          </p:cNvSpPr>
          <p:nvPr userDrawn="1">
            <p:ph type="body" sz="quarter" idx="49" hasCustomPrompt="1"/>
          </p:nvPr>
        </p:nvSpPr>
        <p:spPr>
          <a:xfrm>
            <a:off x="6514879" y="1203802"/>
            <a:ext cx="1336904"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0" name="Text Placeholder 6">
            <a:extLst>
              <a:ext uri="{FF2B5EF4-FFF2-40B4-BE49-F238E27FC236}">
                <a16:creationId xmlns:a16="http://schemas.microsoft.com/office/drawing/2014/main" id="{B1D2E646-AA68-40E1-958B-53CFBA8B8835}"/>
              </a:ext>
            </a:extLst>
          </p:cNvPr>
          <p:cNvSpPr>
            <a:spLocks noGrp="1"/>
          </p:cNvSpPr>
          <p:nvPr userDrawn="1">
            <p:ph type="body" sz="quarter" idx="50" hasCustomPrompt="1"/>
          </p:nvPr>
        </p:nvSpPr>
        <p:spPr>
          <a:xfrm>
            <a:off x="8468696" y="1203803"/>
            <a:ext cx="110286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2" name="Text Placeholder 6">
            <a:extLst>
              <a:ext uri="{FF2B5EF4-FFF2-40B4-BE49-F238E27FC236}">
                <a16:creationId xmlns:a16="http://schemas.microsoft.com/office/drawing/2014/main" id="{EC3D199E-2289-4AF4-8156-3E828C7B5FF7}"/>
              </a:ext>
            </a:extLst>
          </p:cNvPr>
          <p:cNvSpPr>
            <a:spLocks noGrp="1"/>
          </p:cNvSpPr>
          <p:nvPr userDrawn="1">
            <p:ph type="body" sz="quarter" idx="51" hasCustomPrompt="1"/>
          </p:nvPr>
        </p:nvSpPr>
        <p:spPr>
          <a:xfrm>
            <a:off x="10188475" y="1203803"/>
            <a:ext cx="58509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3" name="Text Placeholder 6">
            <a:extLst>
              <a:ext uri="{FF2B5EF4-FFF2-40B4-BE49-F238E27FC236}">
                <a16:creationId xmlns:a16="http://schemas.microsoft.com/office/drawing/2014/main" id="{D7C918CD-4AFB-4525-9B8B-30FC4EA68DFB}"/>
              </a:ext>
            </a:extLst>
          </p:cNvPr>
          <p:cNvSpPr>
            <a:spLocks noGrp="1"/>
          </p:cNvSpPr>
          <p:nvPr userDrawn="1">
            <p:ph type="body" sz="quarter" idx="52" hasCustomPrompt="1"/>
          </p:nvPr>
        </p:nvSpPr>
        <p:spPr>
          <a:xfrm>
            <a:off x="11390484" y="1203803"/>
            <a:ext cx="663643"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52" name="Oval 51">
            <a:extLst>
              <a:ext uri="{FF2B5EF4-FFF2-40B4-BE49-F238E27FC236}">
                <a16:creationId xmlns:a16="http://schemas.microsoft.com/office/drawing/2014/main" id="{1596BC8D-E90D-41EB-A68F-A5DB3EEEB126}"/>
              </a:ext>
            </a:extLst>
          </p:cNvPr>
          <p:cNvSpPr/>
          <p:nvPr userDrawn="1"/>
        </p:nvSpPr>
        <p:spPr>
          <a:xfrm flipH="1">
            <a:off x="4383220"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a:extLst>
              <a:ext uri="{FF2B5EF4-FFF2-40B4-BE49-F238E27FC236}">
                <a16:creationId xmlns:a16="http://schemas.microsoft.com/office/drawing/2014/main" id="{E3172834-E9F8-430E-9879-D0A41AFEF082}"/>
              </a:ext>
            </a:extLst>
          </p:cNvPr>
          <p:cNvSpPr/>
          <p:nvPr userDrawn="1"/>
        </p:nvSpPr>
        <p:spPr>
          <a:xfrm flipH="1">
            <a:off x="10002973"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8C1417D8-DF13-447A-9307-9B2E1AF322AC}"/>
              </a:ext>
            </a:extLst>
          </p:cNvPr>
          <p:cNvSpPr/>
          <p:nvPr userDrawn="1"/>
        </p:nvSpPr>
        <p:spPr>
          <a:xfrm flipH="1">
            <a:off x="1573342"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 Placeholder 6">
            <a:extLst>
              <a:ext uri="{FF2B5EF4-FFF2-40B4-BE49-F238E27FC236}">
                <a16:creationId xmlns:a16="http://schemas.microsoft.com/office/drawing/2014/main" id="{6A751177-B9FF-4A35-BBF7-5646D90B16A9}"/>
              </a:ext>
            </a:extLst>
          </p:cNvPr>
          <p:cNvSpPr>
            <a:spLocks noGrp="1"/>
          </p:cNvSpPr>
          <p:nvPr>
            <p:ph type="body" sz="quarter" idx="64" hasCustomPrompt="1"/>
          </p:nvPr>
        </p:nvSpPr>
        <p:spPr>
          <a:xfrm>
            <a:off x="1528068"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87" name="Text Placeholder 6">
            <a:extLst>
              <a:ext uri="{FF2B5EF4-FFF2-40B4-BE49-F238E27FC236}">
                <a16:creationId xmlns:a16="http://schemas.microsoft.com/office/drawing/2014/main" id="{0A66A533-DF9A-47D5-A402-F2EA6B91D354}"/>
              </a:ext>
            </a:extLst>
          </p:cNvPr>
          <p:cNvSpPr>
            <a:spLocks noGrp="1"/>
          </p:cNvSpPr>
          <p:nvPr>
            <p:ph type="body" sz="quarter" idx="66" hasCustomPrompt="1"/>
          </p:nvPr>
        </p:nvSpPr>
        <p:spPr>
          <a:xfrm>
            <a:off x="4337946" y="3723665"/>
            <a:ext cx="706232" cy="706232"/>
          </a:xfrm>
          <a:prstGeom prst="donut">
            <a:avLst>
              <a:gd name="adj" fmla="val 6760"/>
            </a:avLst>
          </a:prstGeom>
          <a:solidFill>
            <a:schemeClr val="accent6"/>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88" name="Oval 87">
            <a:extLst>
              <a:ext uri="{FF2B5EF4-FFF2-40B4-BE49-F238E27FC236}">
                <a16:creationId xmlns:a16="http://schemas.microsoft.com/office/drawing/2014/main" id="{897DB49E-EE59-40D3-B66C-C9A8B6486E07}"/>
              </a:ext>
            </a:extLst>
          </p:cNvPr>
          <p:cNvSpPr/>
          <p:nvPr userDrawn="1"/>
        </p:nvSpPr>
        <p:spPr>
          <a:xfrm flipH="1">
            <a:off x="7167541"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Text Placeholder 6">
            <a:extLst>
              <a:ext uri="{FF2B5EF4-FFF2-40B4-BE49-F238E27FC236}">
                <a16:creationId xmlns:a16="http://schemas.microsoft.com/office/drawing/2014/main" id="{46723608-05DE-4FB6-86C9-B4B2C5530D07}"/>
              </a:ext>
            </a:extLst>
          </p:cNvPr>
          <p:cNvSpPr>
            <a:spLocks noGrp="1"/>
          </p:cNvSpPr>
          <p:nvPr>
            <p:ph type="body" sz="quarter" idx="68" hasCustomPrompt="1"/>
          </p:nvPr>
        </p:nvSpPr>
        <p:spPr>
          <a:xfrm>
            <a:off x="7122267"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91" name="Text Placeholder 6">
            <a:extLst>
              <a:ext uri="{FF2B5EF4-FFF2-40B4-BE49-F238E27FC236}">
                <a16:creationId xmlns:a16="http://schemas.microsoft.com/office/drawing/2014/main" id="{4C4D9F81-45B1-4737-9A0E-4AEE21C35DFE}"/>
              </a:ext>
            </a:extLst>
          </p:cNvPr>
          <p:cNvSpPr>
            <a:spLocks noGrp="1"/>
          </p:cNvSpPr>
          <p:nvPr>
            <p:ph type="body" sz="quarter" idx="69" hasCustomPrompt="1"/>
          </p:nvPr>
        </p:nvSpPr>
        <p:spPr>
          <a:xfrm>
            <a:off x="9957699" y="3723665"/>
            <a:ext cx="706232" cy="706232"/>
          </a:xfrm>
          <a:prstGeom prst="donut">
            <a:avLst>
              <a:gd name="adj" fmla="val 6760"/>
            </a:avLst>
          </a:prstGeom>
          <a:solidFill>
            <a:schemeClr val="accent4"/>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64" name="Arrow: Chevron 63">
            <a:extLst>
              <a:ext uri="{FF2B5EF4-FFF2-40B4-BE49-F238E27FC236}">
                <a16:creationId xmlns:a16="http://schemas.microsoft.com/office/drawing/2014/main" id="{202FA022-16B2-436D-9063-805A455B0D3E}"/>
              </a:ext>
            </a:extLst>
          </p:cNvPr>
          <p:cNvSpPr/>
          <p:nvPr userDrawn="1"/>
        </p:nvSpPr>
        <p:spPr>
          <a:xfrm>
            <a:off x="3223110"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Arrow: Chevron 64">
            <a:extLst>
              <a:ext uri="{FF2B5EF4-FFF2-40B4-BE49-F238E27FC236}">
                <a16:creationId xmlns:a16="http://schemas.microsoft.com/office/drawing/2014/main" id="{EA11E645-3BE7-4274-AF49-AD538EDC11B8}"/>
              </a:ext>
            </a:extLst>
          </p:cNvPr>
          <p:cNvSpPr/>
          <p:nvPr userDrawn="1"/>
        </p:nvSpPr>
        <p:spPr>
          <a:xfrm>
            <a:off x="7412653"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6" name="Arrow: Chevron 65">
            <a:extLst>
              <a:ext uri="{FF2B5EF4-FFF2-40B4-BE49-F238E27FC236}">
                <a16:creationId xmlns:a16="http://schemas.microsoft.com/office/drawing/2014/main" id="{B7BD31DD-D649-495D-A126-C8BCC8466835}"/>
              </a:ext>
            </a:extLst>
          </p:cNvPr>
          <p:cNvSpPr/>
          <p:nvPr userDrawn="1"/>
        </p:nvSpPr>
        <p:spPr>
          <a:xfrm>
            <a:off x="8843147"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7" name="Text Placeholder 3">
            <a:extLst>
              <a:ext uri="{FF2B5EF4-FFF2-40B4-BE49-F238E27FC236}">
                <a16:creationId xmlns:a16="http://schemas.microsoft.com/office/drawing/2014/main" id="{DC2B5DE1-57D8-4199-AC89-D1FEE2BD1C79}"/>
              </a:ext>
            </a:extLst>
          </p:cNvPr>
          <p:cNvSpPr>
            <a:spLocks noGrp="1"/>
          </p:cNvSpPr>
          <p:nvPr>
            <p:ph type="body" sz="quarter" idx="61" hasCustomPrompt="1"/>
          </p:nvPr>
        </p:nvSpPr>
        <p:spPr>
          <a:xfrm>
            <a:off x="1627551"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59" name="Text Placeholder 3">
            <a:extLst>
              <a:ext uri="{FF2B5EF4-FFF2-40B4-BE49-F238E27FC236}">
                <a16:creationId xmlns:a16="http://schemas.microsoft.com/office/drawing/2014/main" id="{06AEDF78-3CDC-4D93-83F2-012A1AF0C165}"/>
              </a:ext>
            </a:extLst>
          </p:cNvPr>
          <p:cNvSpPr>
            <a:spLocks noGrp="1"/>
          </p:cNvSpPr>
          <p:nvPr>
            <p:ph type="body" sz="quarter" idx="62" hasCustomPrompt="1"/>
          </p:nvPr>
        </p:nvSpPr>
        <p:spPr>
          <a:xfrm>
            <a:off x="10057182" y="3823148"/>
            <a:ext cx="507266" cy="507266"/>
          </a:xfrm>
          <a:prstGeom prst="ellipse">
            <a:avLst/>
          </a:prstGeom>
          <a:solidFill>
            <a:schemeClr val="accent4"/>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P</a:t>
            </a:r>
          </a:p>
        </p:txBody>
      </p:sp>
      <p:sp>
        <p:nvSpPr>
          <p:cNvPr id="81" name="Text Placeholder 3">
            <a:extLst>
              <a:ext uri="{FF2B5EF4-FFF2-40B4-BE49-F238E27FC236}">
                <a16:creationId xmlns:a16="http://schemas.microsoft.com/office/drawing/2014/main" id="{F3845D4A-34B7-401B-AFE7-64A4D1E4E400}"/>
              </a:ext>
            </a:extLst>
          </p:cNvPr>
          <p:cNvSpPr>
            <a:spLocks noGrp="1"/>
          </p:cNvSpPr>
          <p:nvPr>
            <p:ph type="body" sz="quarter" idx="65" hasCustomPrompt="1"/>
          </p:nvPr>
        </p:nvSpPr>
        <p:spPr>
          <a:xfrm>
            <a:off x="4437429" y="3823148"/>
            <a:ext cx="507266" cy="507266"/>
          </a:xfrm>
          <a:prstGeom prst="ellipse">
            <a:avLst/>
          </a:prstGeom>
          <a:solidFill>
            <a:schemeClr val="accent6"/>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E</a:t>
            </a:r>
          </a:p>
        </p:txBody>
      </p:sp>
      <p:sp>
        <p:nvSpPr>
          <p:cNvPr id="89" name="Text Placeholder 3">
            <a:extLst>
              <a:ext uri="{FF2B5EF4-FFF2-40B4-BE49-F238E27FC236}">
                <a16:creationId xmlns:a16="http://schemas.microsoft.com/office/drawing/2014/main" id="{61753964-1E44-49C9-8C64-D753343B98C1}"/>
              </a:ext>
            </a:extLst>
          </p:cNvPr>
          <p:cNvSpPr>
            <a:spLocks noGrp="1"/>
          </p:cNvSpPr>
          <p:nvPr>
            <p:ph type="body" sz="quarter" idx="67" hasCustomPrompt="1"/>
          </p:nvPr>
        </p:nvSpPr>
        <p:spPr>
          <a:xfrm>
            <a:off x="7221750"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96" name="Arrow: Chevron 95">
            <a:extLst>
              <a:ext uri="{FF2B5EF4-FFF2-40B4-BE49-F238E27FC236}">
                <a16:creationId xmlns:a16="http://schemas.microsoft.com/office/drawing/2014/main" id="{E7683708-4B6C-44A2-98C2-B9699BA1E901}"/>
              </a:ext>
            </a:extLst>
          </p:cNvPr>
          <p:cNvSpPr/>
          <p:nvPr userDrawn="1"/>
        </p:nvSpPr>
        <p:spPr>
          <a:xfrm>
            <a:off x="6020492"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3557374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8_Title and Content">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858331C-086A-43F7-892A-CFDD441E50B0}"/>
              </a:ext>
            </a:extLst>
          </p:cNvPr>
          <p:cNvSpPr/>
          <p:nvPr userDrawn="1"/>
        </p:nvSpPr>
        <p:spPr>
          <a:xfrm flipH="1">
            <a:off x="0" y="4076781"/>
            <a:ext cx="12192000" cy="301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88216863-639D-4E3D-96EE-1DF776D54089}"/>
              </a:ext>
            </a:extLst>
          </p:cNvPr>
          <p:cNvGraphicFramePr>
            <a:graphicFrameLocks noChangeAspect="1"/>
          </p:cNvGraphicFramePr>
          <p:nvPr userDrawn="1">
            <p:custDataLst>
              <p:tags r:id="rId1"/>
            </p:custDataLst>
            <p:extLst>
              <p:ext uri="{D42A27DB-BD31-4B8C-83A1-F6EECF244321}">
                <p14:modId xmlns:p14="http://schemas.microsoft.com/office/powerpoint/2010/main" val="249189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88216863-639D-4E3D-96EE-1DF776D540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9F3C5A-BF2D-40AE-9FE6-7AED61ED7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 name="Text Placeholder 3">
            <a:extLst>
              <a:ext uri="{FF2B5EF4-FFF2-40B4-BE49-F238E27FC236}">
                <a16:creationId xmlns:a16="http://schemas.microsoft.com/office/drawing/2014/main" id="{C67E64B7-2590-47A3-93C9-AEBCD6518B2B}"/>
              </a:ext>
            </a:extLst>
          </p:cNvPr>
          <p:cNvSpPr>
            <a:spLocks noGrp="1"/>
          </p:cNvSpPr>
          <p:nvPr>
            <p:ph type="body" sz="quarter" idx="53" hasCustomPrompt="1"/>
          </p:nvPr>
        </p:nvSpPr>
        <p:spPr>
          <a:xfrm>
            <a:off x="6150069" y="1141354"/>
            <a:ext cx="309151" cy="309565"/>
          </a:xfrm>
          <a:prstGeom prst="ellipse">
            <a:avLst/>
          </a:prstGeom>
          <a:solidFill>
            <a:schemeClr val="accent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4" name="Text Placeholder 3">
            <a:extLst>
              <a:ext uri="{FF2B5EF4-FFF2-40B4-BE49-F238E27FC236}">
                <a16:creationId xmlns:a16="http://schemas.microsoft.com/office/drawing/2014/main" id="{1ABEF945-2CC2-4B91-BC52-635316C8DD32}"/>
              </a:ext>
            </a:extLst>
          </p:cNvPr>
          <p:cNvSpPr>
            <a:spLocks noGrp="1"/>
          </p:cNvSpPr>
          <p:nvPr>
            <p:ph type="body" sz="quarter" idx="54" hasCustomPrompt="1"/>
          </p:nvPr>
        </p:nvSpPr>
        <p:spPr>
          <a:xfrm>
            <a:off x="8103886" y="1141354"/>
            <a:ext cx="309151" cy="309565"/>
          </a:xfrm>
          <a:prstGeom prst="ellipse">
            <a:avLst/>
          </a:prstGeom>
          <a:solidFill>
            <a:srgbClr val="2E82B5"/>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5" name="Text Placeholder 3">
            <a:extLst>
              <a:ext uri="{FF2B5EF4-FFF2-40B4-BE49-F238E27FC236}">
                <a16:creationId xmlns:a16="http://schemas.microsoft.com/office/drawing/2014/main" id="{86F1BB27-A26A-47E8-9A68-D32389D6C223}"/>
              </a:ext>
            </a:extLst>
          </p:cNvPr>
          <p:cNvSpPr>
            <a:spLocks noGrp="1"/>
          </p:cNvSpPr>
          <p:nvPr>
            <p:ph type="body" sz="quarter" idx="55" hasCustomPrompt="1"/>
          </p:nvPr>
        </p:nvSpPr>
        <p:spPr>
          <a:xfrm>
            <a:off x="9823665" y="1141354"/>
            <a:ext cx="309151" cy="309565"/>
          </a:xfrm>
          <a:prstGeom prst="ellipse">
            <a:avLst/>
          </a:prstGeom>
          <a:solidFill>
            <a:srgbClr val="E8C92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6" name="Text Placeholder 3">
            <a:extLst>
              <a:ext uri="{FF2B5EF4-FFF2-40B4-BE49-F238E27FC236}">
                <a16:creationId xmlns:a16="http://schemas.microsoft.com/office/drawing/2014/main" id="{84F23EB7-2ED0-44BB-91A3-5338B0220F53}"/>
              </a:ext>
            </a:extLst>
          </p:cNvPr>
          <p:cNvSpPr>
            <a:spLocks noGrp="1"/>
          </p:cNvSpPr>
          <p:nvPr>
            <p:ph type="body" sz="quarter" idx="56" hasCustomPrompt="1"/>
          </p:nvPr>
        </p:nvSpPr>
        <p:spPr>
          <a:xfrm>
            <a:off x="11025674" y="1141354"/>
            <a:ext cx="309151" cy="309565"/>
          </a:xfrm>
          <a:prstGeom prst="ellipse">
            <a:avLst/>
          </a:prstGeom>
          <a:solidFill>
            <a:srgbClr val="236288"/>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64" name="Arrow: Chevron 63">
            <a:extLst>
              <a:ext uri="{FF2B5EF4-FFF2-40B4-BE49-F238E27FC236}">
                <a16:creationId xmlns:a16="http://schemas.microsoft.com/office/drawing/2014/main" id="{202FA022-16B2-436D-9063-805A455B0D3E}"/>
              </a:ext>
            </a:extLst>
          </p:cNvPr>
          <p:cNvSpPr/>
          <p:nvPr userDrawn="1"/>
        </p:nvSpPr>
        <p:spPr>
          <a:xfrm>
            <a:off x="6033270"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Text Placeholder 6">
            <a:extLst>
              <a:ext uri="{FF2B5EF4-FFF2-40B4-BE49-F238E27FC236}">
                <a16:creationId xmlns:a16="http://schemas.microsoft.com/office/drawing/2014/main" id="{05CEBBC7-F8F0-491B-8C57-3ABA8FA4FC68}"/>
              </a:ext>
            </a:extLst>
          </p:cNvPr>
          <p:cNvSpPr>
            <a:spLocks noGrp="1"/>
          </p:cNvSpPr>
          <p:nvPr userDrawn="1">
            <p:ph type="body" sz="quarter" idx="34" hasCustomPrompt="1"/>
          </p:nvPr>
        </p:nvSpPr>
        <p:spPr>
          <a:xfrm>
            <a:off x="1645138" y="1803751"/>
            <a:ext cx="3345349" cy="1812227"/>
          </a:xfrm>
        </p:spPr>
        <p:txBody>
          <a:bodyPr anchor="b" anchorCtr="0"/>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2" name="Text Placeholder 6">
            <a:extLst>
              <a:ext uri="{FF2B5EF4-FFF2-40B4-BE49-F238E27FC236}">
                <a16:creationId xmlns:a16="http://schemas.microsoft.com/office/drawing/2014/main" id="{5E9531B4-4C9A-4B92-8FBE-54AD98F009C1}"/>
              </a:ext>
            </a:extLst>
          </p:cNvPr>
          <p:cNvSpPr>
            <a:spLocks noGrp="1"/>
          </p:cNvSpPr>
          <p:nvPr userDrawn="1">
            <p:ph type="body" sz="quarter" idx="42" hasCustomPrompt="1"/>
          </p:nvPr>
        </p:nvSpPr>
        <p:spPr>
          <a:xfrm>
            <a:off x="7416815" y="4531355"/>
            <a:ext cx="3047765" cy="1405962"/>
          </a:xfrm>
        </p:spPr>
        <p:txBody>
          <a:bodyPr/>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5" name="Text Placeholder 6">
            <a:extLst>
              <a:ext uri="{FF2B5EF4-FFF2-40B4-BE49-F238E27FC236}">
                <a16:creationId xmlns:a16="http://schemas.microsoft.com/office/drawing/2014/main" id="{D3B35986-6750-4A09-8E34-47550FA5EB45}"/>
              </a:ext>
            </a:extLst>
          </p:cNvPr>
          <p:cNvSpPr>
            <a:spLocks noGrp="1"/>
          </p:cNvSpPr>
          <p:nvPr userDrawn="1">
            <p:ph type="body" sz="quarter" idx="45" hasCustomPrompt="1"/>
          </p:nvPr>
        </p:nvSpPr>
        <p:spPr>
          <a:xfrm>
            <a:off x="2922665" y="453135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9" name="Text Placeholder 6">
            <a:extLst>
              <a:ext uri="{FF2B5EF4-FFF2-40B4-BE49-F238E27FC236}">
                <a16:creationId xmlns:a16="http://schemas.microsoft.com/office/drawing/2014/main" id="{DB43C15C-71A6-491C-9B3F-62B2C083C1B6}"/>
              </a:ext>
            </a:extLst>
          </p:cNvPr>
          <p:cNvSpPr>
            <a:spLocks noGrp="1"/>
          </p:cNvSpPr>
          <p:nvPr userDrawn="1">
            <p:ph type="body" sz="quarter" idx="49" hasCustomPrompt="1"/>
          </p:nvPr>
        </p:nvSpPr>
        <p:spPr>
          <a:xfrm>
            <a:off x="6514879" y="1203802"/>
            <a:ext cx="1336904"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0" name="Text Placeholder 6">
            <a:extLst>
              <a:ext uri="{FF2B5EF4-FFF2-40B4-BE49-F238E27FC236}">
                <a16:creationId xmlns:a16="http://schemas.microsoft.com/office/drawing/2014/main" id="{B1D2E646-AA68-40E1-958B-53CFBA8B8835}"/>
              </a:ext>
            </a:extLst>
          </p:cNvPr>
          <p:cNvSpPr>
            <a:spLocks noGrp="1"/>
          </p:cNvSpPr>
          <p:nvPr userDrawn="1">
            <p:ph type="body" sz="quarter" idx="50" hasCustomPrompt="1"/>
          </p:nvPr>
        </p:nvSpPr>
        <p:spPr>
          <a:xfrm>
            <a:off x="8468696" y="1203803"/>
            <a:ext cx="110286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2" name="Text Placeholder 6">
            <a:extLst>
              <a:ext uri="{FF2B5EF4-FFF2-40B4-BE49-F238E27FC236}">
                <a16:creationId xmlns:a16="http://schemas.microsoft.com/office/drawing/2014/main" id="{EC3D199E-2289-4AF4-8156-3E828C7B5FF7}"/>
              </a:ext>
            </a:extLst>
          </p:cNvPr>
          <p:cNvSpPr>
            <a:spLocks noGrp="1"/>
          </p:cNvSpPr>
          <p:nvPr userDrawn="1">
            <p:ph type="body" sz="quarter" idx="51" hasCustomPrompt="1"/>
          </p:nvPr>
        </p:nvSpPr>
        <p:spPr>
          <a:xfrm>
            <a:off x="10188475" y="1203803"/>
            <a:ext cx="58509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3" name="Text Placeholder 6">
            <a:extLst>
              <a:ext uri="{FF2B5EF4-FFF2-40B4-BE49-F238E27FC236}">
                <a16:creationId xmlns:a16="http://schemas.microsoft.com/office/drawing/2014/main" id="{D7C918CD-4AFB-4525-9B8B-30FC4EA68DFB}"/>
              </a:ext>
            </a:extLst>
          </p:cNvPr>
          <p:cNvSpPr>
            <a:spLocks noGrp="1"/>
          </p:cNvSpPr>
          <p:nvPr userDrawn="1">
            <p:ph type="body" sz="quarter" idx="52" hasCustomPrompt="1"/>
          </p:nvPr>
        </p:nvSpPr>
        <p:spPr>
          <a:xfrm>
            <a:off x="11390484" y="1203803"/>
            <a:ext cx="663643"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76" name="Text Placeholder 6">
            <a:extLst>
              <a:ext uri="{FF2B5EF4-FFF2-40B4-BE49-F238E27FC236}">
                <a16:creationId xmlns:a16="http://schemas.microsoft.com/office/drawing/2014/main" id="{6F6D707B-9A15-4AC5-824A-F88CEFA24618}"/>
              </a:ext>
            </a:extLst>
          </p:cNvPr>
          <p:cNvSpPr>
            <a:spLocks noGrp="1"/>
          </p:cNvSpPr>
          <p:nvPr userDrawn="1">
            <p:ph type="body" sz="quarter" idx="46" hasCustomPrompt="1"/>
          </p:nvPr>
        </p:nvSpPr>
        <p:spPr>
          <a:xfrm>
            <a:off x="8536740"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6"/>
                </a:solidFill>
              </a:defRPr>
            </a:lvl1pPr>
          </a:lstStyle>
          <a:p>
            <a:pPr lvl="0"/>
            <a:r>
              <a:rPr lang="en-US"/>
              <a:t>TEXT</a:t>
            </a:r>
          </a:p>
        </p:txBody>
      </p:sp>
      <p:sp>
        <p:nvSpPr>
          <p:cNvPr id="52" name="Oval 51">
            <a:extLst>
              <a:ext uri="{FF2B5EF4-FFF2-40B4-BE49-F238E27FC236}">
                <a16:creationId xmlns:a16="http://schemas.microsoft.com/office/drawing/2014/main" id="{CD448D45-D03F-492E-A834-284CE111D363}"/>
              </a:ext>
            </a:extLst>
          </p:cNvPr>
          <p:cNvSpPr/>
          <p:nvPr userDrawn="1"/>
        </p:nvSpPr>
        <p:spPr>
          <a:xfrm flipH="1">
            <a:off x="8632855"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a:extLst>
              <a:ext uri="{FF2B5EF4-FFF2-40B4-BE49-F238E27FC236}">
                <a16:creationId xmlns:a16="http://schemas.microsoft.com/office/drawing/2014/main" id="{C26BBFFF-1A2E-45C9-9BC0-467D0CED3B9E}"/>
              </a:ext>
            </a:extLst>
          </p:cNvPr>
          <p:cNvSpPr/>
          <p:nvPr userDrawn="1"/>
        </p:nvSpPr>
        <p:spPr>
          <a:xfrm flipH="1">
            <a:off x="3018780"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 Placeholder 3">
            <a:extLst>
              <a:ext uri="{FF2B5EF4-FFF2-40B4-BE49-F238E27FC236}">
                <a16:creationId xmlns:a16="http://schemas.microsoft.com/office/drawing/2014/main" id="{4293046A-CCFB-4345-8CB0-D3F0CEDA5EC8}"/>
              </a:ext>
            </a:extLst>
          </p:cNvPr>
          <p:cNvSpPr>
            <a:spLocks noGrp="1"/>
          </p:cNvSpPr>
          <p:nvPr>
            <p:ph type="body" sz="quarter" idx="61" hasCustomPrompt="1"/>
          </p:nvPr>
        </p:nvSpPr>
        <p:spPr>
          <a:xfrm>
            <a:off x="3072989"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57" name="Text Placeholder 6">
            <a:extLst>
              <a:ext uri="{FF2B5EF4-FFF2-40B4-BE49-F238E27FC236}">
                <a16:creationId xmlns:a16="http://schemas.microsoft.com/office/drawing/2014/main" id="{F0602BA0-A9C9-4E67-A517-F42160B777C6}"/>
              </a:ext>
            </a:extLst>
          </p:cNvPr>
          <p:cNvSpPr>
            <a:spLocks noGrp="1"/>
          </p:cNvSpPr>
          <p:nvPr>
            <p:ph type="body" sz="quarter" idx="64" hasCustomPrompt="1"/>
          </p:nvPr>
        </p:nvSpPr>
        <p:spPr>
          <a:xfrm>
            <a:off x="2973506"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59" name="Text Placeholder 3">
            <a:extLst>
              <a:ext uri="{FF2B5EF4-FFF2-40B4-BE49-F238E27FC236}">
                <a16:creationId xmlns:a16="http://schemas.microsoft.com/office/drawing/2014/main" id="{19AF798B-739D-4C00-891C-A8C2AD129B5F}"/>
              </a:ext>
            </a:extLst>
          </p:cNvPr>
          <p:cNvSpPr>
            <a:spLocks noGrp="1"/>
          </p:cNvSpPr>
          <p:nvPr>
            <p:ph type="body" sz="quarter" idx="65" hasCustomPrompt="1"/>
          </p:nvPr>
        </p:nvSpPr>
        <p:spPr>
          <a:xfrm>
            <a:off x="8687064" y="3823148"/>
            <a:ext cx="507266" cy="507266"/>
          </a:xfrm>
          <a:prstGeom prst="ellipse">
            <a:avLst/>
          </a:prstGeom>
          <a:solidFill>
            <a:schemeClr val="accent6"/>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E</a:t>
            </a:r>
          </a:p>
        </p:txBody>
      </p:sp>
      <p:sp>
        <p:nvSpPr>
          <p:cNvPr id="67" name="Text Placeholder 6">
            <a:extLst>
              <a:ext uri="{FF2B5EF4-FFF2-40B4-BE49-F238E27FC236}">
                <a16:creationId xmlns:a16="http://schemas.microsoft.com/office/drawing/2014/main" id="{88DCCF9F-2D25-45FA-A2FA-FF813934876B}"/>
              </a:ext>
            </a:extLst>
          </p:cNvPr>
          <p:cNvSpPr>
            <a:spLocks noGrp="1"/>
          </p:cNvSpPr>
          <p:nvPr>
            <p:ph type="body" sz="quarter" idx="66" hasCustomPrompt="1"/>
          </p:nvPr>
        </p:nvSpPr>
        <p:spPr>
          <a:xfrm>
            <a:off x="8587581" y="3723665"/>
            <a:ext cx="706232" cy="706232"/>
          </a:xfrm>
          <a:prstGeom prst="donut">
            <a:avLst>
              <a:gd name="adj" fmla="val 6760"/>
            </a:avLst>
          </a:prstGeom>
          <a:solidFill>
            <a:schemeClr val="accent6"/>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Tree>
    <p:extLst>
      <p:ext uri="{BB962C8B-B14F-4D97-AF65-F5344CB8AC3E}">
        <p14:creationId xmlns:p14="http://schemas.microsoft.com/office/powerpoint/2010/main" val="1753450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9_Title and Content">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858331C-086A-43F7-892A-CFDD441E50B0}"/>
              </a:ext>
            </a:extLst>
          </p:cNvPr>
          <p:cNvSpPr/>
          <p:nvPr userDrawn="1"/>
        </p:nvSpPr>
        <p:spPr>
          <a:xfrm flipH="1">
            <a:off x="0" y="4076781"/>
            <a:ext cx="12192000" cy="301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88216863-639D-4E3D-96EE-1DF776D540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88216863-639D-4E3D-96EE-1DF776D540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9F3C5A-BF2D-40AE-9FE6-7AED61ED7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 name="Text Placeholder 3">
            <a:extLst>
              <a:ext uri="{FF2B5EF4-FFF2-40B4-BE49-F238E27FC236}">
                <a16:creationId xmlns:a16="http://schemas.microsoft.com/office/drawing/2014/main" id="{C67E64B7-2590-47A3-93C9-AEBCD6518B2B}"/>
              </a:ext>
            </a:extLst>
          </p:cNvPr>
          <p:cNvSpPr>
            <a:spLocks noGrp="1"/>
          </p:cNvSpPr>
          <p:nvPr>
            <p:ph type="body" sz="quarter" idx="53" hasCustomPrompt="1"/>
          </p:nvPr>
        </p:nvSpPr>
        <p:spPr>
          <a:xfrm>
            <a:off x="6150069" y="1141354"/>
            <a:ext cx="309151" cy="309565"/>
          </a:xfrm>
          <a:prstGeom prst="ellipse">
            <a:avLst/>
          </a:prstGeom>
          <a:solidFill>
            <a:schemeClr val="accent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4" name="Text Placeholder 3">
            <a:extLst>
              <a:ext uri="{FF2B5EF4-FFF2-40B4-BE49-F238E27FC236}">
                <a16:creationId xmlns:a16="http://schemas.microsoft.com/office/drawing/2014/main" id="{1ABEF945-2CC2-4B91-BC52-635316C8DD32}"/>
              </a:ext>
            </a:extLst>
          </p:cNvPr>
          <p:cNvSpPr>
            <a:spLocks noGrp="1"/>
          </p:cNvSpPr>
          <p:nvPr>
            <p:ph type="body" sz="quarter" idx="54" hasCustomPrompt="1"/>
          </p:nvPr>
        </p:nvSpPr>
        <p:spPr>
          <a:xfrm>
            <a:off x="8103886" y="1141354"/>
            <a:ext cx="309151" cy="309565"/>
          </a:xfrm>
          <a:prstGeom prst="ellipse">
            <a:avLst/>
          </a:prstGeom>
          <a:solidFill>
            <a:srgbClr val="2E82B5"/>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5" name="Text Placeholder 3">
            <a:extLst>
              <a:ext uri="{FF2B5EF4-FFF2-40B4-BE49-F238E27FC236}">
                <a16:creationId xmlns:a16="http://schemas.microsoft.com/office/drawing/2014/main" id="{86F1BB27-A26A-47E8-9A68-D32389D6C223}"/>
              </a:ext>
            </a:extLst>
          </p:cNvPr>
          <p:cNvSpPr>
            <a:spLocks noGrp="1"/>
          </p:cNvSpPr>
          <p:nvPr>
            <p:ph type="body" sz="quarter" idx="55" hasCustomPrompt="1"/>
          </p:nvPr>
        </p:nvSpPr>
        <p:spPr>
          <a:xfrm>
            <a:off x="9823665" y="1141354"/>
            <a:ext cx="309151" cy="309565"/>
          </a:xfrm>
          <a:prstGeom prst="ellipse">
            <a:avLst/>
          </a:prstGeom>
          <a:solidFill>
            <a:srgbClr val="E8C92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6" name="Text Placeholder 3">
            <a:extLst>
              <a:ext uri="{FF2B5EF4-FFF2-40B4-BE49-F238E27FC236}">
                <a16:creationId xmlns:a16="http://schemas.microsoft.com/office/drawing/2014/main" id="{84F23EB7-2ED0-44BB-91A3-5338B0220F53}"/>
              </a:ext>
            </a:extLst>
          </p:cNvPr>
          <p:cNvSpPr>
            <a:spLocks noGrp="1"/>
          </p:cNvSpPr>
          <p:nvPr>
            <p:ph type="body" sz="quarter" idx="56" hasCustomPrompt="1"/>
          </p:nvPr>
        </p:nvSpPr>
        <p:spPr>
          <a:xfrm>
            <a:off x="11025674" y="1141354"/>
            <a:ext cx="309151" cy="309565"/>
          </a:xfrm>
          <a:prstGeom prst="ellipse">
            <a:avLst/>
          </a:prstGeom>
          <a:solidFill>
            <a:srgbClr val="236288"/>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64" name="Arrow: Chevron 63">
            <a:extLst>
              <a:ext uri="{FF2B5EF4-FFF2-40B4-BE49-F238E27FC236}">
                <a16:creationId xmlns:a16="http://schemas.microsoft.com/office/drawing/2014/main" id="{202FA022-16B2-436D-9063-805A455B0D3E}"/>
              </a:ext>
            </a:extLst>
          </p:cNvPr>
          <p:cNvSpPr/>
          <p:nvPr userDrawn="1"/>
        </p:nvSpPr>
        <p:spPr>
          <a:xfrm>
            <a:off x="4168388"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Arrow: Chevron 64">
            <a:extLst>
              <a:ext uri="{FF2B5EF4-FFF2-40B4-BE49-F238E27FC236}">
                <a16:creationId xmlns:a16="http://schemas.microsoft.com/office/drawing/2014/main" id="{EA11E645-3BE7-4274-AF49-AD538EDC11B8}"/>
              </a:ext>
            </a:extLst>
          </p:cNvPr>
          <p:cNvSpPr/>
          <p:nvPr userDrawn="1"/>
        </p:nvSpPr>
        <p:spPr>
          <a:xfrm>
            <a:off x="8119891"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Text Placeholder 6">
            <a:extLst>
              <a:ext uri="{FF2B5EF4-FFF2-40B4-BE49-F238E27FC236}">
                <a16:creationId xmlns:a16="http://schemas.microsoft.com/office/drawing/2014/main" id="{05CEBBC7-F8F0-491B-8C57-3ABA8FA4FC68}"/>
              </a:ext>
            </a:extLst>
          </p:cNvPr>
          <p:cNvSpPr>
            <a:spLocks noGrp="1"/>
          </p:cNvSpPr>
          <p:nvPr userDrawn="1">
            <p:ph type="body" sz="quarter" idx="34" hasCustomPrompt="1"/>
          </p:nvPr>
        </p:nvSpPr>
        <p:spPr>
          <a:xfrm>
            <a:off x="472450" y="1803751"/>
            <a:ext cx="3565833" cy="1812227"/>
          </a:xfrm>
        </p:spPr>
        <p:txBody>
          <a:bodyPr anchor="b" anchorCtr="0"/>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2" name="Text Placeholder 6">
            <a:extLst>
              <a:ext uri="{FF2B5EF4-FFF2-40B4-BE49-F238E27FC236}">
                <a16:creationId xmlns:a16="http://schemas.microsoft.com/office/drawing/2014/main" id="{5E9531B4-4C9A-4B92-8FBE-54AD98F009C1}"/>
              </a:ext>
            </a:extLst>
          </p:cNvPr>
          <p:cNvSpPr>
            <a:spLocks noGrp="1"/>
          </p:cNvSpPr>
          <p:nvPr userDrawn="1">
            <p:ph type="body" sz="quarter" idx="42" hasCustomPrompt="1"/>
          </p:nvPr>
        </p:nvSpPr>
        <p:spPr>
          <a:xfrm>
            <a:off x="4423953" y="4531355"/>
            <a:ext cx="3565833" cy="1405962"/>
          </a:xfrm>
        </p:spPr>
        <p:txBody>
          <a:bodyPr/>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4" name="Text Placeholder 6">
            <a:extLst>
              <a:ext uri="{FF2B5EF4-FFF2-40B4-BE49-F238E27FC236}">
                <a16:creationId xmlns:a16="http://schemas.microsoft.com/office/drawing/2014/main" id="{BA5DB107-21C4-434B-83F5-228C25F27BB3}"/>
              </a:ext>
            </a:extLst>
          </p:cNvPr>
          <p:cNvSpPr>
            <a:spLocks noGrp="1"/>
          </p:cNvSpPr>
          <p:nvPr userDrawn="1">
            <p:ph type="body" sz="quarter" idx="44" hasCustomPrompt="1"/>
          </p:nvPr>
        </p:nvSpPr>
        <p:spPr>
          <a:xfrm>
            <a:off x="8375454" y="1803751"/>
            <a:ext cx="3565833" cy="1812227"/>
          </a:xfrm>
        </p:spPr>
        <p:txBody>
          <a:bodyPr anchor="b" anchorCtr="0"/>
          <a:lstStyle>
            <a:lvl1pPr marL="0" indent="0" algn="just">
              <a:lnSpc>
                <a:spcPct val="110000"/>
              </a:lnSpc>
              <a:spcBef>
                <a:spcPts val="0"/>
              </a:spcBef>
              <a:spcAft>
                <a:spcPts val="1200"/>
              </a:spcAft>
              <a:buFont typeface="Wingdings" panose="05000000000000000000" pitchFamily="2" charset="2"/>
              <a:buNone/>
              <a:defRPr sz="1200"/>
            </a:lvl1pPr>
          </a:lstStyle>
          <a:p>
            <a:pPr lvl="0"/>
            <a:r>
              <a:rPr lang="en-US"/>
              <a:t>Edit Master text styles</a:t>
            </a:r>
          </a:p>
        </p:txBody>
      </p:sp>
      <p:sp>
        <p:nvSpPr>
          <p:cNvPr id="75" name="Text Placeholder 6">
            <a:extLst>
              <a:ext uri="{FF2B5EF4-FFF2-40B4-BE49-F238E27FC236}">
                <a16:creationId xmlns:a16="http://schemas.microsoft.com/office/drawing/2014/main" id="{D3B35986-6750-4A09-8E34-47550FA5EB45}"/>
              </a:ext>
            </a:extLst>
          </p:cNvPr>
          <p:cNvSpPr>
            <a:spLocks noGrp="1"/>
          </p:cNvSpPr>
          <p:nvPr userDrawn="1">
            <p:ph type="body" sz="quarter" idx="45" hasCustomPrompt="1"/>
          </p:nvPr>
        </p:nvSpPr>
        <p:spPr>
          <a:xfrm>
            <a:off x="1851409" y="453135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6" name="Text Placeholder 6">
            <a:extLst>
              <a:ext uri="{FF2B5EF4-FFF2-40B4-BE49-F238E27FC236}">
                <a16:creationId xmlns:a16="http://schemas.microsoft.com/office/drawing/2014/main" id="{6F6D707B-9A15-4AC5-824A-F88CEFA24618}"/>
              </a:ext>
            </a:extLst>
          </p:cNvPr>
          <p:cNvSpPr>
            <a:spLocks noGrp="1"/>
          </p:cNvSpPr>
          <p:nvPr userDrawn="1">
            <p:ph type="body" sz="quarter" idx="46" hasCustomPrompt="1"/>
          </p:nvPr>
        </p:nvSpPr>
        <p:spPr>
          <a:xfrm>
            <a:off x="5802911"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6"/>
                </a:solidFill>
              </a:defRPr>
            </a:lvl1pPr>
          </a:lstStyle>
          <a:p>
            <a:pPr lvl="0"/>
            <a:r>
              <a:rPr lang="en-US"/>
              <a:t>TEXT</a:t>
            </a:r>
          </a:p>
        </p:txBody>
      </p:sp>
      <p:sp>
        <p:nvSpPr>
          <p:cNvPr id="78" name="Text Placeholder 6">
            <a:extLst>
              <a:ext uri="{FF2B5EF4-FFF2-40B4-BE49-F238E27FC236}">
                <a16:creationId xmlns:a16="http://schemas.microsoft.com/office/drawing/2014/main" id="{B85FC8BA-22D8-45EC-AEDF-A6605EC9CD72}"/>
              </a:ext>
            </a:extLst>
          </p:cNvPr>
          <p:cNvSpPr>
            <a:spLocks noGrp="1"/>
          </p:cNvSpPr>
          <p:nvPr userDrawn="1">
            <p:ph type="body" sz="quarter" idx="48" hasCustomPrompt="1"/>
          </p:nvPr>
        </p:nvSpPr>
        <p:spPr>
          <a:xfrm>
            <a:off x="9669582" y="4573704"/>
            <a:ext cx="977576"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9" name="Text Placeholder 6">
            <a:extLst>
              <a:ext uri="{FF2B5EF4-FFF2-40B4-BE49-F238E27FC236}">
                <a16:creationId xmlns:a16="http://schemas.microsoft.com/office/drawing/2014/main" id="{DB43C15C-71A6-491C-9B3F-62B2C083C1B6}"/>
              </a:ext>
            </a:extLst>
          </p:cNvPr>
          <p:cNvSpPr>
            <a:spLocks noGrp="1"/>
          </p:cNvSpPr>
          <p:nvPr userDrawn="1">
            <p:ph type="body" sz="quarter" idx="49" hasCustomPrompt="1"/>
          </p:nvPr>
        </p:nvSpPr>
        <p:spPr>
          <a:xfrm>
            <a:off x="6514879" y="1203802"/>
            <a:ext cx="1336904"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0" name="Text Placeholder 6">
            <a:extLst>
              <a:ext uri="{FF2B5EF4-FFF2-40B4-BE49-F238E27FC236}">
                <a16:creationId xmlns:a16="http://schemas.microsoft.com/office/drawing/2014/main" id="{B1D2E646-AA68-40E1-958B-53CFBA8B8835}"/>
              </a:ext>
            </a:extLst>
          </p:cNvPr>
          <p:cNvSpPr>
            <a:spLocks noGrp="1"/>
          </p:cNvSpPr>
          <p:nvPr userDrawn="1">
            <p:ph type="body" sz="quarter" idx="50" hasCustomPrompt="1"/>
          </p:nvPr>
        </p:nvSpPr>
        <p:spPr>
          <a:xfrm>
            <a:off x="8468696" y="1203803"/>
            <a:ext cx="110286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2" name="Text Placeholder 6">
            <a:extLst>
              <a:ext uri="{FF2B5EF4-FFF2-40B4-BE49-F238E27FC236}">
                <a16:creationId xmlns:a16="http://schemas.microsoft.com/office/drawing/2014/main" id="{EC3D199E-2289-4AF4-8156-3E828C7B5FF7}"/>
              </a:ext>
            </a:extLst>
          </p:cNvPr>
          <p:cNvSpPr>
            <a:spLocks noGrp="1"/>
          </p:cNvSpPr>
          <p:nvPr userDrawn="1">
            <p:ph type="body" sz="quarter" idx="51" hasCustomPrompt="1"/>
          </p:nvPr>
        </p:nvSpPr>
        <p:spPr>
          <a:xfrm>
            <a:off x="10188475" y="1203803"/>
            <a:ext cx="58509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3" name="Text Placeholder 6">
            <a:extLst>
              <a:ext uri="{FF2B5EF4-FFF2-40B4-BE49-F238E27FC236}">
                <a16:creationId xmlns:a16="http://schemas.microsoft.com/office/drawing/2014/main" id="{D7C918CD-4AFB-4525-9B8B-30FC4EA68DFB}"/>
              </a:ext>
            </a:extLst>
          </p:cNvPr>
          <p:cNvSpPr>
            <a:spLocks noGrp="1"/>
          </p:cNvSpPr>
          <p:nvPr userDrawn="1">
            <p:ph type="body" sz="quarter" idx="52" hasCustomPrompt="1"/>
          </p:nvPr>
        </p:nvSpPr>
        <p:spPr>
          <a:xfrm>
            <a:off x="11390484" y="1203803"/>
            <a:ext cx="663643"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52" name="Arrow: Chevron 51">
            <a:extLst>
              <a:ext uri="{FF2B5EF4-FFF2-40B4-BE49-F238E27FC236}">
                <a16:creationId xmlns:a16="http://schemas.microsoft.com/office/drawing/2014/main" id="{179FFB86-6C95-4158-80DE-1866D2BA8A33}"/>
              </a:ext>
            </a:extLst>
          </p:cNvPr>
          <p:cNvSpPr/>
          <p:nvPr userDrawn="1"/>
        </p:nvSpPr>
        <p:spPr>
          <a:xfrm>
            <a:off x="10095640"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4" name="Oval 53">
            <a:extLst>
              <a:ext uri="{FF2B5EF4-FFF2-40B4-BE49-F238E27FC236}">
                <a16:creationId xmlns:a16="http://schemas.microsoft.com/office/drawing/2014/main" id="{646C54E3-214E-4A24-AEBC-3BA601133372}"/>
              </a:ext>
            </a:extLst>
          </p:cNvPr>
          <p:cNvSpPr/>
          <p:nvPr userDrawn="1"/>
        </p:nvSpPr>
        <p:spPr>
          <a:xfrm flipH="1">
            <a:off x="5899026"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a:extLst>
              <a:ext uri="{FF2B5EF4-FFF2-40B4-BE49-F238E27FC236}">
                <a16:creationId xmlns:a16="http://schemas.microsoft.com/office/drawing/2014/main" id="{9A2D7747-10D7-45D0-AA0A-5E1D2B417D4F}"/>
              </a:ext>
            </a:extLst>
          </p:cNvPr>
          <p:cNvSpPr/>
          <p:nvPr userDrawn="1"/>
        </p:nvSpPr>
        <p:spPr>
          <a:xfrm flipH="1">
            <a:off x="1947524"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 Placeholder 3">
            <a:extLst>
              <a:ext uri="{FF2B5EF4-FFF2-40B4-BE49-F238E27FC236}">
                <a16:creationId xmlns:a16="http://schemas.microsoft.com/office/drawing/2014/main" id="{C335A0D8-7C43-4E28-8375-22CC0E2F765B}"/>
              </a:ext>
            </a:extLst>
          </p:cNvPr>
          <p:cNvSpPr>
            <a:spLocks noGrp="1"/>
          </p:cNvSpPr>
          <p:nvPr>
            <p:ph type="body" sz="quarter" idx="61" hasCustomPrompt="1"/>
          </p:nvPr>
        </p:nvSpPr>
        <p:spPr>
          <a:xfrm>
            <a:off x="2001733"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59" name="Text Placeholder 6">
            <a:extLst>
              <a:ext uri="{FF2B5EF4-FFF2-40B4-BE49-F238E27FC236}">
                <a16:creationId xmlns:a16="http://schemas.microsoft.com/office/drawing/2014/main" id="{BBF21DA7-AA80-43CF-88B3-F9470BF432C2}"/>
              </a:ext>
            </a:extLst>
          </p:cNvPr>
          <p:cNvSpPr>
            <a:spLocks noGrp="1"/>
          </p:cNvSpPr>
          <p:nvPr>
            <p:ph type="body" sz="quarter" idx="64" hasCustomPrompt="1"/>
          </p:nvPr>
        </p:nvSpPr>
        <p:spPr>
          <a:xfrm>
            <a:off x="1902250"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67" name="Text Placeholder 3">
            <a:extLst>
              <a:ext uri="{FF2B5EF4-FFF2-40B4-BE49-F238E27FC236}">
                <a16:creationId xmlns:a16="http://schemas.microsoft.com/office/drawing/2014/main" id="{10001FFC-D796-4D9A-B696-E3DF4B6FD7C7}"/>
              </a:ext>
            </a:extLst>
          </p:cNvPr>
          <p:cNvSpPr>
            <a:spLocks noGrp="1"/>
          </p:cNvSpPr>
          <p:nvPr>
            <p:ph type="body" sz="quarter" idx="65" hasCustomPrompt="1"/>
          </p:nvPr>
        </p:nvSpPr>
        <p:spPr>
          <a:xfrm>
            <a:off x="5953235" y="3823148"/>
            <a:ext cx="507266" cy="507266"/>
          </a:xfrm>
          <a:prstGeom prst="ellipse">
            <a:avLst/>
          </a:prstGeom>
          <a:solidFill>
            <a:schemeClr val="accent6"/>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E</a:t>
            </a:r>
          </a:p>
        </p:txBody>
      </p:sp>
      <p:sp>
        <p:nvSpPr>
          <p:cNvPr id="81" name="Text Placeholder 6">
            <a:extLst>
              <a:ext uri="{FF2B5EF4-FFF2-40B4-BE49-F238E27FC236}">
                <a16:creationId xmlns:a16="http://schemas.microsoft.com/office/drawing/2014/main" id="{3EF8F729-717D-4CE7-9650-9A382AEA453D}"/>
              </a:ext>
            </a:extLst>
          </p:cNvPr>
          <p:cNvSpPr>
            <a:spLocks noGrp="1"/>
          </p:cNvSpPr>
          <p:nvPr>
            <p:ph type="body" sz="quarter" idx="66" hasCustomPrompt="1"/>
          </p:nvPr>
        </p:nvSpPr>
        <p:spPr>
          <a:xfrm>
            <a:off x="5853752" y="3723665"/>
            <a:ext cx="706232" cy="706232"/>
          </a:xfrm>
          <a:prstGeom prst="donut">
            <a:avLst>
              <a:gd name="adj" fmla="val 6760"/>
            </a:avLst>
          </a:prstGeom>
          <a:solidFill>
            <a:schemeClr val="accent6"/>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87" name="Oval 86">
            <a:extLst>
              <a:ext uri="{FF2B5EF4-FFF2-40B4-BE49-F238E27FC236}">
                <a16:creationId xmlns:a16="http://schemas.microsoft.com/office/drawing/2014/main" id="{5F7A82D4-8474-4734-9C96-9BD28FB76A5E}"/>
              </a:ext>
            </a:extLst>
          </p:cNvPr>
          <p:cNvSpPr/>
          <p:nvPr userDrawn="1"/>
        </p:nvSpPr>
        <p:spPr>
          <a:xfrm flipH="1">
            <a:off x="9850528"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 Placeholder 3">
            <a:extLst>
              <a:ext uri="{FF2B5EF4-FFF2-40B4-BE49-F238E27FC236}">
                <a16:creationId xmlns:a16="http://schemas.microsoft.com/office/drawing/2014/main" id="{EC46D9E0-7FB2-4328-AFAF-094632FB5A61}"/>
              </a:ext>
            </a:extLst>
          </p:cNvPr>
          <p:cNvSpPr>
            <a:spLocks noGrp="1"/>
          </p:cNvSpPr>
          <p:nvPr>
            <p:ph type="body" sz="quarter" idx="67" hasCustomPrompt="1"/>
          </p:nvPr>
        </p:nvSpPr>
        <p:spPr>
          <a:xfrm>
            <a:off x="9904737"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89" name="Text Placeholder 6">
            <a:extLst>
              <a:ext uri="{FF2B5EF4-FFF2-40B4-BE49-F238E27FC236}">
                <a16:creationId xmlns:a16="http://schemas.microsoft.com/office/drawing/2014/main" id="{1D447AF3-A115-4D78-8D55-267C25156244}"/>
              </a:ext>
            </a:extLst>
          </p:cNvPr>
          <p:cNvSpPr>
            <a:spLocks noGrp="1"/>
          </p:cNvSpPr>
          <p:nvPr>
            <p:ph type="body" sz="quarter" idx="68" hasCustomPrompt="1"/>
          </p:nvPr>
        </p:nvSpPr>
        <p:spPr>
          <a:xfrm>
            <a:off x="9805254"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Tree>
    <p:extLst>
      <p:ext uri="{BB962C8B-B14F-4D97-AF65-F5344CB8AC3E}">
        <p14:creationId xmlns:p14="http://schemas.microsoft.com/office/powerpoint/2010/main" val="34223615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0_Title and Content">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858331C-086A-43F7-892A-CFDD441E50B0}"/>
              </a:ext>
            </a:extLst>
          </p:cNvPr>
          <p:cNvSpPr/>
          <p:nvPr userDrawn="1"/>
        </p:nvSpPr>
        <p:spPr>
          <a:xfrm flipH="1">
            <a:off x="0" y="4076781"/>
            <a:ext cx="12192000" cy="301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a:extLst>
              <a:ext uri="{FF2B5EF4-FFF2-40B4-BE49-F238E27FC236}">
                <a16:creationId xmlns:a16="http://schemas.microsoft.com/office/drawing/2014/main" id="{58169E4C-CCC0-4180-93F3-5252E84B792B}"/>
              </a:ext>
            </a:extLst>
          </p:cNvPr>
          <p:cNvSpPr/>
          <p:nvPr userDrawn="1"/>
        </p:nvSpPr>
        <p:spPr>
          <a:xfrm flipH="1">
            <a:off x="3638565"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88216863-639D-4E3D-96EE-1DF776D5408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88216863-639D-4E3D-96EE-1DF776D540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9F3C5A-BF2D-40AE-9FE6-7AED61ED7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 name="Text Placeholder 3">
            <a:extLst>
              <a:ext uri="{FF2B5EF4-FFF2-40B4-BE49-F238E27FC236}">
                <a16:creationId xmlns:a16="http://schemas.microsoft.com/office/drawing/2014/main" id="{C67E64B7-2590-47A3-93C9-AEBCD6518B2B}"/>
              </a:ext>
            </a:extLst>
          </p:cNvPr>
          <p:cNvSpPr>
            <a:spLocks noGrp="1"/>
          </p:cNvSpPr>
          <p:nvPr>
            <p:ph type="body" sz="quarter" idx="53" hasCustomPrompt="1"/>
          </p:nvPr>
        </p:nvSpPr>
        <p:spPr>
          <a:xfrm>
            <a:off x="6150069" y="1141354"/>
            <a:ext cx="309151" cy="309565"/>
          </a:xfrm>
          <a:prstGeom prst="ellipse">
            <a:avLst/>
          </a:prstGeom>
          <a:solidFill>
            <a:schemeClr val="accent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4" name="Text Placeholder 3">
            <a:extLst>
              <a:ext uri="{FF2B5EF4-FFF2-40B4-BE49-F238E27FC236}">
                <a16:creationId xmlns:a16="http://schemas.microsoft.com/office/drawing/2014/main" id="{1ABEF945-2CC2-4B91-BC52-635316C8DD32}"/>
              </a:ext>
            </a:extLst>
          </p:cNvPr>
          <p:cNvSpPr>
            <a:spLocks noGrp="1"/>
          </p:cNvSpPr>
          <p:nvPr>
            <p:ph type="body" sz="quarter" idx="54" hasCustomPrompt="1"/>
          </p:nvPr>
        </p:nvSpPr>
        <p:spPr>
          <a:xfrm>
            <a:off x="8103886" y="1141354"/>
            <a:ext cx="309151" cy="309565"/>
          </a:xfrm>
          <a:prstGeom prst="ellipse">
            <a:avLst/>
          </a:prstGeom>
          <a:solidFill>
            <a:srgbClr val="2E82B5"/>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5" name="Text Placeholder 3">
            <a:extLst>
              <a:ext uri="{FF2B5EF4-FFF2-40B4-BE49-F238E27FC236}">
                <a16:creationId xmlns:a16="http://schemas.microsoft.com/office/drawing/2014/main" id="{86F1BB27-A26A-47E8-9A68-D32389D6C223}"/>
              </a:ext>
            </a:extLst>
          </p:cNvPr>
          <p:cNvSpPr>
            <a:spLocks noGrp="1"/>
          </p:cNvSpPr>
          <p:nvPr>
            <p:ph type="body" sz="quarter" idx="55" hasCustomPrompt="1"/>
          </p:nvPr>
        </p:nvSpPr>
        <p:spPr>
          <a:xfrm>
            <a:off x="9823665" y="1141354"/>
            <a:ext cx="309151" cy="309565"/>
          </a:xfrm>
          <a:prstGeom prst="ellipse">
            <a:avLst/>
          </a:prstGeom>
          <a:solidFill>
            <a:srgbClr val="E8C921"/>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86" name="Text Placeholder 3">
            <a:extLst>
              <a:ext uri="{FF2B5EF4-FFF2-40B4-BE49-F238E27FC236}">
                <a16:creationId xmlns:a16="http://schemas.microsoft.com/office/drawing/2014/main" id="{84F23EB7-2ED0-44BB-91A3-5338B0220F53}"/>
              </a:ext>
            </a:extLst>
          </p:cNvPr>
          <p:cNvSpPr>
            <a:spLocks noGrp="1"/>
          </p:cNvSpPr>
          <p:nvPr>
            <p:ph type="body" sz="quarter" idx="56" hasCustomPrompt="1"/>
          </p:nvPr>
        </p:nvSpPr>
        <p:spPr>
          <a:xfrm>
            <a:off x="11025674" y="1141354"/>
            <a:ext cx="309151" cy="309565"/>
          </a:xfrm>
          <a:prstGeom prst="ellipse">
            <a:avLst/>
          </a:prstGeom>
          <a:solidFill>
            <a:srgbClr val="236288"/>
          </a:solidFill>
          <a:ln>
            <a:noFill/>
          </a:ln>
        </p:spPr>
        <p:txBody>
          <a:bodyPr wrap="none" lIns="0" tIns="0" rIns="0" bIns="0" rtlCol="0" anchor="ctr">
            <a:noAutofit/>
          </a:bodyPr>
          <a:lstStyle>
            <a:lvl1pPr marL="0" indent="0" algn="ctr">
              <a:lnSpc>
                <a:spcPct val="100000"/>
              </a:lnSpc>
              <a:buNone/>
              <a:defRPr lang="en-US" sz="10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TEXT</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6" name="Oval 45">
            <a:extLst>
              <a:ext uri="{FF2B5EF4-FFF2-40B4-BE49-F238E27FC236}">
                <a16:creationId xmlns:a16="http://schemas.microsoft.com/office/drawing/2014/main" id="{55A03573-DC34-4D95-8ADF-3C9F9C711600}"/>
              </a:ext>
            </a:extLst>
          </p:cNvPr>
          <p:cNvSpPr/>
          <p:nvPr/>
        </p:nvSpPr>
        <p:spPr>
          <a:xfrm flipH="1">
            <a:off x="7942880"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Arrow: Chevron 63">
            <a:extLst>
              <a:ext uri="{FF2B5EF4-FFF2-40B4-BE49-F238E27FC236}">
                <a16:creationId xmlns:a16="http://schemas.microsoft.com/office/drawing/2014/main" id="{202FA022-16B2-436D-9063-805A455B0D3E}"/>
              </a:ext>
            </a:extLst>
          </p:cNvPr>
          <p:cNvSpPr/>
          <p:nvPr userDrawn="1"/>
        </p:nvSpPr>
        <p:spPr>
          <a:xfrm>
            <a:off x="2872480"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Arrow: Chevron 64">
            <a:extLst>
              <a:ext uri="{FF2B5EF4-FFF2-40B4-BE49-F238E27FC236}">
                <a16:creationId xmlns:a16="http://schemas.microsoft.com/office/drawing/2014/main" id="{EA11E645-3BE7-4274-AF49-AD538EDC11B8}"/>
              </a:ext>
            </a:extLst>
          </p:cNvPr>
          <p:cNvSpPr/>
          <p:nvPr userDrawn="1"/>
        </p:nvSpPr>
        <p:spPr>
          <a:xfrm>
            <a:off x="4981383"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6" name="Arrow: Chevron 65">
            <a:extLst>
              <a:ext uri="{FF2B5EF4-FFF2-40B4-BE49-F238E27FC236}">
                <a16:creationId xmlns:a16="http://schemas.microsoft.com/office/drawing/2014/main" id="{B7BD31DD-D649-495D-A126-C8BCC8466835}"/>
              </a:ext>
            </a:extLst>
          </p:cNvPr>
          <p:cNvSpPr/>
          <p:nvPr userDrawn="1"/>
        </p:nvSpPr>
        <p:spPr>
          <a:xfrm>
            <a:off x="7090286"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9" name="Oval 68">
            <a:extLst>
              <a:ext uri="{FF2B5EF4-FFF2-40B4-BE49-F238E27FC236}">
                <a16:creationId xmlns:a16="http://schemas.microsoft.com/office/drawing/2014/main" id="{156C2D0A-F434-40AD-A72C-E383C4461082}"/>
              </a:ext>
            </a:extLst>
          </p:cNvPr>
          <p:cNvSpPr/>
          <p:nvPr userDrawn="1"/>
        </p:nvSpPr>
        <p:spPr>
          <a:xfrm flipH="1">
            <a:off x="1486408"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 Placeholder 6">
            <a:extLst>
              <a:ext uri="{FF2B5EF4-FFF2-40B4-BE49-F238E27FC236}">
                <a16:creationId xmlns:a16="http://schemas.microsoft.com/office/drawing/2014/main" id="{05CEBBC7-F8F0-491B-8C57-3ABA8FA4FC68}"/>
              </a:ext>
            </a:extLst>
          </p:cNvPr>
          <p:cNvSpPr>
            <a:spLocks noGrp="1"/>
          </p:cNvSpPr>
          <p:nvPr userDrawn="1">
            <p:ph type="body" sz="quarter" idx="34" hasCustomPrompt="1"/>
          </p:nvPr>
        </p:nvSpPr>
        <p:spPr>
          <a:xfrm>
            <a:off x="335490" y="3459973"/>
            <a:ext cx="2917520" cy="156005"/>
          </a:xfrm>
        </p:spPr>
        <p:txBody>
          <a:bodyPr anchor="b" anchorCtr="0"/>
          <a:lstStyle>
            <a:lvl1pPr marL="0" indent="0" algn="just">
              <a:lnSpc>
                <a:spcPct val="110000"/>
              </a:lnSpc>
              <a:spcBef>
                <a:spcPts val="0"/>
              </a:spcBef>
              <a:spcAft>
                <a:spcPts val="1200"/>
              </a:spcAft>
              <a:buFont typeface="Wingdings" panose="05000000000000000000" pitchFamily="2" charset="2"/>
              <a:buNone/>
              <a:defRPr sz="1000"/>
            </a:lvl1pPr>
          </a:lstStyle>
          <a:p>
            <a:pPr lvl="0"/>
            <a:r>
              <a:rPr lang="en-US"/>
              <a:t>Edit Master text styles</a:t>
            </a:r>
          </a:p>
        </p:txBody>
      </p:sp>
      <p:sp>
        <p:nvSpPr>
          <p:cNvPr id="72" name="Text Placeholder 6">
            <a:extLst>
              <a:ext uri="{FF2B5EF4-FFF2-40B4-BE49-F238E27FC236}">
                <a16:creationId xmlns:a16="http://schemas.microsoft.com/office/drawing/2014/main" id="{5E9531B4-4C9A-4B92-8FBE-54AD98F009C1}"/>
              </a:ext>
            </a:extLst>
          </p:cNvPr>
          <p:cNvSpPr>
            <a:spLocks noGrp="1"/>
          </p:cNvSpPr>
          <p:nvPr userDrawn="1">
            <p:ph type="body" sz="quarter" idx="42" hasCustomPrompt="1"/>
          </p:nvPr>
        </p:nvSpPr>
        <p:spPr>
          <a:xfrm>
            <a:off x="2617411" y="4531355"/>
            <a:ext cx="2657993" cy="156005"/>
          </a:xfrm>
        </p:spPr>
        <p:txBody>
          <a:bodyPr/>
          <a:lstStyle>
            <a:lvl1pPr marL="0" indent="0" algn="just">
              <a:lnSpc>
                <a:spcPct val="110000"/>
              </a:lnSpc>
              <a:spcBef>
                <a:spcPts val="0"/>
              </a:spcBef>
              <a:spcAft>
                <a:spcPts val="1200"/>
              </a:spcAft>
              <a:buFont typeface="Wingdings" panose="05000000000000000000" pitchFamily="2" charset="2"/>
              <a:buNone/>
              <a:defRPr sz="1000"/>
            </a:lvl1pPr>
          </a:lstStyle>
          <a:p>
            <a:pPr lvl="0"/>
            <a:r>
              <a:rPr lang="en-US"/>
              <a:t>Edit Master text styles</a:t>
            </a:r>
          </a:p>
        </p:txBody>
      </p:sp>
      <p:sp>
        <p:nvSpPr>
          <p:cNvPr id="73" name="Text Placeholder 6">
            <a:extLst>
              <a:ext uri="{FF2B5EF4-FFF2-40B4-BE49-F238E27FC236}">
                <a16:creationId xmlns:a16="http://schemas.microsoft.com/office/drawing/2014/main" id="{CF4F3A7D-51AF-4E5A-BF62-4030EEB194ED}"/>
              </a:ext>
            </a:extLst>
          </p:cNvPr>
          <p:cNvSpPr>
            <a:spLocks noGrp="1"/>
          </p:cNvSpPr>
          <p:nvPr userDrawn="1">
            <p:ph type="body" sz="quarter" idx="43" hasCustomPrompt="1"/>
          </p:nvPr>
        </p:nvSpPr>
        <p:spPr>
          <a:xfrm>
            <a:off x="6921726" y="4531355"/>
            <a:ext cx="2657993" cy="156005"/>
          </a:xfrm>
        </p:spPr>
        <p:txBody>
          <a:bodyPr/>
          <a:lstStyle>
            <a:lvl1pPr marL="0" indent="0" algn="just">
              <a:lnSpc>
                <a:spcPct val="110000"/>
              </a:lnSpc>
              <a:spcBef>
                <a:spcPts val="0"/>
              </a:spcBef>
              <a:spcAft>
                <a:spcPts val="1200"/>
              </a:spcAft>
              <a:buFont typeface="Wingdings" panose="05000000000000000000" pitchFamily="2" charset="2"/>
              <a:buNone/>
              <a:defRPr sz="1000"/>
            </a:lvl1pPr>
          </a:lstStyle>
          <a:p>
            <a:pPr lvl="0"/>
            <a:r>
              <a:rPr lang="en-US"/>
              <a:t>Edit Master text styles</a:t>
            </a:r>
          </a:p>
        </p:txBody>
      </p:sp>
      <p:sp>
        <p:nvSpPr>
          <p:cNvPr id="74" name="Text Placeholder 6">
            <a:extLst>
              <a:ext uri="{FF2B5EF4-FFF2-40B4-BE49-F238E27FC236}">
                <a16:creationId xmlns:a16="http://schemas.microsoft.com/office/drawing/2014/main" id="{BA5DB107-21C4-434B-83F5-228C25F27BB3}"/>
              </a:ext>
            </a:extLst>
          </p:cNvPr>
          <p:cNvSpPr>
            <a:spLocks noGrp="1"/>
          </p:cNvSpPr>
          <p:nvPr userDrawn="1">
            <p:ph type="body" sz="quarter" idx="44" hasCustomPrompt="1"/>
          </p:nvPr>
        </p:nvSpPr>
        <p:spPr>
          <a:xfrm>
            <a:off x="4639805" y="3459973"/>
            <a:ext cx="2917520" cy="156005"/>
          </a:xfrm>
        </p:spPr>
        <p:txBody>
          <a:bodyPr anchor="b" anchorCtr="0"/>
          <a:lstStyle>
            <a:lvl1pPr marL="0" indent="0" algn="just">
              <a:lnSpc>
                <a:spcPct val="110000"/>
              </a:lnSpc>
              <a:spcBef>
                <a:spcPts val="0"/>
              </a:spcBef>
              <a:spcAft>
                <a:spcPts val="1200"/>
              </a:spcAft>
              <a:buFont typeface="Wingdings" panose="05000000000000000000" pitchFamily="2" charset="2"/>
              <a:buNone/>
              <a:defRPr sz="1000"/>
            </a:lvl1pPr>
          </a:lstStyle>
          <a:p>
            <a:pPr lvl="0"/>
            <a:r>
              <a:rPr lang="en-US"/>
              <a:t>Edit Master text styles</a:t>
            </a:r>
          </a:p>
        </p:txBody>
      </p:sp>
      <p:sp>
        <p:nvSpPr>
          <p:cNvPr id="75" name="Text Placeholder 6">
            <a:extLst>
              <a:ext uri="{FF2B5EF4-FFF2-40B4-BE49-F238E27FC236}">
                <a16:creationId xmlns:a16="http://schemas.microsoft.com/office/drawing/2014/main" id="{D3B35986-6750-4A09-8E34-47550FA5EB45}"/>
              </a:ext>
            </a:extLst>
          </p:cNvPr>
          <p:cNvSpPr>
            <a:spLocks noGrp="1"/>
          </p:cNvSpPr>
          <p:nvPr userDrawn="1">
            <p:ph type="body" sz="quarter" idx="45" hasCustomPrompt="1"/>
          </p:nvPr>
        </p:nvSpPr>
        <p:spPr>
          <a:xfrm>
            <a:off x="1390293" y="453135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6" name="Text Placeholder 6">
            <a:extLst>
              <a:ext uri="{FF2B5EF4-FFF2-40B4-BE49-F238E27FC236}">
                <a16:creationId xmlns:a16="http://schemas.microsoft.com/office/drawing/2014/main" id="{6F6D707B-9A15-4AC5-824A-F88CEFA24618}"/>
              </a:ext>
            </a:extLst>
          </p:cNvPr>
          <p:cNvSpPr>
            <a:spLocks noGrp="1"/>
          </p:cNvSpPr>
          <p:nvPr userDrawn="1">
            <p:ph type="body" sz="quarter" idx="46" hasCustomPrompt="1"/>
          </p:nvPr>
        </p:nvSpPr>
        <p:spPr>
          <a:xfrm>
            <a:off x="3542450"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6"/>
                </a:solidFill>
              </a:defRPr>
            </a:lvl1pPr>
          </a:lstStyle>
          <a:p>
            <a:pPr lvl="0"/>
            <a:r>
              <a:rPr lang="en-US"/>
              <a:t>TEXT</a:t>
            </a:r>
          </a:p>
        </p:txBody>
      </p:sp>
      <p:sp>
        <p:nvSpPr>
          <p:cNvPr id="77" name="Text Placeholder 6">
            <a:extLst>
              <a:ext uri="{FF2B5EF4-FFF2-40B4-BE49-F238E27FC236}">
                <a16:creationId xmlns:a16="http://schemas.microsoft.com/office/drawing/2014/main" id="{3BCD5D3E-1996-487A-91B2-E9C8E7898765}"/>
              </a:ext>
            </a:extLst>
          </p:cNvPr>
          <p:cNvSpPr>
            <a:spLocks noGrp="1"/>
          </p:cNvSpPr>
          <p:nvPr userDrawn="1">
            <p:ph type="body" sz="quarter" idx="47" hasCustomPrompt="1"/>
          </p:nvPr>
        </p:nvSpPr>
        <p:spPr>
          <a:xfrm>
            <a:off x="7846765" y="3382235"/>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4"/>
                </a:solidFill>
              </a:defRPr>
            </a:lvl1pPr>
          </a:lstStyle>
          <a:p>
            <a:pPr lvl="0"/>
            <a:r>
              <a:rPr lang="en-US"/>
              <a:t>TEXT</a:t>
            </a:r>
          </a:p>
        </p:txBody>
      </p:sp>
      <p:sp>
        <p:nvSpPr>
          <p:cNvPr id="78" name="Text Placeholder 6">
            <a:extLst>
              <a:ext uri="{FF2B5EF4-FFF2-40B4-BE49-F238E27FC236}">
                <a16:creationId xmlns:a16="http://schemas.microsoft.com/office/drawing/2014/main" id="{B85FC8BA-22D8-45EC-AEDF-A6605EC9CD72}"/>
              </a:ext>
            </a:extLst>
          </p:cNvPr>
          <p:cNvSpPr>
            <a:spLocks noGrp="1"/>
          </p:cNvSpPr>
          <p:nvPr userDrawn="1">
            <p:ph type="body" sz="quarter" idx="48" hasCustomPrompt="1"/>
          </p:nvPr>
        </p:nvSpPr>
        <p:spPr>
          <a:xfrm>
            <a:off x="5694608" y="4573704"/>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79" name="Text Placeholder 6">
            <a:extLst>
              <a:ext uri="{FF2B5EF4-FFF2-40B4-BE49-F238E27FC236}">
                <a16:creationId xmlns:a16="http://schemas.microsoft.com/office/drawing/2014/main" id="{DB43C15C-71A6-491C-9B3F-62B2C083C1B6}"/>
              </a:ext>
            </a:extLst>
          </p:cNvPr>
          <p:cNvSpPr>
            <a:spLocks noGrp="1"/>
          </p:cNvSpPr>
          <p:nvPr userDrawn="1">
            <p:ph type="body" sz="quarter" idx="49" hasCustomPrompt="1"/>
          </p:nvPr>
        </p:nvSpPr>
        <p:spPr>
          <a:xfrm>
            <a:off x="6514879" y="1203802"/>
            <a:ext cx="1336904"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0" name="Text Placeholder 6">
            <a:extLst>
              <a:ext uri="{FF2B5EF4-FFF2-40B4-BE49-F238E27FC236}">
                <a16:creationId xmlns:a16="http://schemas.microsoft.com/office/drawing/2014/main" id="{B1D2E646-AA68-40E1-958B-53CFBA8B8835}"/>
              </a:ext>
            </a:extLst>
          </p:cNvPr>
          <p:cNvSpPr>
            <a:spLocks noGrp="1"/>
          </p:cNvSpPr>
          <p:nvPr userDrawn="1">
            <p:ph type="body" sz="quarter" idx="50" hasCustomPrompt="1"/>
          </p:nvPr>
        </p:nvSpPr>
        <p:spPr>
          <a:xfrm>
            <a:off x="8468696" y="1203803"/>
            <a:ext cx="110286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2" name="Text Placeholder 6">
            <a:extLst>
              <a:ext uri="{FF2B5EF4-FFF2-40B4-BE49-F238E27FC236}">
                <a16:creationId xmlns:a16="http://schemas.microsoft.com/office/drawing/2014/main" id="{EC3D199E-2289-4AF4-8156-3E828C7B5FF7}"/>
              </a:ext>
            </a:extLst>
          </p:cNvPr>
          <p:cNvSpPr>
            <a:spLocks noGrp="1"/>
          </p:cNvSpPr>
          <p:nvPr userDrawn="1">
            <p:ph type="body" sz="quarter" idx="51" hasCustomPrompt="1"/>
          </p:nvPr>
        </p:nvSpPr>
        <p:spPr>
          <a:xfrm>
            <a:off x="10188475" y="1203803"/>
            <a:ext cx="585096"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83" name="Text Placeholder 6">
            <a:extLst>
              <a:ext uri="{FF2B5EF4-FFF2-40B4-BE49-F238E27FC236}">
                <a16:creationId xmlns:a16="http://schemas.microsoft.com/office/drawing/2014/main" id="{D7C918CD-4AFB-4525-9B8B-30FC4EA68DFB}"/>
              </a:ext>
            </a:extLst>
          </p:cNvPr>
          <p:cNvSpPr>
            <a:spLocks noGrp="1"/>
          </p:cNvSpPr>
          <p:nvPr userDrawn="1">
            <p:ph type="body" sz="quarter" idx="52" hasCustomPrompt="1"/>
          </p:nvPr>
        </p:nvSpPr>
        <p:spPr>
          <a:xfrm>
            <a:off x="11390484" y="1203803"/>
            <a:ext cx="663643" cy="153888"/>
          </a:xfrm>
        </p:spPr>
        <p:txBody>
          <a:bodyPr anchor="ctr" anchorCtr="0"/>
          <a:lstStyle>
            <a:lvl1pPr marL="0" indent="0" algn="just">
              <a:lnSpc>
                <a:spcPct val="100000"/>
              </a:lnSpc>
              <a:spcBef>
                <a:spcPts val="0"/>
              </a:spcBef>
              <a:spcAft>
                <a:spcPts val="1500"/>
              </a:spcAft>
              <a:buFont typeface="Wingdings" panose="05000000000000000000" pitchFamily="2" charset="2"/>
              <a:buNone/>
              <a:defRPr sz="1000"/>
            </a:lvl1pPr>
          </a:lstStyle>
          <a:p>
            <a:pPr lvl="0"/>
            <a:r>
              <a:rPr lang="en-US"/>
              <a:t>Text</a:t>
            </a:r>
          </a:p>
        </p:txBody>
      </p:sp>
      <p:sp>
        <p:nvSpPr>
          <p:cNvPr id="92" name="Text Placeholder 3">
            <a:extLst>
              <a:ext uri="{FF2B5EF4-FFF2-40B4-BE49-F238E27FC236}">
                <a16:creationId xmlns:a16="http://schemas.microsoft.com/office/drawing/2014/main" id="{A9C98F27-7576-4FCF-AEB9-1E773ECA02B3}"/>
              </a:ext>
            </a:extLst>
          </p:cNvPr>
          <p:cNvSpPr>
            <a:spLocks noGrp="1"/>
          </p:cNvSpPr>
          <p:nvPr userDrawn="1">
            <p:ph type="body" sz="quarter" idx="57" hasCustomPrompt="1"/>
          </p:nvPr>
        </p:nvSpPr>
        <p:spPr>
          <a:xfrm>
            <a:off x="1540617"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95" name="Text Placeholder 3">
            <a:extLst>
              <a:ext uri="{FF2B5EF4-FFF2-40B4-BE49-F238E27FC236}">
                <a16:creationId xmlns:a16="http://schemas.microsoft.com/office/drawing/2014/main" id="{E464D21B-AA82-4487-9176-A2D86C14CE2F}"/>
              </a:ext>
            </a:extLst>
          </p:cNvPr>
          <p:cNvSpPr>
            <a:spLocks noGrp="1"/>
          </p:cNvSpPr>
          <p:nvPr userDrawn="1">
            <p:ph type="body" sz="quarter" idx="60" hasCustomPrompt="1"/>
          </p:nvPr>
        </p:nvSpPr>
        <p:spPr>
          <a:xfrm>
            <a:off x="7997089" y="3823148"/>
            <a:ext cx="507266" cy="507266"/>
          </a:xfrm>
          <a:prstGeom prst="ellipse">
            <a:avLst/>
          </a:prstGeom>
          <a:solidFill>
            <a:schemeClr val="accent4"/>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P</a:t>
            </a:r>
          </a:p>
        </p:txBody>
      </p:sp>
      <p:sp>
        <p:nvSpPr>
          <p:cNvPr id="57" name="Arrow: Chevron 56">
            <a:extLst>
              <a:ext uri="{FF2B5EF4-FFF2-40B4-BE49-F238E27FC236}">
                <a16:creationId xmlns:a16="http://schemas.microsoft.com/office/drawing/2014/main" id="{10832486-3474-46BB-A7DE-5D872A3E15AF}"/>
              </a:ext>
            </a:extLst>
          </p:cNvPr>
          <p:cNvSpPr/>
          <p:nvPr userDrawn="1"/>
        </p:nvSpPr>
        <p:spPr>
          <a:xfrm>
            <a:off x="9199190" y="3990976"/>
            <a:ext cx="125460" cy="201750"/>
          </a:xfrm>
          <a:prstGeom prst="chevron">
            <a:avLst>
              <a:gd name="adj" fmla="val 628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Text Placeholder 6">
            <a:extLst>
              <a:ext uri="{FF2B5EF4-FFF2-40B4-BE49-F238E27FC236}">
                <a16:creationId xmlns:a16="http://schemas.microsoft.com/office/drawing/2014/main" id="{F3A1ECF3-D702-45D7-AB29-D509F59BCF33}"/>
              </a:ext>
            </a:extLst>
          </p:cNvPr>
          <p:cNvSpPr>
            <a:spLocks noGrp="1"/>
          </p:cNvSpPr>
          <p:nvPr userDrawn="1">
            <p:ph type="body" sz="quarter" idx="61" hasCustomPrompt="1"/>
          </p:nvPr>
        </p:nvSpPr>
        <p:spPr>
          <a:xfrm>
            <a:off x="8944122" y="3459973"/>
            <a:ext cx="2917520" cy="156005"/>
          </a:xfrm>
        </p:spPr>
        <p:txBody>
          <a:bodyPr anchor="b" anchorCtr="0"/>
          <a:lstStyle>
            <a:lvl1pPr marL="0" indent="0" algn="just">
              <a:lnSpc>
                <a:spcPct val="110000"/>
              </a:lnSpc>
              <a:spcBef>
                <a:spcPts val="0"/>
              </a:spcBef>
              <a:spcAft>
                <a:spcPts val="1200"/>
              </a:spcAft>
              <a:buFont typeface="Wingdings" panose="05000000000000000000" pitchFamily="2" charset="2"/>
              <a:buNone/>
              <a:defRPr sz="1000"/>
            </a:lvl1pPr>
          </a:lstStyle>
          <a:p>
            <a:pPr lvl="0"/>
            <a:r>
              <a:rPr lang="en-US"/>
              <a:t>Edit Master text styles</a:t>
            </a:r>
          </a:p>
        </p:txBody>
      </p:sp>
      <p:sp>
        <p:nvSpPr>
          <p:cNvPr id="67" name="Text Placeholder 6">
            <a:extLst>
              <a:ext uri="{FF2B5EF4-FFF2-40B4-BE49-F238E27FC236}">
                <a16:creationId xmlns:a16="http://schemas.microsoft.com/office/drawing/2014/main" id="{149E6323-5235-4275-ADDF-4917DB589008}"/>
              </a:ext>
            </a:extLst>
          </p:cNvPr>
          <p:cNvSpPr>
            <a:spLocks noGrp="1"/>
          </p:cNvSpPr>
          <p:nvPr userDrawn="1">
            <p:ph type="body" sz="quarter" idx="62" hasCustomPrompt="1"/>
          </p:nvPr>
        </p:nvSpPr>
        <p:spPr>
          <a:xfrm>
            <a:off x="9998925" y="4573704"/>
            <a:ext cx="807914" cy="218393"/>
          </a:xfrm>
        </p:spPr>
        <p:txBody>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TEXT</a:t>
            </a:r>
          </a:p>
        </p:txBody>
      </p:sp>
      <p:sp>
        <p:nvSpPr>
          <p:cNvPr id="89" name="Text Placeholder 6">
            <a:extLst>
              <a:ext uri="{FF2B5EF4-FFF2-40B4-BE49-F238E27FC236}">
                <a16:creationId xmlns:a16="http://schemas.microsoft.com/office/drawing/2014/main" id="{B66D7FBE-B5E7-4CA3-AAAA-FF95C2D01370}"/>
              </a:ext>
            </a:extLst>
          </p:cNvPr>
          <p:cNvSpPr>
            <a:spLocks noGrp="1"/>
          </p:cNvSpPr>
          <p:nvPr userDrawn="1">
            <p:ph type="body" sz="quarter" idx="64" hasCustomPrompt="1"/>
          </p:nvPr>
        </p:nvSpPr>
        <p:spPr>
          <a:xfrm>
            <a:off x="1441134"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90" name="Text Placeholder 3">
            <a:extLst>
              <a:ext uri="{FF2B5EF4-FFF2-40B4-BE49-F238E27FC236}">
                <a16:creationId xmlns:a16="http://schemas.microsoft.com/office/drawing/2014/main" id="{F305CE1F-B350-46E0-9551-60252A03DE70}"/>
              </a:ext>
            </a:extLst>
          </p:cNvPr>
          <p:cNvSpPr>
            <a:spLocks noGrp="1"/>
          </p:cNvSpPr>
          <p:nvPr userDrawn="1">
            <p:ph type="body" sz="quarter" idx="58" hasCustomPrompt="1"/>
          </p:nvPr>
        </p:nvSpPr>
        <p:spPr>
          <a:xfrm>
            <a:off x="3692774" y="3823148"/>
            <a:ext cx="507266" cy="507266"/>
          </a:xfrm>
          <a:prstGeom prst="ellipse">
            <a:avLst/>
          </a:prstGeom>
          <a:solidFill>
            <a:schemeClr val="accent6"/>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E</a:t>
            </a:r>
          </a:p>
        </p:txBody>
      </p:sp>
      <p:sp>
        <p:nvSpPr>
          <p:cNvPr id="91" name="Text Placeholder 6">
            <a:extLst>
              <a:ext uri="{FF2B5EF4-FFF2-40B4-BE49-F238E27FC236}">
                <a16:creationId xmlns:a16="http://schemas.microsoft.com/office/drawing/2014/main" id="{0A267A17-34E5-4B13-BB63-2AE1823A583D}"/>
              </a:ext>
            </a:extLst>
          </p:cNvPr>
          <p:cNvSpPr>
            <a:spLocks noGrp="1"/>
          </p:cNvSpPr>
          <p:nvPr userDrawn="1">
            <p:ph type="body" sz="quarter" idx="65" hasCustomPrompt="1"/>
          </p:nvPr>
        </p:nvSpPr>
        <p:spPr>
          <a:xfrm>
            <a:off x="3593291" y="3723665"/>
            <a:ext cx="706232" cy="706232"/>
          </a:xfrm>
          <a:prstGeom prst="donut">
            <a:avLst>
              <a:gd name="adj" fmla="val 6760"/>
            </a:avLst>
          </a:prstGeom>
          <a:solidFill>
            <a:schemeClr val="accent6"/>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96" name="Oval 95">
            <a:extLst>
              <a:ext uri="{FF2B5EF4-FFF2-40B4-BE49-F238E27FC236}">
                <a16:creationId xmlns:a16="http://schemas.microsoft.com/office/drawing/2014/main" id="{A52A34B8-174D-49DB-B625-43489050FA9A}"/>
              </a:ext>
            </a:extLst>
          </p:cNvPr>
          <p:cNvSpPr/>
          <p:nvPr userDrawn="1"/>
        </p:nvSpPr>
        <p:spPr>
          <a:xfrm flipH="1">
            <a:off x="5790723"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Text Placeholder 3">
            <a:extLst>
              <a:ext uri="{FF2B5EF4-FFF2-40B4-BE49-F238E27FC236}">
                <a16:creationId xmlns:a16="http://schemas.microsoft.com/office/drawing/2014/main" id="{74D13BB1-DD3A-4737-82E9-356F845C880C}"/>
              </a:ext>
            </a:extLst>
          </p:cNvPr>
          <p:cNvSpPr>
            <a:spLocks noGrp="1"/>
          </p:cNvSpPr>
          <p:nvPr userDrawn="1">
            <p:ph type="body" sz="quarter" idx="66" hasCustomPrompt="1"/>
          </p:nvPr>
        </p:nvSpPr>
        <p:spPr>
          <a:xfrm>
            <a:off x="5844932" y="3823148"/>
            <a:ext cx="507266" cy="507266"/>
          </a:xfrm>
          <a:prstGeom prst="ellipse">
            <a:avLst/>
          </a:prstGeom>
          <a:solidFill>
            <a:schemeClr val="accent3"/>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I</a:t>
            </a:r>
          </a:p>
        </p:txBody>
      </p:sp>
      <p:sp>
        <p:nvSpPr>
          <p:cNvPr id="98" name="Text Placeholder 6">
            <a:extLst>
              <a:ext uri="{FF2B5EF4-FFF2-40B4-BE49-F238E27FC236}">
                <a16:creationId xmlns:a16="http://schemas.microsoft.com/office/drawing/2014/main" id="{1BBA2674-F2C3-40A0-A888-5AC8AAD4696B}"/>
              </a:ext>
            </a:extLst>
          </p:cNvPr>
          <p:cNvSpPr>
            <a:spLocks noGrp="1"/>
          </p:cNvSpPr>
          <p:nvPr userDrawn="1">
            <p:ph type="body" sz="quarter" idx="67" hasCustomPrompt="1"/>
          </p:nvPr>
        </p:nvSpPr>
        <p:spPr>
          <a:xfrm>
            <a:off x="5745449" y="3723665"/>
            <a:ext cx="706232" cy="706232"/>
          </a:xfrm>
          <a:prstGeom prst="donut">
            <a:avLst>
              <a:gd name="adj" fmla="val 6760"/>
            </a:avLst>
          </a:prstGeom>
          <a:solidFill>
            <a:schemeClr val="accent3"/>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99" name="Text Placeholder 6">
            <a:extLst>
              <a:ext uri="{FF2B5EF4-FFF2-40B4-BE49-F238E27FC236}">
                <a16:creationId xmlns:a16="http://schemas.microsoft.com/office/drawing/2014/main" id="{813BD3EF-F9A3-4614-9D30-7D16FEC3095A}"/>
              </a:ext>
            </a:extLst>
          </p:cNvPr>
          <p:cNvSpPr>
            <a:spLocks noGrp="1"/>
          </p:cNvSpPr>
          <p:nvPr>
            <p:ph type="body" sz="quarter" idx="68" hasCustomPrompt="1"/>
          </p:nvPr>
        </p:nvSpPr>
        <p:spPr>
          <a:xfrm>
            <a:off x="7897606" y="3723665"/>
            <a:ext cx="706232" cy="706232"/>
          </a:xfrm>
          <a:prstGeom prst="donut">
            <a:avLst>
              <a:gd name="adj" fmla="val 6760"/>
            </a:avLst>
          </a:prstGeom>
          <a:solidFill>
            <a:schemeClr val="accent4"/>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
        <p:nvSpPr>
          <p:cNvPr id="100" name="Oval 99">
            <a:extLst>
              <a:ext uri="{FF2B5EF4-FFF2-40B4-BE49-F238E27FC236}">
                <a16:creationId xmlns:a16="http://schemas.microsoft.com/office/drawing/2014/main" id="{300FFB9D-7A58-4CA3-96EC-06332255A07A}"/>
              </a:ext>
            </a:extLst>
          </p:cNvPr>
          <p:cNvSpPr/>
          <p:nvPr userDrawn="1"/>
        </p:nvSpPr>
        <p:spPr>
          <a:xfrm flipH="1">
            <a:off x="10095040" y="3768940"/>
            <a:ext cx="615684" cy="615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 Placeholder 3">
            <a:extLst>
              <a:ext uri="{FF2B5EF4-FFF2-40B4-BE49-F238E27FC236}">
                <a16:creationId xmlns:a16="http://schemas.microsoft.com/office/drawing/2014/main" id="{4455AEDB-18E6-4C99-8924-680CDD80B944}"/>
              </a:ext>
            </a:extLst>
          </p:cNvPr>
          <p:cNvSpPr>
            <a:spLocks noGrp="1"/>
          </p:cNvSpPr>
          <p:nvPr>
            <p:ph type="body" sz="quarter" idx="69" hasCustomPrompt="1"/>
          </p:nvPr>
        </p:nvSpPr>
        <p:spPr>
          <a:xfrm>
            <a:off x="10149249" y="3823148"/>
            <a:ext cx="507266" cy="507266"/>
          </a:xfrm>
          <a:prstGeom prst="ellipse">
            <a:avLst/>
          </a:prstGeom>
          <a:solidFill>
            <a:schemeClr val="accent1"/>
          </a:solidFill>
          <a:ln>
            <a:noFill/>
          </a:ln>
        </p:spPr>
        <p:txBody>
          <a:bodyPr wrap="none" lIns="0" tIns="0" rIns="0" bIns="0" rtlCol="0" anchor="ctr">
            <a:noAutofit/>
          </a:bodyPr>
          <a:lstStyle>
            <a:lvl1pPr marL="0" indent="0" algn="ctr">
              <a:buNone/>
              <a:defRPr lang="en-US" sz="2400" smtClean="0">
                <a:solidFill>
                  <a:schemeClr val="bg1"/>
                </a:solidFill>
              </a:defRPr>
            </a:lvl1pPr>
            <a:lvl2pPr marL="177800" indent="0">
              <a:buNone/>
              <a:defRPr lang="en-US" smtClean="0"/>
            </a:lvl2pPr>
            <a:lvl3pPr>
              <a:defRPr lang="en-US" smtClean="0"/>
            </a:lvl3pPr>
            <a:lvl4pPr>
              <a:defRPr lang="en-US" smtClean="0"/>
            </a:lvl4pPr>
            <a:lvl5pPr>
              <a:defRPr lang="en-US"/>
            </a:lvl5pPr>
          </a:lstStyle>
          <a:p>
            <a:pPr marL="0" lvl="0" algn="ctr"/>
            <a:r>
              <a:rPr lang="en-US"/>
              <a:t>M</a:t>
            </a:r>
          </a:p>
        </p:txBody>
      </p:sp>
      <p:sp>
        <p:nvSpPr>
          <p:cNvPr id="102" name="Text Placeholder 6">
            <a:extLst>
              <a:ext uri="{FF2B5EF4-FFF2-40B4-BE49-F238E27FC236}">
                <a16:creationId xmlns:a16="http://schemas.microsoft.com/office/drawing/2014/main" id="{A0EDC74B-C5C6-4438-A588-5D7D0D9D5C91}"/>
              </a:ext>
            </a:extLst>
          </p:cNvPr>
          <p:cNvSpPr>
            <a:spLocks noGrp="1"/>
          </p:cNvSpPr>
          <p:nvPr>
            <p:ph type="body" sz="quarter" idx="70" hasCustomPrompt="1"/>
          </p:nvPr>
        </p:nvSpPr>
        <p:spPr>
          <a:xfrm>
            <a:off x="10049766" y="3723665"/>
            <a:ext cx="706232" cy="706232"/>
          </a:xfrm>
          <a:prstGeom prst="donut">
            <a:avLst>
              <a:gd name="adj" fmla="val 6760"/>
            </a:avLst>
          </a:prstGeom>
          <a:solidFill>
            <a:schemeClr val="accent1"/>
          </a:solidFill>
        </p:spPr>
        <p:txBody>
          <a:bodyPr>
            <a:noAutofit/>
          </a:bodyPr>
          <a:lstStyle>
            <a:lvl1pPr marL="0" indent="0" algn="ctr">
              <a:lnSpc>
                <a:spcPct val="100000"/>
              </a:lnSpc>
              <a:spcBef>
                <a:spcPts val="0"/>
              </a:spcBef>
              <a:spcAft>
                <a:spcPts val="1500"/>
              </a:spcAft>
              <a:buFont typeface="Wingdings" panose="05000000000000000000" pitchFamily="2" charset="2"/>
              <a:buNone/>
              <a:defRPr sz="1400" b="1">
                <a:solidFill>
                  <a:schemeClr val="accent3"/>
                </a:solidFill>
              </a:defRPr>
            </a:lvl1pPr>
          </a:lstStyle>
          <a:p>
            <a:pPr lvl="0"/>
            <a:r>
              <a:rPr lang="en-US"/>
              <a:t> </a:t>
            </a:r>
          </a:p>
        </p:txBody>
      </p:sp>
    </p:spTree>
    <p:extLst>
      <p:ext uri="{BB962C8B-B14F-4D97-AF65-F5344CB8AC3E}">
        <p14:creationId xmlns:p14="http://schemas.microsoft.com/office/powerpoint/2010/main" val="22877696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F2AD2F-3586-4171-9A3E-983E9A3085C3}"/>
              </a:ext>
            </a:extLst>
          </p:cNvPr>
          <p:cNvGraphicFramePr>
            <a:graphicFrameLocks noChangeAspect="1"/>
          </p:cNvGraphicFramePr>
          <p:nvPr userDrawn="1">
            <p:custDataLst>
              <p:tags r:id="rId1"/>
            </p:custDataLst>
            <p:extLst>
              <p:ext uri="{D42A27DB-BD31-4B8C-83A1-F6EECF244321}">
                <p14:modId xmlns:p14="http://schemas.microsoft.com/office/powerpoint/2010/main" val="409449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3EF2AD2F-3586-4171-9A3E-983E9A3085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CF42CF-BEE1-4CFF-800C-67324B1AF6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51" name="Rectangle 50">
            <a:extLst>
              <a:ext uri="{FF2B5EF4-FFF2-40B4-BE49-F238E27FC236}">
                <a16:creationId xmlns:a16="http://schemas.microsoft.com/office/drawing/2014/main" id="{B7F58A00-151F-41B8-9841-B46554F0BC72}"/>
              </a:ext>
            </a:extLst>
          </p:cNvPr>
          <p:cNvSpPr/>
          <p:nvPr userDrawn="1"/>
        </p:nvSpPr>
        <p:spPr>
          <a:xfrm>
            <a:off x="7251240" y="1248858"/>
            <a:ext cx="4593769" cy="49045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8B5F7902-6A75-480C-B223-AA621A476E55}"/>
              </a:ext>
            </a:extLst>
          </p:cNvPr>
          <p:cNvSpPr>
            <a:spLocks noGrp="1"/>
          </p:cNvSpPr>
          <p:nvPr>
            <p:ph type="pic" sz="quarter" idx="75"/>
          </p:nvPr>
        </p:nvSpPr>
        <p:spPr>
          <a:xfrm>
            <a:off x="8708721" y="1327528"/>
            <a:ext cx="1681962" cy="457650"/>
          </a:xfrm>
        </p:spPr>
        <p:txBody>
          <a:bodyPr anchor="ctr">
            <a:noAutofit/>
          </a:bodyPr>
          <a:lstStyle>
            <a:lvl1pPr marL="0" indent="0" algn="ctr">
              <a:buNone/>
              <a:defRPr sz="1200"/>
            </a:lvl1pPr>
          </a:lstStyle>
          <a:p>
            <a:endParaRPr lang="en-US" dirty="0"/>
          </a:p>
        </p:txBody>
      </p:sp>
      <p:sp>
        <p:nvSpPr>
          <p:cNvPr id="53" name="Rectangle 52">
            <a:extLst>
              <a:ext uri="{FF2B5EF4-FFF2-40B4-BE49-F238E27FC236}">
                <a16:creationId xmlns:a16="http://schemas.microsoft.com/office/drawing/2014/main" id="{E3F961D0-6F76-4A4B-98A7-236B6FBBA082}"/>
              </a:ext>
            </a:extLst>
          </p:cNvPr>
          <p:cNvSpPr/>
          <p:nvPr/>
        </p:nvSpPr>
        <p:spPr>
          <a:xfrm>
            <a:off x="2620267" y="5266524"/>
            <a:ext cx="2024539" cy="8868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BE40CA7E-C016-4267-8283-6D3A2BE779AE}"/>
              </a:ext>
            </a:extLst>
          </p:cNvPr>
          <p:cNvSpPr/>
          <p:nvPr/>
        </p:nvSpPr>
        <p:spPr>
          <a:xfrm>
            <a:off x="345282" y="5266524"/>
            <a:ext cx="2024539" cy="8868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 Placeholder 4">
            <a:extLst>
              <a:ext uri="{FF2B5EF4-FFF2-40B4-BE49-F238E27FC236}">
                <a16:creationId xmlns:a16="http://schemas.microsoft.com/office/drawing/2014/main" id="{832A2343-82D9-4A33-B7BF-76E6A21013FC}"/>
              </a:ext>
            </a:extLst>
          </p:cNvPr>
          <p:cNvSpPr>
            <a:spLocks noGrp="1"/>
          </p:cNvSpPr>
          <p:nvPr userDrawn="1">
            <p:ph type="body" sz="quarter" idx="59" hasCustomPrompt="1"/>
          </p:nvPr>
        </p:nvSpPr>
        <p:spPr>
          <a:xfrm>
            <a:off x="988617" y="5602251"/>
            <a:ext cx="1281768" cy="215444"/>
          </a:xfrm>
        </p:spPr>
        <p:txBody>
          <a:bodyPr wrap="square" lIns="0" tIns="0" rIns="0" bIns="0" anchor="ctr">
            <a:spAutoFit/>
          </a:bodyPr>
          <a:lstStyle>
            <a:lvl1pPr marL="0" indent="0">
              <a:lnSpc>
                <a:spcPct val="100000"/>
              </a:lnSpc>
              <a:spcBef>
                <a:spcPts val="0"/>
              </a:spcBef>
              <a:spcAft>
                <a:spcPts val="0"/>
              </a:spcAft>
              <a:buNone/>
              <a:defRPr lang="en-US" sz="1400" b="0" baseline="0" dirty="0">
                <a:solidFill>
                  <a:schemeClr val="bg1"/>
                </a:solidFill>
              </a:defRPr>
            </a:lvl1pPr>
          </a:lstStyle>
          <a:p>
            <a:pPr marL="0" lvl="0">
              <a:spcAft>
                <a:spcPts val="500"/>
              </a:spcAft>
            </a:pPr>
            <a:r>
              <a:rPr lang="en-US"/>
              <a:t>Text</a:t>
            </a:r>
          </a:p>
        </p:txBody>
      </p:sp>
      <p:sp>
        <p:nvSpPr>
          <p:cNvPr id="93" name="Picture Placeholder 2">
            <a:extLst>
              <a:ext uri="{FF2B5EF4-FFF2-40B4-BE49-F238E27FC236}">
                <a16:creationId xmlns:a16="http://schemas.microsoft.com/office/drawing/2014/main" id="{A16687A5-D3A0-4252-8C18-82032B450199}"/>
              </a:ext>
            </a:extLst>
          </p:cNvPr>
          <p:cNvSpPr>
            <a:spLocks noGrp="1"/>
          </p:cNvSpPr>
          <p:nvPr userDrawn="1">
            <p:ph type="pic" sz="quarter" idx="60" hasCustomPrompt="1"/>
          </p:nvPr>
        </p:nvSpPr>
        <p:spPr>
          <a:xfrm>
            <a:off x="449218" y="5492719"/>
            <a:ext cx="434508" cy="43450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4" name="Text Placeholder 4">
            <a:extLst>
              <a:ext uri="{FF2B5EF4-FFF2-40B4-BE49-F238E27FC236}">
                <a16:creationId xmlns:a16="http://schemas.microsoft.com/office/drawing/2014/main" id="{3EF60594-F4DF-4C5A-832C-6F1261E159AC}"/>
              </a:ext>
            </a:extLst>
          </p:cNvPr>
          <p:cNvSpPr>
            <a:spLocks noGrp="1"/>
          </p:cNvSpPr>
          <p:nvPr userDrawn="1">
            <p:ph type="body" sz="quarter" idx="61" hasCustomPrompt="1"/>
          </p:nvPr>
        </p:nvSpPr>
        <p:spPr>
          <a:xfrm>
            <a:off x="3305211" y="5602251"/>
            <a:ext cx="1175683" cy="215444"/>
          </a:xfrm>
        </p:spPr>
        <p:txBody>
          <a:bodyPr wrap="square" lIns="0" tIns="0" rIns="0" bIns="0" anchor="ctr">
            <a:spAutoFit/>
          </a:bodyPr>
          <a:lstStyle>
            <a:lvl1pPr marL="0" indent="0">
              <a:lnSpc>
                <a:spcPct val="100000"/>
              </a:lnSpc>
              <a:spcBef>
                <a:spcPts val="0"/>
              </a:spcBef>
              <a:spcAft>
                <a:spcPts val="0"/>
              </a:spcAft>
              <a:buNone/>
              <a:defRPr lang="en-US" sz="1400" b="0" baseline="0" dirty="0">
                <a:solidFill>
                  <a:schemeClr val="bg1"/>
                </a:solidFill>
              </a:defRPr>
            </a:lvl1pPr>
          </a:lstStyle>
          <a:p>
            <a:pPr marL="0" lvl="0">
              <a:spcAft>
                <a:spcPts val="500"/>
              </a:spcAft>
            </a:pPr>
            <a:r>
              <a:rPr lang="en-US"/>
              <a:t>Text</a:t>
            </a:r>
          </a:p>
        </p:txBody>
      </p:sp>
      <p:sp>
        <p:nvSpPr>
          <p:cNvPr id="95" name="Picture Placeholder 2">
            <a:extLst>
              <a:ext uri="{FF2B5EF4-FFF2-40B4-BE49-F238E27FC236}">
                <a16:creationId xmlns:a16="http://schemas.microsoft.com/office/drawing/2014/main" id="{EF255CF5-5E2C-46BD-B1AA-C96B036C3BF3}"/>
              </a:ext>
            </a:extLst>
          </p:cNvPr>
          <p:cNvSpPr>
            <a:spLocks noGrp="1"/>
          </p:cNvSpPr>
          <p:nvPr userDrawn="1">
            <p:ph type="pic" sz="quarter" idx="62" hasCustomPrompt="1"/>
          </p:nvPr>
        </p:nvSpPr>
        <p:spPr>
          <a:xfrm>
            <a:off x="2786672" y="5467705"/>
            <a:ext cx="374182" cy="48453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50" name="Rectangle 49">
            <a:extLst>
              <a:ext uri="{FF2B5EF4-FFF2-40B4-BE49-F238E27FC236}">
                <a16:creationId xmlns:a16="http://schemas.microsoft.com/office/drawing/2014/main" id="{08B6A9D2-7CBB-403D-BA7C-A26F10D9D7CE}"/>
              </a:ext>
            </a:extLst>
          </p:cNvPr>
          <p:cNvSpPr/>
          <p:nvPr/>
        </p:nvSpPr>
        <p:spPr>
          <a:xfrm>
            <a:off x="4895254" y="4194177"/>
            <a:ext cx="2024539" cy="8868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Picture Placeholder 2">
            <a:extLst>
              <a:ext uri="{FF2B5EF4-FFF2-40B4-BE49-F238E27FC236}">
                <a16:creationId xmlns:a16="http://schemas.microsoft.com/office/drawing/2014/main" id="{C3624F31-8E8C-4F98-AEEC-AA1E5BD9B224}"/>
              </a:ext>
            </a:extLst>
          </p:cNvPr>
          <p:cNvSpPr>
            <a:spLocks noGrp="1"/>
          </p:cNvSpPr>
          <p:nvPr userDrawn="1">
            <p:ph type="pic" sz="quarter" idx="58" hasCustomPrompt="1"/>
          </p:nvPr>
        </p:nvSpPr>
        <p:spPr>
          <a:xfrm>
            <a:off x="5029484" y="4449677"/>
            <a:ext cx="356484" cy="37589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9" name="Rectangle 48">
            <a:extLst>
              <a:ext uri="{FF2B5EF4-FFF2-40B4-BE49-F238E27FC236}">
                <a16:creationId xmlns:a16="http://schemas.microsoft.com/office/drawing/2014/main" id="{8765F250-C0CD-4554-BFC4-A474D368CF12}"/>
              </a:ext>
            </a:extLst>
          </p:cNvPr>
          <p:cNvSpPr/>
          <p:nvPr/>
        </p:nvSpPr>
        <p:spPr>
          <a:xfrm>
            <a:off x="2620267" y="4194177"/>
            <a:ext cx="2024539" cy="8868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 Placeholder 4">
            <a:extLst>
              <a:ext uri="{FF2B5EF4-FFF2-40B4-BE49-F238E27FC236}">
                <a16:creationId xmlns:a16="http://schemas.microsoft.com/office/drawing/2014/main" id="{B79FF89F-37B1-47F9-886A-DD212D287C65}"/>
              </a:ext>
            </a:extLst>
          </p:cNvPr>
          <p:cNvSpPr>
            <a:spLocks noGrp="1"/>
          </p:cNvSpPr>
          <p:nvPr userDrawn="1">
            <p:ph type="body" sz="quarter" idx="55" hasCustomPrompt="1"/>
          </p:nvPr>
        </p:nvSpPr>
        <p:spPr>
          <a:xfrm>
            <a:off x="3305210" y="4529904"/>
            <a:ext cx="1249702" cy="215444"/>
          </a:xfrm>
        </p:spPr>
        <p:txBody>
          <a:bodyPr wrap="square" lIns="0" tIns="0" rIns="0" bIns="0" anchor="ctr">
            <a:spAutoFit/>
          </a:bodyPr>
          <a:lstStyle>
            <a:lvl1pPr marL="0" indent="0">
              <a:lnSpc>
                <a:spcPct val="100000"/>
              </a:lnSpc>
              <a:spcBef>
                <a:spcPts val="0"/>
              </a:spcBef>
              <a:spcAft>
                <a:spcPts val="0"/>
              </a:spcAft>
              <a:buNone/>
              <a:defRPr lang="en-US" sz="1400" b="0" baseline="0" dirty="0">
                <a:solidFill>
                  <a:schemeClr val="bg1"/>
                </a:solidFill>
              </a:defRPr>
            </a:lvl1pPr>
          </a:lstStyle>
          <a:p>
            <a:pPr marL="0" lvl="0">
              <a:spcAft>
                <a:spcPts val="500"/>
              </a:spcAft>
            </a:pPr>
            <a:r>
              <a:rPr lang="en-US"/>
              <a:t>Text</a:t>
            </a:r>
          </a:p>
        </p:txBody>
      </p:sp>
      <p:sp>
        <p:nvSpPr>
          <p:cNvPr id="89" name="Picture Placeholder 2">
            <a:extLst>
              <a:ext uri="{FF2B5EF4-FFF2-40B4-BE49-F238E27FC236}">
                <a16:creationId xmlns:a16="http://schemas.microsoft.com/office/drawing/2014/main" id="{B4E0E54C-72C3-48F5-8184-5B44F377A56C}"/>
              </a:ext>
            </a:extLst>
          </p:cNvPr>
          <p:cNvSpPr>
            <a:spLocks noGrp="1"/>
          </p:cNvSpPr>
          <p:nvPr userDrawn="1">
            <p:ph type="pic" sz="quarter" idx="56" hasCustomPrompt="1"/>
          </p:nvPr>
        </p:nvSpPr>
        <p:spPr>
          <a:xfrm>
            <a:off x="2720436" y="4370502"/>
            <a:ext cx="506654" cy="53424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7" name="Rectangle 46">
            <a:extLst>
              <a:ext uri="{FF2B5EF4-FFF2-40B4-BE49-F238E27FC236}">
                <a16:creationId xmlns:a16="http://schemas.microsoft.com/office/drawing/2014/main" id="{0C1CAD9F-3E1B-4DBF-9063-7DE315F56B0A}"/>
              </a:ext>
            </a:extLst>
          </p:cNvPr>
          <p:cNvSpPr/>
          <p:nvPr/>
        </p:nvSpPr>
        <p:spPr>
          <a:xfrm>
            <a:off x="345282" y="4194177"/>
            <a:ext cx="2024539" cy="8868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 Placeholder 4">
            <a:extLst>
              <a:ext uri="{FF2B5EF4-FFF2-40B4-BE49-F238E27FC236}">
                <a16:creationId xmlns:a16="http://schemas.microsoft.com/office/drawing/2014/main" id="{E1F1480D-2A1D-4F08-B953-E853917214DE}"/>
              </a:ext>
            </a:extLst>
          </p:cNvPr>
          <p:cNvSpPr>
            <a:spLocks noGrp="1"/>
          </p:cNvSpPr>
          <p:nvPr userDrawn="1">
            <p:ph type="body" sz="quarter" idx="54" hasCustomPrompt="1"/>
          </p:nvPr>
        </p:nvSpPr>
        <p:spPr>
          <a:xfrm>
            <a:off x="1025184" y="4529904"/>
            <a:ext cx="1249702" cy="215444"/>
          </a:xfrm>
        </p:spPr>
        <p:txBody>
          <a:bodyPr wrap="square" lIns="0" tIns="0" rIns="0" bIns="0" anchor="ctr">
            <a:spAutoFit/>
          </a:bodyPr>
          <a:lstStyle>
            <a:lvl1pPr marL="0" indent="0">
              <a:lnSpc>
                <a:spcPct val="100000"/>
              </a:lnSpc>
              <a:spcBef>
                <a:spcPts val="0"/>
              </a:spcBef>
              <a:spcAft>
                <a:spcPts val="0"/>
              </a:spcAft>
              <a:buNone/>
              <a:defRPr lang="en-US" sz="1400" b="0" baseline="0" dirty="0">
                <a:solidFill>
                  <a:schemeClr val="bg1"/>
                </a:solidFill>
              </a:defRPr>
            </a:lvl1pPr>
          </a:lstStyle>
          <a:p>
            <a:pPr marL="0" lvl="0">
              <a:spcAft>
                <a:spcPts val="500"/>
              </a:spcAft>
            </a:pPr>
            <a:r>
              <a:rPr lang="en-US"/>
              <a:t>Text</a:t>
            </a:r>
          </a:p>
        </p:txBody>
      </p:sp>
      <p:sp>
        <p:nvSpPr>
          <p:cNvPr id="87" name="Picture Placeholder 2">
            <a:extLst>
              <a:ext uri="{FF2B5EF4-FFF2-40B4-BE49-F238E27FC236}">
                <a16:creationId xmlns:a16="http://schemas.microsoft.com/office/drawing/2014/main" id="{3C3CF81A-D181-4E9D-9116-3346FE9C9DF3}"/>
              </a:ext>
            </a:extLst>
          </p:cNvPr>
          <p:cNvSpPr>
            <a:spLocks noGrp="1"/>
          </p:cNvSpPr>
          <p:nvPr>
            <p:ph type="pic" sz="quarter" idx="29" hasCustomPrompt="1"/>
          </p:nvPr>
        </p:nvSpPr>
        <p:spPr>
          <a:xfrm>
            <a:off x="480791" y="4433546"/>
            <a:ext cx="371362" cy="408160"/>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cxnSp>
        <p:nvCxnSpPr>
          <p:cNvPr id="54" name="Straight Connector 53">
            <a:extLst>
              <a:ext uri="{FF2B5EF4-FFF2-40B4-BE49-F238E27FC236}">
                <a16:creationId xmlns:a16="http://schemas.microsoft.com/office/drawing/2014/main" id="{A62C160A-0CE6-44A4-84AE-A34A8D118852}"/>
              </a:ext>
            </a:extLst>
          </p:cNvPr>
          <p:cNvCxnSpPr>
            <a:cxnSpLocks/>
          </p:cNvCxnSpPr>
          <p:nvPr userDrawn="1"/>
        </p:nvCxnSpPr>
        <p:spPr>
          <a:xfrm>
            <a:off x="7391400" y="1785178"/>
            <a:ext cx="431660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0" name="Text Placeholder 4">
            <a:extLst>
              <a:ext uri="{FF2B5EF4-FFF2-40B4-BE49-F238E27FC236}">
                <a16:creationId xmlns:a16="http://schemas.microsoft.com/office/drawing/2014/main" id="{CA32C307-68F5-4BCF-9BC0-5EF37974405E}"/>
              </a:ext>
            </a:extLst>
          </p:cNvPr>
          <p:cNvSpPr>
            <a:spLocks noGrp="1"/>
          </p:cNvSpPr>
          <p:nvPr userDrawn="1">
            <p:ph type="body" sz="quarter" idx="57" hasCustomPrompt="1"/>
          </p:nvPr>
        </p:nvSpPr>
        <p:spPr>
          <a:xfrm>
            <a:off x="5533751" y="4529904"/>
            <a:ext cx="1249702" cy="215444"/>
          </a:xfrm>
        </p:spPr>
        <p:txBody>
          <a:bodyPr wrap="square" lIns="0" tIns="0" rIns="0" bIns="0" anchor="ctr">
            <a:spAutoFit/>
          </a:bodyPr>
          <a:lstStyle>
            <a:lvl1pPr marL="0" indent="0">
              <a:lnSpc>
                <a:spcPct val="100000"/>
              </a:lnSpc>
              <a:spcBef>
                <a:spcPts val="0"/>
              </a:spcBef>
              <a:spcAft>
                <a:spcPts val="0"/>
              </a:spcAft>
              <a:buNone/>
              <a:defRPr lang="en-US" sz="1400" b="0" baseline="0" dirty="0">
                <a:solidFill>
                  <a:schemeClr val="bg1"/>
                </a:solidFill>
              </a:defRPr>
            </a:lvl1pPr>
          </a:lstStyle>
          <a:p>
            <a:pPr marL="0" lvl="0">
              <a:spcAft>
                <a:spcPts val="500"/>
              </a:spcAft>
            </a:pPr>
            <a:r>
              <a:rPr lang="en-US"/>
              <a:t>Text</a:t>
            </a:r>
          </a:p>
        </p:txBody>
      </p:sp>
      <p:sp>
        <p:nvSpPr>
          <p:cNvPr id="100" name="Text Placeholder 4">
            <a:extLst>
              <a:ext uri="{FF2B5EF4-FFF2-40B4-BE49-F238E27FC236}">
                <a16:creationId xmlns:a16="http://schemas.microsoft.com/office/drawing/2014/main" id="{CE4AF46A-B540-4FE7-89E9-8BB56FB9438F}"/>
              </a:ext>
            </a:extLst>
          </p:cNvPr>
          <p:cNvSpPr>
            <a:spLocks noGrp="1"/>
          </p:cNvSpPr>
          <p:nvPr userDrawn="1">
            <p:ph type="body" sz="quarter" idx="64" hasCustomPrompt="1"/>
          </p:nvPr>
        </p:nvSpPr>
        <p:spPr>
          <a:xfrm>
            <a:off x="7918417" y="2005131"/>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03" name="Text Placeholder 4">
            <a:extLst>
              <a:ext uri="{FF2B5EF4-FFF2-40B4-BE49-F238E27FC236}">
                <a16:creationId xmlns:a16="http://schemas.microsoft.com/office/drawing/2014/main" id="{248FE09E-D60D-4D5A-82DB-55C1AF7A2AC0}"/>
              </a:ext>
            </a:extLst>
          </p:cNvPr>
          <p:cNvSpPr>
            <a:spLocks noGrp="1"/>
          </p:cNvSpPr>
          <p:nvPr userDrawn="1">
            <p:ph type="body" sz="quarter" idx="66" hasCustomPrompt="1"/>
          </p:nvPr>
        </p:nvSpPr>
        <p:spPr>
          <a:xfrm>
            <a:off x="7916804" y="2523539"/>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06" name="Text Placeholder 4">
            <a:extLst>
              <a:ext uri="{FF2B5EF4-FFF2-40B4-BE49-F238E27FC236}">
                <a16:creationId xmlns:a16="http://schemas.microsoft.com/office/drawing/2014/main" id="{28AED013-E4C7-4B3F-8760-203DA146BFB6}"/>
              </a:ext>
            </a:extLst>
          </p:cNvPr>
          <p:cNvSpPr>
            <a:spLocks noGrp="1"/>
          </p:cNvSpPr>
          <p:nvPr userDrawn="1">
            <p:ph type="body" sz="quarter" idx="68" hasCustomPrompt="1"/>
          </p:nvPr>
        </p:nvSpPr>
        <p:spPr>
          <a:xfrm>
            <a:off x="7916804" y="3041947"/>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09" name="Text Placeholder 4">
            <a:extLst>
              <a:ext uri="{FF2B5EF4-FFF2-40B4-BE49-F238E27FC236}">
                <a16:creationId xmlns:a16="http://schemas.microsoft.com/office/drawing/2014/main" id="{83925C3E-DB7C-491D-BDCF-3602C5CD1DAC}"/>
              </a:ext>
            </a:extLst>
          </p:cNvPr>
          <p:cNvSpPr>
            <a:spLocks noGrp="1"/>
          </p:cNvSpPr>
          <p:nvPr userDrawn="1">
            <p:ph type="body" sz="quarter" idx="70" hasCustomPrompt="1"/>
          </p:nvPr>
        </p:nvSpPr>
        <p:spPr>
          <a:xfrm>
            <a:off x="7916804" y="3560355"/>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9" name="Chart Placeholder 8">
            <a:extLst>
              <a:ext uri="{FF2B5EF4-FFF2-40B4-BE49-F238E27FC236}">
                <a16:creationId xmlns:a16="http://schemas.microsoft.com/office/drawing/2014/main" id="{FC92E1C9-AE7D-4C04-AEB9-19A873294D08}"/>
              </a:ext>
            </a:extLst>
          </p:cNvPr>
          <p:cNvSpPr>
            <a:spLocks noGrp="1"/>
          </p:cNvSpPr>
          <p:nvPr>
            <p:ph type="chart" sz="quarter" idx="72"/>
          </p:nvPr>
        </p:nvSpPr>
        <p:spPr>
          <a:xfrm>
            <a:off x="7391400" y="4522099"/>
            <a:ext cx="4316605" cy="1550934"/>
          </a:xfrm>
        </p:spPr>
        <p:txBody>
          <a:bodyPr anchor="ctr">
            <a:noAutofit/>
          </a:bodyPr>
          <a:lstStyle>
            <a:lvl1pPr marL="0" indent="0" algn="ctr">
              <a:buNone/>
              <a:defRPr/>
            </a:lvl1pPr>
          </a:lstStyle>
          <a:p>
            <a:endParaRPr lang="en-US" dirty="0"/>
          </a:p>
        </p:txBody>
      </p:sp>
      <p:sp>
        <p:nvSpPr>
          <p:cNvPr id="111" name="Text Placeholder 4">
            <a:extLst>
              <a:ext uri="{FF2B5EF4-FFF2-40B4-BE49-F238E27FC236}">
                <a16:creationId xmlns:a16="http://schemas.microsoft.com/office/drawing/2014/main" id="{B25FD0F3-A2A7-4F4F-80CC-723A0674FB01}"/>
              </a:ext>
            </a:extLst>
          </p:cNvPr>
          <p:cNvSpPr>
            <a:spLocks noGrp="1"/>
          </p:cNvSpPr>
          <p:nvPr>
            <p:ph type="body" sz="quarter" idx="43" hasCustomPrompt="1"/>
          </p:nvPr>
        </p:nvSpPr>
        <p:spPr>
          <a:xfrm>
            <a:off x="346990" y="6251434"/>
            <a:ext cx="6574511" cy="154273"/>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Edit Master text styles</a:t>
            </a:r>
          </a:p>
        </p:txBody>
      </p:sp>
      <p:sp>
        <p:nvSpPr>
          <p:cNvPr id="80" name="Oval 79">
            <a:extLst>
              <a:ext uri="{FF2B5EF4-FFF2-40B4-BE49-F238E27FC236}">
                <a16:creationId xmlns:a16="http://schemas.microsoft.com/office/drawing/2014/main" id="{6466128A-6C9E-4D99-A03E-8D620A7FF323}"/>
              </a:ext>
            </a:extLst>
          </p:cNvPr>
          <p:cNvSpPr/>
          <p:nvPr userDrawn="1"/>
        </p:nvSpPr>
        <p:spPr>
          <a:xfrm>
            <a:off x="7419145" y="1896562"/>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2" name="Oval 81">
            <a:extLst>
              <a:ext uri="{FF2B5EF4-FFF2-40B4-BE49-F238E27FC236}">
                <a16:creationId xmlns:a16="http://schemas.microsoft.com/office/drawing/2014/main" id="{10EDB5E0-56BA-4315-B0AF-15BF4F27F4DE}"/>
              </a:ext>
            </a:extLst>
          </p:cNvPr>
          <p:cNvSpPr/>
          <p:nvPr userDrawn="1"/>
        </p:nvSpPr>
        <p:spPr>
          <a:xfrm>
            <a:off x="7419145" y="3451786"/>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3" name="Oval 82">
            <a:extLst>
              <a:ext uri="{FF2B5EF4-FFF2-40B4-BE49-F238E27FC236}">
                <a16:creationId xmlns:a16="http://schemas.microsoft.com/office/drawing/2014/main" id="{342138EC-A7C4-4D4A-9926-E875C73F9B0F}"/>
              </a:ext>
            </a:extLst>
          </p:cNvPr>
          <p:cNvSpPr/>
          <p:nvPr userDrawn="1"/>
        </p:nvSpPr>
        <p:spPr>
          <a:xfrm>
            <a:off x="7419145" y="2933378"/>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Oval 95">
            <a:extLst>
              <a:ext uri="{FF2B5EF4-FFF2-40B4-BE49-F238E27FC236}">
                <a16:creationId xmlns:a16="http://schemas.microsoft.com/office/drawing/2014/main" id="{5307CA2D-C988-4924-93EE-22F21518D0C2}"/>
              </a:ext>
            </a:extLst>
          </p:cNvPr>
          <p:cNvSpPr/>
          <p:nvPr userDrawn="1"/>
        </p:nvSpPr>
        <p:spPr>
          <a:xfrm>
            <a:off x="7419145" y="2414970"/>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9" name="Picture Placeholder 2">
            <a:extLst>
              <a:ext uri="{FF2B5EF4-FFF2-40B4-BE49-F238E27FC236}">
                <a16:creationId xmlns:a16="http://schemas.microsoft.com/office/drawing/2014/main" id="{EDBC531E-A4C1-484C-A298-60EBD7A9CC45}"/>
              </a:ext>
            </a:extLst>
          </p:cNvPr>
          <p:cNvSpPr>
            <a:spLocks noGrp="1"/>
          </p:cNvSpPr>
          <p:nvPr userDrawn="1">
            <p:ph type="pic" sz="quarter" idx="63" hasCustomPrompt="1"/>
          </p:nvPr>
        </p:nvSpPr>
        <p:spPr>
          <a:xfrm>
            <a:off x="7514312" y="1991728"/>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02" name="Picture Placeholder 2">
            <a:extLst>
              <a:ext uri="{FF2B5EF4-FFF2-40B4-BE49-F238E27FC236}">
                <a16:creationId xmlns:a16="http://schemas.microsoft.com/office/drawing/2014/main" id="{6CD9CC19-A0A8-44D3-B354-2F1D02742874}"/>
              </a:ext>
            </a:extLst>
          </p:cNvPr>
          <p:cNvSpPr>
            <a:spLocks noGrp="1"/>
          </p:cNvSpPr>
          <p:nvPr userDrawn="1">
            <p:ph type="pic" sz="quarter" idx="65" hasCustomPrompt="1"/>
          </p:nvPr>
        </p:nvSpPr>
        <p:spPr>
          <a:xfrm>
            <a:off x="7514312" y="2510136"/>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05" name="Picture Placeholder 2">
            <a:extLst>
              <a:ext uri="{FF2B5EF4-FFF2-40B4-BE49-F238E27FC236}">
                <a16:creationId xmlns:a16="http://schemas.microsoft.com/office/drawing/2014/main" id="{E816DB70-8B1A-4FCA-B50C-37B316D6827D}"/>
              </a:ext>
            </a:extLst>
          </p:cNvPr>
          <p:cNvSpPr>
            <a:spLocks noGrp="1"/>
          </p:cNvSpPr>
          <p:nvPr userDrawn="1">
            <p:ph type="pic" sz="quarter" idx="67" hasCustomPrompt="1"/>
          </p:nvPr>
        </p:nvSpPr>
        <p:spPr>
          <a:xfrm>
            <a:off x="7501925" y="3016158"/>
            <a:ext cx="236247" cy="236245"/>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08" name="Picture Placeholder 2">
            <a:extLst>
              <a:ext uri="{FF2B5EF4-FFF2-40B4-BE49-F238E27FC236}">
                <a16:creationId xmlns:a16="http://schemas.microsoft.com/office/drawing/2014/main" id="{D7B70ED7-597A-4C52-8597-718E322D562F}"/>
              </a:ext>
            </a:extLst>
          </p:cNvPr>
          <p:cNvSpPr>
            <a:spLocks noGrp="1"/>
          </p:cNvSpPr>
          <p:nvPr userDrawn="1">
            <p:ph type="pic" sz="quarter" idx="69" hasCustomPrompt="1"/>
          </p:nvPr>
        </p:nvSpPr>
        <p:spPr>
          <a:xfrm>
            <a:off x="7519068" y="3551709"/>
            <a:ext cx="201960" cy="201959"/>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56" name="Text Placeholder 4">
            <a:extLst>
              <a:ext uri="{FF2B5EF4-FFF2-40B4-BE49-F238E27FC236}">
                <a16:creationId xmlns:a16="http://schemas.microsoft.com/office/drawing/2014/main" id="{E18EC2D3-7D73-450C-BC00-100DC08F3392}"/>
              </a:ext>
            </a:extLst>
          </p:cNvPr>
          <p:cNvSpPr>
            <a:spLocks noGrp="1"/>
          </p:cNvSpPr>
          <p:nvPr>
            <p:ph type="body" sz="quarter" idx="52" hasCustomPrompt="1"/>
          </p:nvPr>
        </p:nvSpPr>
        <p:spPr>
          <a:xfrm>
            <a:off x="7391400" y="4041227"/>
            <a:ext cx="4316605"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57" name="Text Placeholder 4">
            <a:extLst>
              <a:ext uri="{FF2B5EF4-FFF2-40B4-BE49-F238E27FC236}">
                <a16:creationId xmlns:a16="http://schemas.microsoft.com/office/drawing/2014/main" id="{25E331E1-E8D8-433D-BDB1-CD9280A26625}"/>
              </a:ext>
            </a:extLst>
          </p:cNvPr>
          <p:cNvSpPr>
            <a:spLocks noGrp="1"/>
          </p:cNvSpPr>
          <p:nvPr>
            <p:ph type="body" sz="quarter" idx="73" hasCustomPrompt="1"/>
          </p:nvPr>
        </p:nvSpPr>
        <p:spPr>
          <a:xfrm>
            <a:off x="7391400" y="4248544"/>
            <a:ext cx="4316605"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
        <p:nvSpPr>
          <p:cNvPr id="59" name="Text Placeholder 6">
            <a:extLst>
              <a:ext uri="{FF2B5EF4-FFF2-40B4-BE49-F238E27FC236}">
                <a16:creationId xmlns:a16="http://schemas.microsoft.com/office/drawing/2014/main" id="{8978E4FF-D625-4945-B13D-016B6F8AF4AD}"/>
              </a:ext>
            </a:extLst>
          </p:cNvPr>
          <p:cNvSpPr>
            <a:spLocks noGrp="1"/>
          </p:cNvSpPr>
          <p:nvPr>
            <p:ph type="body" sz="quarter" idx="74" hasCustomPrompt="1"/>
          </p:nvPr>
        </p:nvSpPr>
        <p:spPr>
          <a:xfrm>
            <a:off x="346990" y="1248858"/>
            <a:ext cx="6574511" cy="187167"/>
          </a:xfrm>
        </p:spPr>
        <p:txBody>
          <a:bodyPr/>
          <a:lstStyle>
            <a:lvl1pPr marL="237744" indent="-237744" algn="just">
              <a:lnSpc>
                <a:spcPct val="100000"/>
              </a:lnSpc>
              <a:spcBef>
                <a:spcPts val="0"/>
              </a:spcBef>
              <a:spcAft>
                <a:spcPts val="8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Tree>
    <p:extLst>
      <p:ext uri="{BB962C8B-B14F-4D97-AF65-F5344CB8AC3E}">
        <p14:creationId xmlns:p14="http://schemas.microsoft.com/office/powerpoint/2010/main" val="2631756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53" name="Rectangle 52">
            <a:extLst>
              <a:ext uri="{FF2B5EF4-FFF2-40B4-BE49-F238E27FC236}">
                <a16:creationId xmlns:a16="http://schemas.microsoft.com/office/drawing/2014/main" id="{6F4E7174-4AF0-455B-9F25-2EF0B458B886}"/>
              </a:ext>
            </a:extLst>
          </p:cNvPr>
          <p:cNvSpPr/>
          <p:nvPr userDrawn="1"/>
        </p:nvSpPr>
        <p:spPr>
          <a:xfrm>
            <a:off x="345282" y="4113139"/>
            <a:ext cx="3156369" cy="20402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2B415E11-B04B-448A-9CFC-5947EEF0F1AD}"/>
              </a:ext>
            </a:extLst>
          </p:cNvPr>
          <p:cNvSpPr/>
          <p:nvPr userDrawn="1"/>
        </p:nvSpPr>
        <p:spPr>
          <a:xfrm>
            <a:off x="3763424" y="4113139"/>
            <a:ext cx="3156369" cy="20402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92" name="Text Placeholder 4">
            <a:extLst>
              <a:ext uri="{FF2B5EF4-FFF2-40B4-BE49-F238E27FC236}">
                <a16:creationId xmlns:a16="http://schemas.microsoft.com/office/drawing/2014/main" id="{832A2343-82D9-4A33-B7BF-76E6A21013FC}"/>
              </a:ext>
            </a:extLst>
          </p:cNvPr>
          <p:cNvSpPr>
            <a:spLocks noGrp="1"/>
          </p:cNvSpPr>
          <p:nvPr>
            <p:ph type="body" sz="quarter" idx="59" hasCustomPrompt="1"/>
          </p:nvPr>
        </p:nvSpPr>
        <p:spPr>
          <a:xfrm>
            <a:off x="519029" y="5393069"/>
            <a:ext cx="2808874" cy="369332"/>
          </a:xfrm>
        </p:spPr>
        <p:txBody>
          <a:bodyPr wrap="square" lIns="0" tIns="0" rIns="0" bIns="0" anchor="t">
            <a:spAutoFit/>
          </a:bodyPr>
          <a:lstStyle>
            <a:lvl1pPr marL="0" indent="0" algn="ctr">
              <a:lnSpc>
                <a:spcPct val="100000"/>
              </a:lnSpc>
              <a:spcBef>
                <a:spcPts val="0"/>
              </a:spcBef>
              <a:spcAft>
                <a:spcPts val="0"/>
              </a:spcAft>
              <a:buNone/>
              <a:defRPr lang="en-US" sz="2400" b="1" dirty="0">
                <a:solidFill>
                  <a:schemeClr val="bg1"/>
                </a:solidFill>
              </a:defRPr>
            </a:lvl1pPr>
          </a:lstStyle>
          <a:p>
            <a:pPr marL="0" lvl="0">
              <a:spcAft>
                <a:spcPts val="500"/>
              </a:spcAft>
            </a:pPr>
            <a:r>
              <a:rPr lang="en-US"/>
              <a:t>TEXT</a:t>
            </a:r>
          </a:p>
        </p:txBody>
      </p:sp>
      <p:sp>
        <p:nvSpPr>
          <p:cNvPr id="93" name="Picture Placeholder 2">
            <a:extLst>
              <a:ext uri="{FF2B5EF4-FFF2-40B4-BE49-F238E27FC236}">
                <a16:creationId xmlns:a16="http://schemas.microsoft.com/office/drawing/2014/main" id="{A16687A5-D3A0-4252-8C18-82032B450199}"/>
              </a:ext>
            </a:extLst>
          </p:cNvPr>
          <p:cNvSpPr>
            <a:spLocks noGrp="1"/>
          </p:cNvSpPr>
          <p:nvPr>
            <p:ph type="pic" sz="quarter" idx="60" hasCustomPrompt="1"/>
          </p:nvPr>
        </p:nvSpPr>
        <p:spPr>
          <a:xfrm>
            <a:off x="1596895" y="4402561"/>
            <a:ext cx="693140" cy="761824"/>
          </a:xfrm>
          <a:prstGeom prst="rect">
            <a:avLst/>
          </a:prstGeom>
        </p:spPr>
        <p:txBody>
          <a:bodyPr anchor="ctr" anchorCtr="1">
            <a:noAutofit/>
          </a:bodyPr>
          <a:lstStyle>
            <a:lvl1pPr marL="0" indent="0" algn="ctr">
              <a:buNone/>
              <a:defRPr sz="1400">
                <a:solidFill>
                  <a:schemeClr val="bg1"/>
                </a:solidFill>
              </a:defRPr>
            </a:lvl1pPr>
          </a:lstStyle>
          <a:p>
            <a:r>
              <a:rPr lang="en-US" dirty="0"/>
              <a:t>Icon</a:t>
            </a:r>
          </a:p>
        </p:txBody>
      </p:sp>
      <p:sp>
        <p:nvSpPr>
          <p:cNvPr id="94" name="Text Placeholder 4">
            <a:extLst>
              <a:ext uri="{FF2B5EF4-FFF2-40B4-BE49-F238E27FC236}">
                <a16:creationId xmlns:a16="http://schemas.microsoft.com/office/drawing/2014/main" id="{3EF60594-F4DF-4C5A-832C-6F1261E159AC}"/>
              </a:ext>
            </a:extLst>
          </p:cNvPr>
          <p:cNvSpPr>
            <a:spLocks noGrp="1"/>
          </p:cNvSpPr>
          <p:nvPr>
            <p:ph type="body" sz="quarter" idx="61" hasCustomPrompt="1"/>
          </p:nvPr>
        </p:nvSpPr>
        <p:spPr>
          <a:xfrm>
            <a:off x="3937171" y="5393069"/>
            <a:ext cx="2808874" cy="369332"/>
          </a:xfrm>
        </p:spPr>
        <p:txBody>
          <a:bodyPr wrap="square" lIns="0" tIns="0" rIns="0" bIns="0" anchor="t">
            <a:spAutoFit/>
          </a:bodyPr>
          <a:lstStyle>
            <a:lvl1pPr marL="0" indent="0" algn="ctr">
              <a:lnSpc>
                <a:spcPct val="100000"/>
              </a:lnSpc>
              <a:spcBef>
                <a:spcPts val="0"/>
              </a:spcBef>
              <a:spcAft>
                <a:spcPts val="0"/>
              </a:spcAft>
              <a:buNone/>
              <a:defRPr lang="en-US" sz="2400" b="1" dirty="0">
                <a:solidFill>
                  <a:schemeClr val="bg1"/>
                </a:solidFill>
              </a:defRPr>
            </a:lvl1pPr>
          </a:lstStyle>
          <a:p>
            <a:pPr marL="0" lvl="0">
              <a:spcAft>
                <a:spcPts val="500"/>
              </a:spcAft>
            </a:pPr>
            <a:r>
              <a:rPr lang="en-US"/>
              <a:t>TEXT</a:t>
            </a:r>
          </a:p>
        </p:txBody>
      </p:sp>
      <p:sp>
        <p:nvSpPr>
          <p:cNvPr id="95" name="Picture Placeholder 2">
            <a:extLst>
              <a:ext uri="{FF2B5EF4-FFF2-40B4-BE49-F238E27FC236}">
                <a16:creationId xmlns:a16="http://schemas.microsoft.com/office/drawing/2014/main" id="{EF255CF5-5E2C-46BD-B1AA-C96B036C3BF3}"/>
              </a:ext>
            </a:extLst>
          </p:cNvPr>
          <p:cNvSpPr>
            <a:spLocks noGrp="1"/>
          </p:cNvSpPr>
          <p:nvPr>
            <p:ph type="pic" sz="quarter" idx="62" hasCustomPrompt="1"/>
          </p:nvPr>
        </p:nvSpPr>
        <p:spPr>
          <a:xfrm>
            <a:off x="5035687" y="4402561"/>
            <a:ext cx="816078" cy="81607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40" name="Rectangle 39">
            <a:extLst>
              <a:ext uri="{FF2B5EF4-FFF2-40B4-BE49-F238E27FC236}">
                <a16:creationId xmlns:a16="http://schemas.microsoft.com/office/drawing/2014/main" id="{0B653084-ECC9-41BB-B67F-DBD091154368}"/>
              </a:ext>
            </a:extLst>
          </p:cNvPr>
          <p:cNvSpPr/>
          <p:nvPr userDrawn="1"/>
        </p:nvSpPr>
        <p:spPr>
          <a:xfrm>
            <a:off x="7251240" y="1248858"/>
            <a:ext cx="4593769" cy="49045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1CB16260-7F7F-4363-95F5-0B5645052CC1}"/>
              </a:ext>
            </a:extLst>
          </p:cNvPr>
          <p:cNvCxnSpPr>
            <a:cxnSpLocks/>
          </p:cNvCxnSpPr>
          <p:nvPr userDrawn="1"/>
        </p:nvCxnSpPr>
        <p:spPr>
          <a:xfrm>
            <a:off x="7391400" y="1785178"/>
            <a:ext cx="431660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3" name="Text Placeholder 4">
            <a:extLst>
              <a:ext uri="{FF2B5EF4-FFF2-40B4-BE49-F238E27FC236}">
                <a16:creationId xmlns:a16="http://schemas.microsoft.com/office/drawing/2014/main" id="{28CCDAF9-AC55-4C45-BF55-D97A30F029F8}"/>
              </a:ext>
            </a:extLst>
          </p:cNvPr>
          <p:cNvSpPr>
            <a:spLocks noGrp="1"/>
          </p:cNvSpPr>
          <p:nvPr>
            <p:ph type="body" sz="quarter" idx="64" hasCustomPrompt="1"/>
          </p:nvPr>
        </p:nvSpPr>
        <p:spPr>
          <a:xfrm>
            <a:off x="7918417" y="2005131"/>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44" name="Text Placeholder 4">
            <a:extLst>
              <a:ext uri="{FF2B5EF4-FFF2-40B4-BE49-F238E27FC236}">
                <a16:creationId xmlns:a16="http://schemas.microsoft.com/office/drawing/2014/main" id="{560C790D-52E2-407C-AD3B-F6C921ECBEB7}"/>
              </a:ext>
            </a:extLst>
          </p:cNvPr>
          <p:cNvSpPr>
            <a:spLocks noGrp="1"/>
          </p:cNvSpPr>
          <p:nvPr>
            <p:ph type="body" sz="quarter" idx="66" hasCustomPrompt="1"/>
          </p:nvPr>
        </p:nvSpPr>
        <p:spPr>
          <a:xfrm>
            <a:off x="7916804" y="2523539"/>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45" name="Text Placeholder 4">
            <a:extLst>
              <a:ext uri="{FF2B5EF4-FFF2-40B4-BE49-F238E27FC236}">
                <a16:creationId xmlns:a16="http://schemas.microsoft.com/office/drawing/2014/main" id="{92183F61-C133-4FF9-B237-E91124E14A32}"/>
              </a:ext>
            </a:extLst>
          </p:cNvPr>
          <p:cNvSpPr>
            <a:spLocks noGrp="1"/>
          </p:cNvSpPr>
          <p:nvPr>
            <p:ph type="body" sz="quarter" idx="68" hasCustomPrompt="1"/>
          </p:nvPr>
        </p:nvSpPr>
        <p:spPr>
          <a:xfrm>
            <a:off x="7916804" y="3041947"/>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46" name="Text Placeholder 4">
            <a:extLst>
              <a:ext uri="{FF2B5EF4-FFF2-40B4-BE49-F238E27FC236}">
                <a16:creationId xmlns:a16="http://schemas.microsoft.com/office/drawing/2014/main" id="{7F6F12FB-11AD-448B-91E6-E0A69CB26404}"/>
              </a:ext>
            </a:extLst>
          </p:cNvPr>
          <p:cNvSpPr>
            <a:spLocks noGrp="1"/>
          </p:cNvSpPr>
          <p:nvPr>
            <p:ph type="body" sz="quarter" idx="70" hasCustomPrompt="1"/>
          </p:nvPr>
        </p:nvSpPr>
        <p:spPr>
          <a:xfrm>
            <a:off x="7916804" y="3560355"/>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50" name="Oval 49">
            <a:extLst>
              <a:ext uri="{FF2B5EF4-FFF2-40B4-BE49-F238E27FC236}">
                <a16:creationId xmlns:a16="http://schemas.microsoft.com/office/drawing/2014/main" id="{9704E6C8-9EEB-4B6E-8B32-8C87BCFE1D45}"/>
              </a:ext>
            </a:extLst>
          </p:cNvPr>
          <p:cNvSpPr/>
          <p:nvPr userDrawn="1"/>
        </p:nvSpPr>
        <p:spPr>
          <a:xfrm>
            <a:off x="7419145" y="1896562"/>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Oval 51">
            <a:extLst>
              <a:ext uri="{FF2B5EF4-FFF2-40B4-BE49-F238E27FC236}">
                <a16:creationId xmlns:a16="http://schemas.microsoft.com/office/drawing/2014/main" id="{D681CBCD-BA39-4BA3-90E3-F92FFA525BD3}"/>
              </a:ext>
            </a:extLst>
          </p:cNvPr>
          <p:cNvSpPr/>
          <p:nvPr userDrawn="1"/>
        </p:nvSpPr>
        <p:spPr>
          <a:xfrm>
            <a:off x="7419145" y="3451786"/>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668E3E7C-D7EF-435E-9F4F-F46DA89A0556}"/>
              </a:ext>
            </a:extLst>
          </p:cNvPr>
          <p:cNvSpPr/>
          <p:nvPr userDrawn="1"/>
        </p:nvSpPr>
        <p:spPr>
          <a:xfrm>
            <a:off x="7419145" y="2933378"/>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B06626F9-05A9-4112-8212-03CC40C9620A}"/>
              </a:ext>
            </a:extLst>
          </p:cNvPr>
          <p:cNvSpPr/>
          <p:nvPr userDrawn="1"/>
        </p:nvSpPr>
        <p:spPr>
          <a:xfrm>
            <a:off x="7419145" y="2414970"/>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Picture Placeholder 2">
            <a:extLst>
              <a:ext uri="{FF2B5EF4-FFF2-40B4-BE49-F238E27FC236}">
                <a16:creationId xmlns:a16="http://schemas.microsoft.com/office/drawing/2014/main" id="{E1D3FDFB-FBC4-4AD3-BDF0-91D9CFBFB324}"/>
              </a:ext>
            </a:extLst>
          </p:cNvPr>
          <p:cNvSpPr>
            <a:spLocks noGrp="1"/>
          </p:cNvSpPr>
          <p:nvPr>
            <p:ph type="pic" sz="quarter" idx="63" hasCustomPrompt="1"/>
          </p:nvPr>
        </p:nvSpPr>
        <p:spPr>
          <a:xfrm>
            <a:off x="7514312" y="1991728"/>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1" name="Picture Placeholder 2">
            <a:extLst>
              <a:ext uri="{FF2B5EF4-FFF2-40B4-BE49-F238E27FC236}">
                <a16:creationId xmlns:a16="http://schemas.microsoft.com/office/drawing/2014/main" id="{CFEE5C9D-0B53-46C0-BF8E-279DE137A381}"/>
              </a:ext>
            </a:extLst>
          </p:cNvPr>
          <p:cNvSpPr>
            <a:spLocks noGrp="1"/>
          </p:cNvSpPr>
          <p:nvPr>
            <p:ph type="pic" sz="quarter" idx="65" hasCustomPrompt="1"/>
          </p:nvPr>
        </p:nvSpPr>
        <p:spPr>
          <a:xfrm>
            <a:off x="7514312" y="2510136"/>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2" name="Picture Placeholder 2">
            <a:extLst>
              <a:ext uri="{FF2B5EF4-FFF2-40B4-BE49-F238E27FC236}">
                <a16:creationId xmlns:a16="http://schemas.microsoft.com/office/drawing/2014/main" id="{A6A8D3E3-55E1-40B8-8B48-A784B153D672}"/>
              </a:ext>
            </a:extLst>
          </p:cNvPr>
          <p:cNvSpPr>
            <a:spLocks noGrp="1"/>
          </p:cNvSpPr>
          <p:nvPr>
            <p:ph type="pic" sz="quarter" idx="67" hasCustomPrompt="1"/>
          </p:nvPr>
        </p:nvSpPr>
        <p:spPr>
          <a:xfrm>
            <a:off x="7501925" y="3016158"/>
            <a:ext cx="236247" cy="236245"/>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3" name="Picture Placeholder 2">
            <a:extLst>
              <a:ext uri="{FF2B5EF4-FFF2-40B4-BE49-F238E27FC236}">
                <a16:creationId xmlns:a16="http://schemas.microsoft.com/office/drawing/2014/main" id="{DF4B960A-DC32-40DD-BFB9-3EADFDF6F077}"/>
              </a:ext>
            </a:extLst>
          </p:cNvPr>
          <p:cNvSpPr>
            <a:spLocks noGrp="1"/>
          </p:cNvSpPr>
          <p:nvPr>
            <p:ph type="pic" sz="quarter" idx="69" hasCustomPrompt="1"/>
          </p:nvPr>
        </p:nvSpPr>
        <p:spPr>
          <a:xfrm>
            <a:off x="7519068" y="3551709"/>
            <a:ext cx="201960" cy="201959"/>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4" name="Text Placeholder 4">
            <a:extLst>
              <a:ext uri="{FF2B5EF4-FFF2-40B4-BE49-F238E27FC236}">
                <a16:creationId xmlns:a16="http://schemas.microsoft.com/office/drawing/2014/main" id="{8537CDA8-F629-45A5-9D12-1FAA47BD4D92}"/>
              </a:ext>
            </a:extLst>
          </p:cNvPr>
          <p:cNvSpPr>
            <a:spLocks noGrp="1"/>
          </p:cNvSpPr>
          <p:nvPr>
            <p:ph type="body" sz="quarter" idx="43" hasCustomPrompt="1"/>
          </p:nvPr>
        </p:nvSpPr>
        <p:spPr>
          <a:xfrm>
            <a:off x="346990" y="6251434"/>
            <a:ext cx="6574511" cy="154273"/>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Edit Master text styles</a:t>
            </a:r>
          </a:p>
        </p:txBody>
      </p:sp>
      <p:sp>
        <p:nvSpPr>
          <p:cNvPr id="48" name="Text Placeholder 4">
            <a:extLst>
              <a:ext uri="{FF2B5EF4-FFF2-40B4-BE49-F238E27FC236}">
                <a16:creationId xmlns:a16="http://schemas.microsoft.com/office/drawing/2014/main" id="{B3B60C07-1BE2-482C-8F60-7E3B6D106AA2}"/>
              </a:ext>
            </a:extLst>
          </p:cNvPr>
          <p:cNvSpPr>
            <a:spLocks noGrp="1"/>
          </p:cNvSpPr>
          <p:nvPr>
            <p:ph type="body" sz="quarter" idx="52" hasCustomPrompt="1"/>
          </p:nvPr>
        </p:nvSpPr>
        <p:spPr>
          <a:xfrm>
            <a:off x="7391400" y="4041227"/>
            <a:ext cx="4316605"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51" name="Text Placeholder 4">
            <a:extLst>
              <a:ext uri="{FF2B5EF4-FFF2-40B4-BE49-F238E27FC236}">
                <a16:creationId xmlns:a16="http://schemas.microsoft.com/office/drawing/2014/main" id="{86EAF97B-5E3F-4AA8-962C-E98721D6451C}"/>
              </a:ext>
            </a:extLst>
          </p:cNvPr>
          <p:cNvSpPr>
            <a:spLocks noGrp="1"/>
          </p:cNvSpPr>
          <p:nvPr>
            <p:ph type="body" sz="quarter" idx="73" hasCustomPrompt="1"/>
          </p:nvPr>
        </p:nvSpPr>
        <p:spPr>
          <a:xfrm>
            <a:off x="7391400" y="4248544"/>
            <a:ext cx="4316605"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
        <p:nvSpPr>
          <p:cNvPr id="54" name="Chart Placeholder 8">
            <a:extLst>
              <a:ext uri="{FF2B5EF4-FFF2-40B4-BE49-F238E27FC236}">
                <a16:creationId xmlns:a16="http://schemas.microsoft.com/office/drawing/2014/main" id="{1E5E170A-8CE4-4FFA-9EA0-DD686C344639}"/>
              </a:ext>
            </a:extLst>
          </p:cNvPr>
          <p:cNvSpPr>
            <a:spLocks noGrp="1"/>
          </p:cNvSpPr>
          <p:nvPr>
            <p:ph type="chart" sz="quarter" idx="72"/>
          </p:nvPr>
        </p:nvSpPr>
        <p:spPr>
          <a:xfrm>
            <a:off x="7391400" y="4522099"/>
            <a:ext cx="4316605" cy="1550934"/>
          </a:xfrm>
        </p:spPr>
        <p:txBody>
          <a:bodyPr anchor="ctr">
            <a:noAutofit/>
          </a:bodyPr>
          <a:lstStyle>
            <a:lvl1pPr marL="0" indent="0" algn="ctr">
              <a:buNone/>
              <a:defRPr/>
            </a:lvl1pPr>
          </a:lstStyle>
          <a:p>
            <a:endParaRPr lang="en-US" dirty="0"/>
          </a:p>
        </p:txBody>
      </p:sp>
      <p:sp>
        <p:nvSpPr>
          <p:cNvPr id="47" name="Picture Placeholder 4">
            <a:extLst>
              <a:ext uri="{FF2B5EF4-FFF2-40B4-BE49-F238E27FC236}">
                <a16:creationId xmlns:a16="http://schemas.microsoft.com/office/drawing/2014/main" id="{4CCC43C9-EB86-4DD9-B0C1-E829A59CCEB3}"/>
              </a:ext>
            </a:extLst>
          </p:cNvPr>
          <p:cNvSpPr>
            <a:spLocks noGrp="1"/>
          </p:cNvSpPr>
          <p:nvPr>
            <p:ph type="pic" sz="quarter" idx="75"/>
          </p:nvPr>
        </p:nvSpPr>
        <p:spPr>
          <a:xfrm>
            <a:off x="8708721" y="1327528"/>
            <a:ext cx="1681962" cy="457650"/>
          </a:xfrm>
        </p:spPr>
        <p:txBody>
          <a:bodyPr anchor="ctr">
            <a:noAutofit/>
          </a:bodyPr>
          <a:lstStyle>
            <a:lvl1pPr marL="0" indent="0" algn="ctr">
              <a:buNone/>
              <a:defRPr sz="1200"/>
            </a:lvl1pPr>
          </a:lstStyle>
          <a:p>
            <a:endParaRPr lang="en-US" dirty="0"/>
          </a:p>
        </p:txBody>
      </p:sp>
      <p:sp>
        <p:nvSpPr>
          <p:cNvPr id="42" name="Text Placeholder 6">
            <a:extLst>
              <a:ext uri="{FF2B5EF4-FFF2-40B4-BE49-F238E27FC236}">
                <a16:creationId xmlns:a16="http://schemas.microsoft.com/office/drawing/2014/main" id="{F59CC637-7F2E-4AD0-8DED-4607B54E8646}"/>
              </a:ext>
            </a:extLst>
          </p:cNvPr>
          <p:cNvSpPr>
            <a:spLocks noGrp="1"/>
          </p:cNvSpPr>
          <p:nvPr>
            <p:ph type="body" sz="quarter" idx="74" hasCustomPrompt="1"/>
          </p:nvPr>
        </p:nvSpPr>
        <p:spPr>
          <a:xfrm>
            <a:off x="346990" y="1248858"/>
            <a:ext cx="6574511" cy="187167"/>
          </a:xfrm>
        </p:spPr>
        <p:txBody>
          <a:bodyPr/>
          <a:lstStyle>
            <a:lvl1pPr marL="237744" indent="-237744" algn="just">
              <a:lnSpc>
                <a:spcPct val="100000"/>
              </a:lnSpc>
              <a:spcBef>
                <a:spcPts val="0"/>
              </a:spcBef>
              <a:spcAft>
                <a:spcPts val="8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Tree>
    <p:extLst>
      <p:ext uri="{BB962C8B-B14F-4D97-AF65-F5344CB8AC3E}">
        <p14:creationId xmlns:p14="http://schemas.microsoft.com/office/powerpoint/2010/main" val="2635859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280736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9" name="Rectangle 48">
            <a:extLst>
              <a:ext uri="{FF2B5EF4-FFF2-40B4-BE49-F238E27FC236}">
                <a16:creationId xmlns:a16="http://schemas.microsoft.com/office/drawing/2014/main" id="{78DD16A6-0034-44F6-87E3-094F15C61E37}"/>
              </a:ext>
            </a:extLst>
          </p:cNvPr>
          <p:cNvSpPr/>
          <p:nvPr userDrawn="1"/>
        </p:nvSpPr>
        <p:spPr>
          <a:xfrm>
            <a:off x="3717706" y="5211311"/>
            <a:ext cx="3202087" cy="9421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3D3B62B3-D2CA-42B2-9EB7-A93A20A23BCD}"/>
              </a:ext>
            </a:extLst>
          </p:cNvPr>
          <p:cNvSpPr/>
          <p:nvPr userDrawn="1"/>
        </p:nvSpPr>
        <p:spPr>
          <a:xfrm>
            <a:off x="3717706" y="4098891"/>
            <a:ext cx="3202087" cy="9421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Text Placeholder 4">
            <a:extLst>
              <a:ext uri="{FF2B5EF4-FFF2-40B4-BE49-F238E27FC236}">
                <a16:creationId xmlns:a16="http://schemas.microsoft.com/office/drawing/2014/main" id="{CA32C307-68F5-4BCF-9BC0-5EF37974405E}"/>
              </a:ext>
            </a:extLst>
          </p:cNvPr>
          <p:cNvSpPr>
            <a:spLocks noGrp="1"/>
          </p:cNvSpPr>
          <p:nvPr>
            <p:ph type="body" sz="quarter" idx="57" hasCustomPrompt="1"/>
          </p:nvPr>
        </p:nvSpPr>
        <p:spPr>
          <a:xfrm>
            <a:off x="4859007" y="4462225"/>
            <a:ext cx="185929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4" name="Text Placeholder 4">
            <a:extLst>
              <a:ext uri="{FF2B5EF4-FFF2-40B4-BE49-F238E27FC236}">
                <a16:creationId xmlns:a16="http://schemas.microsoft.com/office/drawing/2014/main" id="{3EF60594-F4DF-4C5A-832C-6F1261E159AC}"/>
              </a:ext>
            </a:extLst>
          </p:cNvPr>
          <p:cNvSpPr>
            <a:spLocks noGrp="1"/>
          </p:cNvSpPr>
          <p:nvPr>
            <p:ph type="body" sz="quarter" idx="61" hasCustomPrompt="1"/>
          </p:nvPr>
        </p:nvSpPr>
        <p:spPr>
          <a:xfrm>
            <a:off x="4859008" y="5574645"/>
            <a:ext cx="185929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45" name="Rectangle 44">
            <a:extLst>
              <a:ext uri="{FF2B5EF4-FFF2-40B4-BE49-F238E27FC236}">
                <a16:creationId xmlns:a16="http://schemas.microsoft.com/office/drawing/2014/main" id="{5BA3E714-8FEA-4492-BE81-444126379AEB}"/>
              </a:ext>
            </a:extLst>
          </p:cNvPr>
          <p:cNvSpPr/>
          <p:nvPr userDrawn="1"/>
        </p:nvSpPr>
        <p:spPr>
          <a:xfrm>
            <a:off x="345282" y="4098891"/>
            <a:ext cx="3202087" cy="942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ECD22CD3-C880-45CB-9C02-E91123DB05C7}"/>
              </a:ext>
            </a:extLst>
          </p:cNvPr>
          <p:cNvSpPr/>
          <p:nvPr userDrawn="1"/>
        </p:nvSpPr>
        <p:spPr>
          <a:xfrm>
            <a:off x="345282" y="5211311"/>
            <a:ext cx="3202087" cy="942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86" name="Text Placeholder 4">
            <a:extLst>
              <a:ext uri="{FF2B5EF4-FFF2-40B4-BE49-F238E27FC236}">
                <a16:creationId xmlns:a16="http://schemas.microsoft.com/office/drawing/2014/main" id="{E1F1480D-2A1D-4F08-B953-E853917214DE}"/>
              </a:ext>
            </a:extLst>
          </p:cNvPr>
          <p:cNvSpPr>
            <a:spLocks noGrp="1"/>
          </p:cNvSpPr>
          <p:nvPr>
            <p:ph type="body" sz="quarter" idx="54" hasCustomPrompt="1"/>
          </p:nvPr>
        </p:nvSpPr>
        <p:spPr>
          <a:xfrm>
            <a:off x="1233623" y="4462225"/>
            <a:ext cx="2152636"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87" name="Picture Placeholder 2">
            <a:extLst>
              <a:ext uri="{FF2B5EF4-FFF2-40B4-BE49-F238E27FC236}">
                <a16:creationId xmlns:a16="http://schemas.microsoft.com/office/drawing/2014/main" id="{3C3CF81A-D181-4E9D-9116-3346FE9C9DF3}"/>
              </a:ext>
            </a:extLst>
          </p:cNvPr>
          <p:cNvSpPr>
            <a:spLocks noGrp="1"/>
          </p:cNvSpPr>
          <p:nvPr>
            <p:ph type="pic" sz="quarter" idx="29" hasCustomPrompt="1"/>
          </p:nvPr>
        </p:nvSpPr>
        <p:spPr>
          <a:xfrm>
            <a:off x="572955" y="4312315"/>
            <a:ext cx="468810" cy="515264"/>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1" name="Picture Placeholder 2">
            <a:extLst>
              <a:ext uri="{FF2B5EF4-FFF2-40B4-BE49-F238E27FC236}">
                <a16:creationId xmlns:a16="http://schemas.microsoft.com/office/drawing/2014/main" id="{C3624F31-8E8C-4F98-AEEC-AA1E5BD9B224}"/>
              </a:ext>
            </a:extLst>
          </p:cNvPr>
          <p:cNvSpPr>
            <a:spLocks noGrp="1"/>
          </p:cNvSpPr>
          <p:nvPr>
            <p:ph type="pic" sz="quarter" idx="58" hasCustomPrompt="1"/>
          </p:nvPr>
        </p:nvSpPr>
        <p:spPr>
          <a:xfrm>
            <a:off x="3983083" y="4182029"/>
            <a:ext cx="735764" cy="77583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2" name="Text Placeholder 4">
            <a:extLst>
              <a:ext uri="{FF2B5EF4-FFF2-40B4-BE49-F238E27FC236}">
                <a16:creationId xmlns:a16="http://schemas.microsoft.com/office/drawing/2014/main" id="{832A2343-82D9-4A33-B7BF-76E6A21013FC}"/>
              </a:ext>
            </a:extLst>
          </p:cNvPr>
          <p:cNvSpPr>
            <a:spLocks noGrp="1"/>
          </p:cNvSpPr>
          <p:nvPr>
            <p:ph type="body" sz="quarter" idx="59" hasCustomPrompt="1"/>
          </p:nvPr>
        </p:nvSpPr>
        <p:spPr>
          <a:xfrm>
            <a:off x="1233623" y="5574645"/>
            <a:ext cx="2152636"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3" name="Picture Placeholder 2">
            <a:extLst>
              <a:ext uri="{FF2B5EF4-FFF2-40B4-BE49-F238E27FC236}">
                <a16:creationId xmlns:a16="http://schemas.microsoft.com/office/drawing/2014/main" id="{A16687A5-D3A0-4252-8C18-82032B450199}"/>
              </a:ext>
            </a:extLst>
          </p:cNvPr>
          <p:cNvSpPr>
            <a:spLocks noGrp="1"/>
          </p:cNvSpPr>
          <p:nvPr>
            <p:ph type="pic" sz="quarter" idx="60" hasCustomPrompt="1"/>
          </p:nvPr>
        </p:nvSpPr>
        <p:spPr>
          <a:xfrm>
            <a:off x="533097" y="5412474"/>
            <a:ext cx="548526" cy="54852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5" name="Picture Placeholder 2">
            <a:extLst>
              <a:ext uri="{FF2B5EF4-FFF2-40B4-BE49-F238E27FC236}">
                <a16:creationId xmlns:a16="http://schemas.microsoft.com/office/drawing/2014/main" id="{EF255CF5-5E2C-46BD-B1AA-C96B036C3BF3}"/>
              </a:ext>
            </a:extLst>
          </p:cNvPr>
          <p:cNvSpPr>
            <a:spLocks noGrp="1"/>
          </p:cNvSpPr>
          <p:nvPr>
            <p:ph type="pic" sz="quarter" idx="62" hasCustomPrompt="1"/>
          </p:nvPr>
        </p:nvSpPr>
        <p:spPr>
          <a:xfrm>
            <a:off x="4079271" y="5330545"/>
            <a:ext cx="543388" cy="703644"/>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52" name="Text Placeholder 4">
            <a:extLst>
              <a:ext uri="{FF2B5EF4-FFF2-40B4-BE49-F238E27FC236}">
                <a16:creationId xmlns:a16="http://schemas.microsoft.com/office/drawing/2014/main" id="{97D7891D-608C-4F47-B781-E8B726216BB5}"/>
              </a:ext>
            </a:extLst>
          </p:cNvPr>
          <p:cNvSpPr>
            <a:spLocks noGrp="1"/>
          </p:cNvSpPr>
          <p:nvPr>
            <p:ph type="body" sz="quarter" idx="43" hasCustomPrompt="1"/>
          </p:nvPr>
        </p:nvSpPr>
        <p:spPr>
          <a:xfrm>
            <a:off x="346990" y="6251434"/>
            <a:ext cx="6574511" cy="154273"/>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Edit Master text styles</a:t>
            </a:r>
          </a:p>
        </p:txBody>
      </p:sp>
      <p:sp>
        <p:nvSpPr>
          <p:cNvPr id="57" name="Rectangle 56">
            <a:extLst>
              <a:ext uri="{FF2B5EF4-FFF2-40B4-BE49-F238E27FC236}">
                <a16:creationId xmlns:a16="http://schemas.microsoft.com/office/drawing/2014/main" id="{EB3140F3-00D0-43F5-90F2-175EF71A5D2F}"/>
              </a:ext>
            </a:extLst>
          </p:cNvPr>
          <p:cNvSpPr/>
          <p:nvPr userDrawn="1"/>
        </p:nvSpPr>
        <p:spPr>
          <a:xfrm>
            <a:off x="7251240" y="1248858"/>
            <a:ext cx="4593769" cy="49045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Connector 58">
            <a:extLst>
              <a:ext uri="{FF2B5EF4-FFF2-40B4-BE49-F238E27FC236}">
                <a16:creationId xmlns:a16="http://schemas.microsoft.com/office/drawing/2014/main" id="{446D7E27-704F-417A-B6EE-1EC3324EBFF0}"/>
              </a:ext>
            </a:extLst>
          </p:cNvPr>
          <p:cNvCxnSpPr>
            <a:cxnSpLocks/>
          </p:cNvCxnSpPr>
          <p:nvPr userDrawn="1"/>
        </p:nvCxnSpPr>
        <p:spPr>
          <a:xfrm>
            <a:off x="7391400" y="1785178"/>
            <a:ext cx="431660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7F6CEB2A-4D69-4545-9220-E28625209334}"/>
              </a:ext>
            </a:extLst>
          </p:cNvPr>
          <p:cNvSpPr>
            <a:spLocks noGrp="1"/>
          </p:cNvSpPr>
          <p:nvPr>
            <p:ph type="body" sz="quarter" idx="64" hasCustomPrompt="1"/>
          </p:nvPr>
        </p:nvSpPr>
        <p:spPr>
          <a:xfrm>
            <a:off x="7918417" y="2005131"/>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62" name="Text Placeholder 4">
            <a:extLst>
              <a:ext uri="{FF2B5EF4-FFF2-40B4-BE49-F238E27FC236}">
                <a16:creationId xmlns:a16="http://schemas.microsoft.com/office/drawing/2014/main" id="{279CC5ED-57CE-4B59-BF27-4C7303955CB9}"/>
              </a:ext>
            </a:extLst>
          </p:cNvPr>
          <p:cNvSpPr>
            <a:spLocks noGrp="1"/>
          </p:cNvSpPr>
          <p:nvPr>
            <p:ph type="body" sz="quarter" idx="66" hasCustomPrompt="1"/>
          </p:nvPr>
        </p:nvSpPr>
        <p:spPr>
          <a:xfrm>
            <a:off x="7916804" y="2523539"/>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63" name="Text Placeholder 4">
            <a:extLst>
              <a:ext uri="{FF2B5EF4-FFF2-40B4-BE49-F238E27FC236}">
                <a16:creationId xmlns:a16="http://schemas.microsoft.com/office/drawing/2014/main" id="{A712A30F-379E-48B2-8544-E4089235C9F2}"/>
              </a:ext>
            </a:extLst>
          </p:cNvPr>
          <p:cNvSpPr>
            <a:spLocks noGrp="1"/>
          </p:cNvSpPr>
          <p:nvPr>
            <p:ph type="body" sz="quarter" idx="68" hasCustomPrompt="1"/>
          </p:nvPr>
        </p:nvSpPr>
        <p:spPr>
          <a:xfrm>
            <a:off x="7916804" y="3041947"/>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64" name="Text Placeholder 4">
            <a:extLst>
              <a:ext uri="{FF2B5EF4-FFF2-40B4-BE49-F238E27FC236}">
                <a16:creationId xmlns:a16="http://schemas.microsoft.com/office/drawing/2014/main" id="{E88D4481-BB2E-4B49-BF12-D35A4226BF32}"/>
              </a:ext>
            </a:extLst>
          </p:cNvPr>
          <p:cNvSpPr>
            <a:spLocks noGrp="1"/>
          </p:cNvSpPr>
          <p:nvPr>
            <p:ph type="body" sz="quarter" idx="70" hasCustomPrompt="1"/>
          </p:nvPr>
        </p:nvSpPr>
        <p:spPr>
          <a:xfrm>
            <a:off x="7916804" y="3560355"/>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67" name="Oval 66">
            <a:extLst>
              <a:ext uri="{FF2B5EF4-FFF2-40B4-BE49-F238E27FC236}">
                <a16:creationId xmlns:a16="http://schemas.microsoft.com/office/drawing/2014/main" id="{7755F366-E5C2-4CDA-8388-10E1BA1C2A4C}"/>
              </a:ext>
            </a:extLst>
          </p:cNvPr>
          <p:cNvSpPr/>
          <p:nvPr userDrawn="1"/>
        </p:nvSpPr>
        <p:spPr>
          <a:xfrm>
            <a:off x="7419145" y="1896562"/>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8" name="Oval 67">
            <a:extLst>
              <a:ext uri="{FF2B5EF4-FFF2-40B4-BE49-F238E27FC236}">
                <a16:creationId xmlns:a16="http://schemas.microsoft.com/office/drawing/2014/main" id="{1700F523-8FB2-4ED7-8064-2ED9E8041184}"/>
              </a:ext>
            </a:extLst>
          </p:cNvPr>
          <p:cNvSpPr/>
          <p:nvPr userDrawn="1"/>
        </p:nvSpPr>
        <p:spPr>
          <a:xfrm>
            <a:off x="7419145" y="3451786"/>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Oval 68">
            <a:extLst>
              <a:ext uri="{FF2B5EF4-FFF2-40B4-BE49-F238E27FC236}">
                <a16:creationId xmlns:a16="http://schemas.microsoft.com/office/drawing/2014/main" id="{CCB16993-D1C3-4F0A-9F19-E031BFD61802}"/>
              </a:ext>
            </a:extLst>
          </p:cNvPr>
          <p:cNvSpPr/>
          <p:nvPr userDrawn="1"/>
        </p:nvSpPr>
        <p:spPr>
          <a:xfrm>
            <a:off x="7419145" y="2933378"/>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Oval 69">
            <a:extLst>
              <a:ext uri="{FF2B5EF4-FFF2-40B4-BE49-F238E27FC236}">
                <a16:creationId xmlns:a16="http://schemas.microsoft.com/office/drawing/2014/main" id="{3652B5E4-CB00-4086-B1CD-8545F8A5C3C2}"/>
              </a:ext>
            </a:extLst>
          </p:cNvPr>
          <p:cNvSpPr/>
          <p:nvPr userDrawn="1"/>
        </p:nvSpPr>
        <p:spPr>
          <a:xfrm>
            <a:off x="7419145" y="2414970"/>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Picture Placeholder 2">
            <a:extLst>
              <a:ext uri="{FF2B5EF4-FFF2-40B4-BE49-F238E27FC236}">
                <a16:creationId xmlns:a16="http://schemas.microsoft.com/office/drawing/2014/main" id="{32799993-7125-4C07-969F-22B1EE78583B}"/>
              </a:ext>
            </a:extLst>
          </p:cNvPr>
          <p:cNvSpPr>
            <a:spLocks noGrp="1"/>
          </p:cNvSpPr>
          <p:nvPr>
            <p:ph type="pic" sz="quarter" idx="63" hasCustomPrompt="1"/>
          </p:nvPr>
        </p:nvSpPr>
        <p:spPr>
          <a:xfrm>
            <a:off x="7514312" y="1991728"/>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72" name="Picture Placeholder 2">
            <a:extLst>
              <a:ext uri="{FF2B5EF4-FFF2-40B4-BE49-F238E27FC236}">
                <a16:creationId xmlns:a16="http://schemas.microsoft.com/office/drawing/2014/main" id="{BD966590-FA82-45F1-92EB-CA4DE1A4B145}"/>
              </a:ext>
            </a:extLst>
          </p:cNvPr>
          <p:cNvSpPr>
            <a:spLocks noGrp="1"/>
          </p:cNvSpPr>
          <p:nvPr>
            <p:ph type="pic" sz="quarter" idx="65" hasCustomPrompt="1"/>
          </p:nvPr>
        </p:nvSpPr>
        <p:spPr>
          <a:xfrm>
            <a:off x="7514312" y="2510136"/>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73" name="Picture Placeholder 2">
            <a:extLst>
              <a:ext uri="{FF2B5EF4-FFF2-40B4-BE49-F238E27FC236}">
                <a16:creationId xmlns:a16="http://schemas.microsoft.com/office/drawing/2014/main" id="{E985B59C-0291-4039-B541-7C9A001C80E0}"/>
              </a:ext>
            </a:extLst>
          </p:cNvPr>
          <p:cNvSpPr>
            <a:spLocks noGrp="1"/>
          </p:cNvSpPr>
          <p:nvPr>
            <p:ph type="pic" sz="quarter" idx="67" hasCustomPrompt="1"/>
          </p:nvPr>
        </p:nvSpPr>
        <p:spPr>
          <a:xfrm>
            <a:off x="7501925" y="3016158"/>
            <a:ext cx="236247" cy="236245"/>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74" name="Picture Placeholder 2">
            <a:extLst>
              <a:ext uri="{FF2B5EF4-FFF2-40B4-BE49-F238E27FC236}">
                <a16:creationId xmlns:a16="http://schemas.microsoft.com/office/drawing/2014/main" id="{A0E03CF2-0A55-4A80-96BC-D9680570430B}"/>
              </a:ext>
            </a:extLst>
          </p:cNvPr>
          <p:cNvSpPr>
            <a:spLocks noGrp="1"/>
          </p:cNvSpPr>
          <p:nvPr>
            <p:ph type="pic" sz="quarter" idx="69" hasCustomPrompt="1"/>
          </p:nvPr>
        </p:nvSpPr>
        <p:spPr>
          <a:xfrm>
            <a:off x="7519068" y="3551709"/>
            <a:ext cx="201960" cy="201959"/>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48" name="Text Placeholder 4">
            <a:extLst>
              <a:ext uri="{FF2B5EF4-FFF2-40B4-BE49-F238E27FC236}">
                <a16:creationId xmlns:a16="http://schemas.microsoft.com/office/drawing/2014/main" id="{6175EFDF-9FA7-4DAD-8F0F-D468C126F908}"/>
              </a:ext>
            </a:extLst>
          </p:cNvPr>
          <p:cNvSpPr>
            <a:spLocks noGrp="1"/>
          </p:cNvSpPr>
          <p:nvPr>
            <p:ph type="body" sz="quarter" idx="52" hasCustomPrompt="1"/>
          </p:nvPr>
        </p:nvSpPr>
        <p:spPr>
          <a:xfrm>
            <a:off x="7391400" y="4041227"/>
            <a:ext cx="4316605"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51" name="Text Placeholder 4">
            <a:extLst>
              <a:ext uri="{FF2B5EF4-FFF2-40B4-BE49-F238E27FC236}">
                <a16:creationId xmlns:a16="http://schemas.microsoft.com/office/drawing/2014/main" id="{A79880F8-D1EC-4F72-BCD8-8EB30E0C09F4}"/>
              </a:ext>
            </a:extLst>
          </p:cNvPr>
          <p:cNvSpPr>
            <a:spLocks noGrp="1"/>
          </p:cNvSpPr>
          <p:nvPr>
            <p:ph type="body" sz="quarter" idx="73" hasCustomPrompt="1"/>
          </p:nvPr>
        </p:nvSpPr>
        <p:spPr>
          <a:xfrm>
            <a:off x="7391400" y="4248544"/>
            <a:ext cx="4316605" cy="184666"/>
          </a:xfrm>
        </p:spPr>
        <p:txBody>
          <a:bodyPr wrap="square" lIns="0" tIns="0" rIns="0" bIns="0" anchor="b">
            <a:sp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
        <p:nvSpPr>
          <p:cNvPr id="53" name="Chart Placeholder 8">
            <a:extLst>
              <a:ext uri="{FF2B5EF4-FFF2-40B4-BE49-F238E27FC236}">
                <a16:creationId xmlns:a16="http://schemas.microsoft.com/office/drawing/2014/main" id="{D949E650-C8F8-43DD-88B9-0E915102134F}"/>
              </a:ext>
            </a:extLst>
          </p:cNvPr>
          <p:cNvSpPr>
            <a:spLocks noGrp="1"/>
          </p:cNvSpPr>
          <p:nvPr>
            <p:ph type="chart" sz="quarter" idx="72"/>
          </p:nvPr>
        </p:nvSpPr>
        <p:spPr>
          <a:xfrm>
            <a:off x="7391400" y="4522099"/>
            <a:ext cx="4316605" cy="1550934"/>
          </a:xfrm>
        </p:spPr>
        <p:txBody>
          <a:bodyPr anchor="ctr">
            <a:noAutofit/>
          </a:bodyPr>
          <a:lstStyle>
            <a:lvl1pPr marL="0" indent="0" algn="ctr">
              <a:buNone/>
              <a:defRPr/>
            </a:lvl1pPr>
          </a:lstStyle>
          <a:p>
            <a:endParaRPr lang="en-US" dirty="0"/>
          </a:p>
        </p:txBody>
      </p:sp>
      <p:sp>
        <p:nvSpPr>
          <p:cNvPr id="54" name="Picture Placeholder 4">
            <a:extLst>
              <a:ext uri="{FF2B5EF4-FFF2-40B4-BE49-F238E27FC236}">
                <a16:creationId xmlns:a16="http://schemas.microsoft.com/office/drawing/2014/main" id="{6CA5ED5C-2825-442F-8A78-DBDAD7A23B17}"/>
              </a:ext>
            </a:extLst>
          </p:cNvPr>
          <p:cNvSpPr>
            <a:spLocks noGrp="1"/>
          </p:cNvSpPr>
          <p:nvPr>
            <p:ph type="pic" sz="quarter" idx="75"/>
          </p:nvPr>
        </p:nvSpPr>
        <p:spPr>
          <a:xfrm>
            <a:off x="8708721" y="1327528"/>
            <a:ext cx="1681962" cy="457650"/>
          </a:xfrm>
        </p:spPr>
        <p:txBody>
          <a:bodyPr anchor="ctr">
            <a:noAutofit/>
          </a:bodyPr>
          <a:lstStyle>
            <a:lvl1pPr marL="0" indent="0" algn="ctr">
              <a:buNone/>
              <a:defRPr sz="1200"/>
            </a:lvl1pPr>
          </a:lstStyle>
          <a:p>
            <a:endParaRPr lang="en-US" dirty="0"/>
          </a:p>
        </p:txBody>
      </p:sp>
      <p:sp>
        <p:nvSpPr>
          <p:cNvPr id="55" name="Text Placeholder 6">
            <a:extLst>
              <a:ext uri="{FF2B5EF4-FFF2-40B4-BE49-F238E27FC236}">
                <a16:creationId xmlns:a16="http://schemas.microsoft.com/office/drawing/2014/main" id="{7C8458F0-493B-40B2-B9D9-BDC9ED419918}"/>
              </a:ext>
            </a:extLst>
          </p:cNvPr>
          <p:cNvSpPr>
            <a:spLocks noGrp="1"/>
          </p:cNvSpPr>
          <p:nvPr>
            <p:ph type="body" sz="quarter" idx="74" hasCustomPrompt="1"/>
          </p:nvPr>
        </p:nvSpPr>
        <p:spPr>
          <a:xfrm>
            <a:off x="346990" y="1248858"/>
            <a:ext cx="6574511" cy="187167"/>
          </a:xfrm>
        </p:spPr>
        <p:txBody>
          <a:bodyPr/>
          <a:lstStyle>
            <a:lvl1pPr marL="237744" indent="-237744" algn="just">
              <a:lnSpc>
                <a:spcPct val="100000"/>
              </a:lnSpc>
              <a:spcBef>
                <a:spcPts val="0"/>
              </a:spcBef>
              <a:spcAft>
                <a:spcPts val="8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Tree>
    <p:extLst>
      <p:ext uri="{BB962C8B-B14F-4D97-AF65-F5344CB8AC3E}">
        <p14:creationId xmlns:p14="http://schemas.microsoft.com/office/powerpoint/2010/main" val="3381576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596009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71" name="Rectangle 70">
            <a:extLst>
              <a:ext uri="{FF2B5EF4-FFF2-40B4-BE49-F238E27FC236}">
                <a16:creationId xmlns:a16="http://schemas.microsoft.com/office/drawing/2014/main" id="{EE6A7863-B97E-4778-9B1F-237073CDD6B9}"/>
              </a:ext>
            </a:extLst>
          </p:cNvPr>
          <p:cNvSpPr/>
          <p:nvPr/>
        </p:nvSpPr>
        <p:spPr>
          <a:xfrm>
            <a:off x="4895254" y="4045975"/>
            <a:ext cx="2024539" cy="9469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Picture Placeholder 2">
            <a:extLst>
              <a:ext uri="{FF2B5EF4-FFF2-40B4-BE49-F238E27FC236}">
                <a16:creationId xmlns:a16="http://schemas.microsoft.com/office/drawing/2014/main" id="{A3D06615-625E-4F79-A29D-B0D9322068CF}"/>
              </a:ext>
            </a:extLst>
          </p:cNvPr>
          <p:cNvSpPr>
            <a:spLocks noGrp="1"/>
          </p:cNvSpPr>
          <p:nvPr>
            <p:ph type="pic" sz="quarter" idx="79" hasCustomPrompt="1"/>
          </p:nvPr>
        </p:nvSpPr>
        <p:spPr>
          <a:xfrm>
            <a:off x="5029484" y="4318781"/>
            <a:ext cx="356484" cy="401359"/>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70" name="Rectangle 69">
            <a:extLst>
              <a:ext uri="{FF2B5EF4-FFF2-40B4-BE49-F238E27FC236}">
                <a16:creationId xmlns:a16="http://schemas.microsoft.com/office/drawing/2014/main" id="{6B9183CC-E234-44DF-981A-FA5621E893A8}"/>
              </a:ext>
            </a:extLst>
          </p:cNvPr>
          <p:cNvSpPr/>
          <p:nvPr/>
        </p:nvSpPr>
        <p:spPr>
          <a:xfrm>
            <a:off x="2620267" y="4045975"/>
            <a:ext cx="2024539" cy="9469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69" name="Rectangle 68">
            <a:extLst>
              <a:ext uri="{FF2B5EF4-FFF2-40B4-BE49-F238E27FC236}">
                <a16:creationId xmlns:a16="http://schemas.microsoft.com/office/drawing/2014/main" id="{C4ABE9A4-D3D0-47B9-9E70-83FA8CA8877D}"/>
              </a:ext>
            </a:extLst>
          </p:cNvPr>
          <p:cNvSpPr/>
          <p:nvPr/>
        </p:nvSpPr>
        <p:spPr>
          <a:xfrm>
            <a:off x="345282" y="4045975"/>
            <a:ext cx="2024539" cy="9469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51" name="Rectangle 50">
            <a:extLst>
              <a:ext uri="{FF2B5EF4-FFF2-40B4-BE49-F238E27FC236}">
                <a16:creationId xmlns:a16="http://schemas.microsoft.com/office/drawing/2014/main" id="{B7F58A00-151F-41B8-9841-B46554F0BC72}"/>
              </a:ext>
            </a:extLst>
          </p:cNvPr>
          <p:cNvSpPr/>
          <p:nvPr userDrawn="1"/>
        </p:nvSpPr>
        <p:spPr>
          <a:xfrm>
            <a:off x="7251240" y="1248858"/>
            <a:ext cx="4593769" cy="49045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 Placeholder 4">
            <a:extLst>
              <a:ext uri="{FF2B5EF4-FFF2-40B4-BE49-F238E27FC236}">
                <a16:creationId xmlns:a16="http://schemas.microsoft.com/office/drawing/2014/main" id="{E1F1480D-2A1D-4F08-B953-E853917214DE}"/>
              </a:ext>
            </a:extLst>
          </p:cNvPr>
          <p:cNvSpPr>
            <a:spLocks noGrp="1"/>
          </p:cNvSpPr>
          <p:nvPr userDrawn="1">
            <p:ph type="body" sz="quarter" idx="54" hasCustomPrompt="1"/>
          </p:nvPr>
        </p:nvSpPr>
        <p:spPr>
          <a:xfrm>
            <a:off x="1025184" y="4411738"/>
            <a:ext cx="1208635"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87" name="Picture Placeholder 2">
            <a:extLst>
              <a:ext uri="{FF2B5EF4-FFF2-40B4-BE49-F238E27FC236}">
                <a16:creationId xmlns:a16="http://schemas.microsoft.com/office/drawing/2014/main" id="{3C3CF81A-D181-4E9D-9116-3346FE9C9DF3}"/>
              </a:ext>
            </a:extLst>
          </p:cNvPr>
          <p:cNvSpPr>
            <a:spLocks noGrp="1"/>
          </p:cNvSpPr>
          <p:nvPr userDrawn="1">
            <p:ph type="pic" sz="quarter" idx="29" hasCustomPrompt="1"/>
          </p:nvPr>
        </p:nvSpPr>
        <p:spPr>
          <a:xfrm>
            <a:off x="480791" y="4301557"/>
            <a:ext cx="371362" cy="43580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0" name="Text Placeholder 4">
            <a:extLst>
              <a:ext uri="{FF2B5EF4-FFF2-40B4-BE49-F238E27FC236}">
                <a16:creationId xmlns:a16="http://schemas.microsoft.com/office/drawing/2014/main" id="{CA32C307-68F5-4BCF-9BC0-5EF37974405E}"/>
              </a:ext>
            </a:extLst>
          </p:cNvPr>
          <p:cNvSpPr>
            <a:spLocks noGrp="1"/>
          </p:cNvSpPr>
          <p:nvPr userDrawn="1">
            <p:ph type="body" sz="quarter" idx="57" hasCustomPrompt="1"/>
          </p:nvPr>
        </p:nvSpPr>
        <p:spPr>
          <a:xfrm>
            <a:off x="3305210" y="4411738"/>
            <a:ext cx="117568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1" name="Picture Placeholder 2">
            <a:extLst>
              <a:ext uri="{FF2B5EF4-FFF2-40B4-BE49-F238E27FC236}">
                <a16:creationId xmlns:a16="http://schemas.microsoft.com/office/drawing/2014/main" id="{C3624F31-8E8C-4F98-AEEC-AA1E5BD9B224}"/>
              </a:ext>
            </a:extLst>
          </p:cNvPr>
          <p:cNvSpPr>
            <a:spLocks noGrp="1"/>
          </p:cNvSpPr>
          <p:nvPr userDrawn="1">
            <p:ph type="pic" sz="quarter" idx="58" hasCustomPrompt="1"/>
          </p:nvPr>
        </p:nvSpPr>
        <p:spPr>
          <a:xfrm>
            <a:off x="2720436" y="4234243"/>
            <a:ext cx="506654" cy="570434"/>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grpSp>
        <p:nvGrpSpPr>
          <p:cNvPr id="44" name="Group 43">
            <a:extLst>
              <a:ext uri="{FF2B5EF4-FFF2-40B4-BE49-F238E27FC236}">
                <a16:creationId xmlns:a16="http://schemas.microsoft.com/office/drawing/2014/main" id="{865FBD53-6F7B-40DA-A9EF-A8009AC39864}"/>
              </a:ext>
            </a:extLst>
          </p:cNvPr>
          <p:cNvGrpSpPr/>
          <p:nvPr userDrawn="1"/>
        </p:nvGrpSpPr>
        <p:grpSpPr>
          <a:xfrm rot="5400000" flipH="1">
            <a:off x="8478683" y="2788804"/>
            <a:ext cx="2135468" cy="4593769"/>
            <a:chOff x="0" y="0"/>
            <a:chExt cx="3868997" cy="6858001"/>
          </a:xfrm>
        </p:grpSpPr>
        <p:sp>
          <p:nvSpPr>
            <p:cNvPr id="50" name="Right Triangle 49">
              <a:extLst>
                <a:ext uri="{FF2B5EF4-FFF2-40B4-BE49-F238E27FC236}">
                  <a16:creationId xmlns:a16="http://schemas.microsoft.com/office/drawing/2014/main" id="{C19EF9D5-959F-4CDE-A227-4871127B0477}"/>
                </a:ext>
              </a:extLst>
            </p:cNvPr>
            <p:cNvSpPr/>
            <p:nvPr/>
          </p:nvSpPr>
          <p:spPr>
            <a:xfrm>
              <a:off x="0" y="1"/>
              <a:ext cx="3749040" cy="68580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Isosceles Triangle 51">
              <a:extLst>
                <a:ext uri="{FF2B5EF4-FFF2-40B4-BE49-F238E27FC236}">
                  <a16:creationId xmlns:a16="http://schemas.microsoft.com/office/drawing/2014/main" id="{3B52D032-E93D-4AFF-B33D-3E9A584E9418}"/>
                </a:ext>
              </a:extLst>
            </p:cNvPr>
            <p:cNvSpPr/>
            <p:nvPr/>
          </p:nvSpPr>
          <p:spPr>
            <a:xfrm flipH="1" flipV="1">
              <a:off x="50800" y="0"/>
              <a:ext cx="3818197" cy="3046991"/>
            </a:xfrm>
            <a:prstGeom prst="triangle">
              <a:avLst>
                <a:gd name="adj" fmla="val 565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 Placeholder 4">
            <a:extLst>
              <a:ext uri="{FF2B5EF4-FFF2-40B4-BE49-F238E27FC236}">
                <a16:creationId xmlns:a16="http://schemas.microsoft.com/office/drawing/2014/main" id="{01DF233D-4537-486D-9266-33D2727015BC}"/>
              </a:ext>
            </a:extLst>
          </p:cNvPr>
          <p:cNvSpPr>
            <a:spLocks noGrp="1"/>
          </p:cNvSpPr>
          <p:nvPr>
            <p:ph type="body" sz="quarter" idx="71" hasCustomPrompt="1"/>
          </p:nvPr>
        </p:nvSpPr>
        <p:spPr>
          <a:xfrm>
            <a:off x="5513379" y="4411738"/>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67" name="Text Placeholder 4">
            <a:extLst>
              <a:ext uri="{FF2B5EF4-FFF2-40B4-BE49-F238E27FC236}">
                <a16:creationId xmlns:a16="http://schemas.microsoft.com/office/drawing/2014/main" id="{F2E8FD14-80FA-4ED1-AF53-9C5C52A8080D}"/>
              </a:ext>
            </a:extLst>
          </p:cNvPr>
          <p:cNvSpPr>
            <a:spLocks noGrp="1"/>
          </p:cNvSpPr>
          <p:nvPr>
            <p:ph type="body" sz="quarter" idx="43" hasCustomPrompt="1"/>
          </p:nvPr>
        </p:nvSpPr>
        <p:spPr>
          <a:xfrm>
            <a:off x="346990" y="6251434"/>
            <a:ext cx="6574511" cy="154273"/>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Edit Master text styles</a:t>
            </a:r>
          </a:p>
        </p:txBody>
      </p:sp>
      <p:sp>
        <p:nvSpPr>
          <p:cNvPr id="72" name="Rectangle 71">
            <a:extLst>
              <a:ext uri="{FF2B5EF4-FFF2-40B4-BE49-F238E27FC236}">
                <a16:creationId xmlns:a16="http://schemas.microsoft.com/office/drawing/2014/main" id="{6EF35B33-9046-4B2D-BFAC-F99C9003D611}"/>
              </a:ext>
            </a:extLst>
          </p:cNvPr>
          <p:cNvSpPr/>
          <p:nvPr/>
        </p:nvSpPr>
        <p:spPr>
          <a:xfrm>
            <a:off x="345282" y="5206452"/>
            <a:ext cx="2024539" cy="946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C84082BC-B092-4B5E-BF35-16C0C07056B6}"/>
              </a:ext>
            </a:extLst>
          </p:cNvPr>
          <p:cNvSpPr/>
          <p:nvPr/>
        </p:nvSpPr>
        <p:spPr>
          <a:xfrm>
            <a:off x="2620267" y="5206452"/>
            <a:ext cx="2024539" cy="9469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ctangle 83">
            <a:extLst>
              <a:ext uri="{FF2B5EF4-FFF2-40B4-BE49-F238E27FC236}">
                <a16:creationId xmlns:a16="http://schemas.microsoft.com/office/drawing/2014/main" id="{0D76489D-54F7-4EAF-97BC-E3EF2302425F}"/>
              </a:ext>
            </a:extLst>
          </p:cNvPr>
          <p:cNvSpPr/>
          <p:nvPr/>
        </p:nvSpPr>
        <p:spPr>
          <a:xfrm>
            <a:off x="4895254" y="5206452"/>
            <a:ext cx="2024539" cy="9469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Picture Placeholder 2">
            <a:extLst>
              <a:ext uri="{FF2B5EF4-FFF2-40B4-BE49-F238E27FC236}">
                <a16:creationId xmlns:a16="http://schemas.microsoft.com/office/drawing/2014/main" id="{6E7249D0-2098-4F3C-93D0-F39AB73E3ED8}"/>
              </a:ext>
            </a:extLst>
          </p:cNvPr>
          <p:cNvSpPr>
            <a:spLocks noGrp="1"/>
          </p:cNvSpPr>
          <p:nvPr>
            <p:ph type="pic" sz="quarter" idx="73" hasCustomPrompt="1"/>
          </p:nvPr>
        </p:nvSpPr>
        <p:spPr>
          <a:xfrm>
            <a:off x="449218" y="5447968"/>
            <a:ext cx="434508" cy="46393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6" name="Text Placeholder 4">
            <a:extLst>
              <a:ext uri="{FF2B5EF4-FFF2-40B4-BE49-F238E27FC236}">
                <a16:creationId xmlns:a16="http://schemas.microsoft.com/office/drawing/2014/main" id="{75E46DB3-4100-4168-AE47-2B56223838B4}"/>
              </a:ext>
            </a:extLst>
          </p:cNvPr>
          <p:cNvSpPr>
            <a:spLocks noGrp="1"/>
          </p:cNvSpPr>
          <p:nvPr>
            <p:ph type="body" sz="quarter" idx="74" hasCustomPrompt="1"/>
          </p:nvPr>
        </p:nvSpPr>
        <p:spPr>
          <a:xfrm>
            <a:off x="1025183" y="5572215"/>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8" name="Text Placeholder 4">
            <a:extLst>
              <a:ext uri="{FF2B5EF4-FFF2-40B4-BE49-F238E27FC236}">
                <a16:creationId xmlns:a16="http://schemas.microsoft.com/office/drawing/2014/main" id="{1BB944B3-FD5B-4B37-893B-143944ED6ED4}"/>
              </a:ext>
            </a:extLst>
          </p:cNvPr>
          <p:cNvSpPr>
            <a:spLocks noGrp="1"/>
          </p:cNvSpPr>
          <p:nvPr>
            <p:ph type="body" sz="quarter" idx="75" hasCustomPrompt="1"/>
          </p:nvPr>
        </p:nvSpPr>
        <p:spPr>
          <a:xfrm>
            <a:off x="3305210" y="5572215"/>
            <a:ext cx="117568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110" name="Text Placeholder 4">
            <a:extLst>
              <a:ext uri="{FF2B5EF4-FFF2-40B4-BE49-F238E27FC236}">
                <a16:creationId xmlns:a16="http://schemas.microsoft.com/office/drawing/2014/main" id="{2B9A95E1-894D-41D9-808E-22F74516EF2A}"/>
              </a:ext>
            </a:extLst>
          </p:cNvPr>
          <p:cNvSpPr>
            <a:spLocks noGrp="1"/>
          </p:cNvSpPr>
          <p:nvPr>
            <p:ph type="body" sz="quarter" idx="76" hasCustomPrompt="1"/>
          </p:nvPr>
        </p:nvSpPr>
        <p:spPr>
          <a:xfrm>
            <a:off x="5513379" y="5572215"/>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112" name="Picture Placeholder 2">
            <a:extLst>
              <a:ext uri="{FF2B5EF4-FFF2-40B4-BE49-F238E27FC236}">
                <a16:creationId xmlns:a16="http://schemas.microsoft.com/office/drawing/2014/main" id="{00324C58-2AB0-4D17-BE6C-B5BBDFE035EE}"/>
              </a:ext>
            </a:extLst>
          </p:cNvPr>
          <p:cNvSpPr>
            <a:spLocks noGrp="1"/>
          </p:cNvSpPr>
          <p:nvPr>
            <p:ph type="pic" sz="quarter" idx="77" hasCustomPrompt="1"/>
          </p:nvPr>
        </p:nvSpPr>
        <p:spPr>
          <a:xfrm>
            <a:off x="2786672" y="5421260"/>
            <a:ext cx="374182" cy="517355"/>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113" name="Picture Placeholder 2">
            <a:extLst>
              <a:ext uri="{FF2B5EF4-FFF2-40B4-BE49-F238E27FC236}">
                <a16:creationId xmlns:a16="http://schemas.microsoft.com/office/drawing/2014/main" id="{9A490527-98E0-4B5E-93BF-A4BEA6ABE04B}"/>
              </a:ext>
            </a:extLst>
          </p:cNvPr>
          <p:cNvSpPr>
            <a:spLocks noGrp="1"/>
          </p:cNvSpPr>
          <p:nvPr>
            <p:ph type="pic" sz="quarter" idx="78" hasCustomPrompt="1"/>
          </p:nvPr>
        </p:nvSpPr>
        <p:spPr>
          <a:xfrm>
            <a:off x="5061659" y="5421260"/>
            <a:ext cx="374182" cy="517355"/>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cxnSp>
        <p:nvCxnSpPr>
          <p:cNvPr id="115" name="Straight Connector 114">
            <a:extLst>
              <a:ext uri="{FF2B5EF4-FFF2-40B4-BE49-F238E27FC236}">
                <a16:creationId xmlns:a16="http://schemas.microsoft.com/office/drawing/2014/main" id="{A8E71520-AD05-4886-974A-04F8678E2456}"/>
              </a:ext>
            </a:extLst>
          </p:cNvPr>
          <p:cNvCxnSpPr>
            <a:cxnSpLocks/>
          </p:cNvCxnSpPr>
          <p:nvPr userDrawn="1"/>
        </p:nvCxnSpPr>
        <p:spPr>
          <a:xfrm>
            <a:off x="7391400" y="1785178"/>
            <a:ext cx="431660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7" name="Text Placeholder 4">
            <a:extLst>
              <a:ext uri="{FF2B5EF4-FFF2-40B4-BE49-F238E27FC236}">
                <a16:creationId xmlns:a16="http://schemas.microsoft.com/office/drawing/2014/main" id="{E250F7A5-9769-43A3-947F-8ED38E51D4C0}"/>
              </a:ext>
            </a:extLst>
          </p:cNvPr>
          <p:cNvSpPr>
            <a:spLocks noGrp="1"/>
          </p:cNvSpPr>
          <p:nvPr>
            <p:ph type="body" sz="quarter" idx="64" hasCustomPrompt="1"/>
          </p:nvPr>
        </p:nvSpPr>
        <p:spPr>
          <a:xfrm>
            <a:off x="7918417" y="2005131"/>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18" name="Text Placeholder 4">
            <a:extLst>
              <a:ext uri="{FF2B5EF4-FFF2-40B4-BE49-F238E27FC236}">
                <a16:creationId xmlns:a16="http://schemas.microsoft.com/office/drawing/2014/main" id="{53C81926-5616-43AA-B0CE-B8F71FE107B9}"/>
              </a:ext>
            </a:extLst>
          </p:cNvPr>
          <p:cNvSpPr>
            <a:spLocks noGrp="1"/>
          </p:cNvSpPr>
          <p:nvPr>
            <p:ph type="body" sz="quarter" idx="66" hasCustomPrompt="1"/>
          </p:nvPr>
        </p:nvSpPr>
        <p:spPr>
          <a:xfrm>
            <a:off x="7916804" y="2523539"/>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19" name="Text Placeholder 4">
            <a:extLst>
              <a:ext uri="{FF2B5EF4-FFF2-40B4-BE49-F238E27FC236}">
                <a16:creationId xmlns:a16="http://schemas.microsoft.com/office/drawing/2014/main" id="{4F8F3DC1-C58E-4104-B6DD-5B7813372B92}"/>
              </a:ext>
            </a:extLst>
          </p:cNvPr>
          <p:cNvSpPr>
            <a:spLocks noGrp="1"/>
          </p:cNvSpPr>
          <p:nvPr>
            <p:ph type="body" sz="quarter" idx="68" hasCustomPrompt="1"/>
          </p:nvPr>
        </p:nvSpPr>
        <p:spPr>
          <a:xfrm>
            <a:off x="7916804" y="3041947"/>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20" name="Text Placeholder 4">
            <a:extLst>
              <a:ext uri="{FF2B5EF4-FFF2-40B4-BE49-F238E27FC236}">
                <a16:creationId xmlns:a16="http://schemas.microsoft.com/office/drawing/2014/main" id="{DAE097BB-0EFB-49CB-8BDE-C53CF2C21ECD}"/>
              </a:ext>
            </a:extLst>
          </p:cNvPr>
          <p:cNvSpPr>
            <a:spLocks noGrp="1"/>
          </p:cNvSpPr>
          <p:nvPr>
            <p:ph type="body" sz="quarter" idx="70" hasCustomPrompt="1"/>
          </p:nvPr>
        </p:nvSpPr>
        <p:spPr>
          <a:xfrm>
            <a:off x="7916804" y="3560355"/>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21" name="Oval 120">
            <a:extLst>
              <a:ext uri="{FF2B5EF4-FFF2-40B4-BE49-F238E27FC236}">
                <a16:creationId xmlns:a16="http://schemas.microsoft.com/office/drawing/2014/main" id="{1B135564-1B8B-4C5B-BA0A-8855DAB23DDB}"/>
              </a:ext>
            </a:extLst>
          </p:cNvPr>
          <p:cNvSpPr/>
          <p:nvPr userDrawn="1"/>
        </p:nvSpPr>
        <p:spPr>
          <a:xfrm>
            <a:off x="7419145" y="1896562"/>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2" name="Oval 121">
            <a:extLst>
              <a:ext uri="{FF2B5EF4-FFF2-40B4-BE49-F238E27FC236}">
                <a16:creationId xmlns:a16="http://schemas.microsoft.com/office/drawing/2014/main" id="{4EAB28AD-5DFB-44D2-A6B1-75A6ABB6C909}"/>
              </a:ext>
            </a:extLst>
          </p:cNvPr>
          <p:cNvSpPr/>
          <p:nvPr userDrawn="1"/>
        </p:nvSpPr>
        <p:spPr>
          <a:xfrm>
            <a:off x="7419145" y="3451786"/>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3" name="Oval 122">
            <a:extLst>
              <a:ext uri="{FF2B5EF4-FFF2-40B4-BE49-F238E27FC236}">
                <a16:creationId xmlns:a16="http://schemas.microsoft.com/office/drawing/2014/main" id="{D866A161-209C-46FB-A513-287E550B969D}"/>
              </a:ext>
            </a:extLst>
          </p:cNvPr>
          <p:cNvSpPr/>
          <p:nvPr userDrawn="1"/>
        </p:nvSpPr>
        <p:spPr>
          <a:xfrm>
            <a:off x="7419145" y="2933378"/>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4" name="Oval 123">
            <a:extLst>
              <a:ext uri="{FF2B5EF4-FFF2-40B4-BE49-F238E27FC236}">
                <a16:creationId xmlns:a16="http://schemas.microsoft.com/office/drawing/2014/main" id="{B7F0FF5F-A6DF-4B75-B588-774C5A40FA66}"/>
              </a:ext>
            </a:extLst>
          </p:cNvPr>
          <p:cNvSpPr/>
          <p:nvPr userDrawn="1"/>
        </p:nvSpPr>
        <p:spPr>
          <a:xfrm>
            <a:off x="7419145" y="2414970"/>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Picture Placeholder 2">
            <a:extLst>
              <a:ext uri="{FF2B5EF4-FFF2-40B4-BE49-F238E27FC236}">
                <a16:creationId xmlns:a16="http://schemas.microsoft.com/office/drawing/2014/main" id="{342BF36D-5A5A-4DE4-90B1-7914F4451336}"/>
              </a:ext>
            </a:extLst>
          </p:cNvPr>
          <p:cNvSpPr>
            <a:spLocks noGrp="1"/>
          </p:cNvSpPr>
          <p:nvPr>
            <p:ph type="pic" sz="quarter" idx="63" hasCustomPrompt="1"/>
          </p:nvPr>
        </p:nvSpPr>
        <p:spPr>
          <a:xfrm>
            <a:off x="7514312" y="1991728"/>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6" name="Picture Placeholder 2">
            <a:extLst>
              <a:ext uri="{FF2B5EF4-FFF2-40B4-BE49-F238E27FC236}">
                <a16:creationId xmlns:a16="http://schemas.microsoft.com/office/drawing/2014/main" id="{2011C51B-7181-44BD-BBB1-A34D0FADD7CA}"/>
              </a:ext>
            </a:extLst>
          </p:cNvPr>
          <p:cNvSpPr>
            <a:spLocks noGrp="1"/>
          </p:cNvSpPr>
          <p:nvPr>
            <p:ph type="pic" sz="quarter" idx="65" hasCustomPrompt="1"/>
          </p:nvPr>
        </p:nvSpPr>
        <p:spPr>
          <a:xfrm>
            <a:off x="7514312" y="2510136"/>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7" name="Picture Placeholder 2">
            <a:extLst>
              <a:ext uri="{FF2B5EF4-FFF2-40B4-BE49-F238E27FC236}">
                <a16:creationId xmlns:a16="http://schemas.microsoft.com/office/drawing/2014/main" id="{3D2CA698-FF58-4CA0-9851-FC52B60436C7}"/>
              </a:ext>
            </a:extLst>
          </p:cNvPr>
          <p:cNvSpPr>
            <a:spLocks noGrp="1"/>
          </p:cNvSpPr>
          <p:nvPr>
            <p:ph type="pic" sz="quarter" idx="67" hasCustomPrompt="1"/>
          </p:nvPr>
        </p:nvSpPr>
        <p:spPr>
          <a:xfrm>
            <a:off x="7501925" y="3016158"/>
            <a:ext cx="236247" cy="236245"/>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8" name="Picture Placeholder 2">
            <a:extLst>
              <a:ext uri="{FF2B5EF4-FFF2-40B4-BE49-F238E27FC236}">
                <a16:creationId xmlns:a16="http://schemas.microsoft.com/office/drawing/2014/main" id="{770D1A0C-2DCF-4EC9-8CEB-B1F07F06F121}"/>
              </a:ext>
            </a:extLst>
          </p:cNvPr>
          <p:cNvSpPr>
            <a:spLocks noGrp="1"/>
          </p:cNvSpPr>
          <p:nvPr>
            <p:ph type="pic" sz="quarter" idx="69" hasCustomPrompt="1"/>
          </p:nvPr>
        </p:nvSpPr>
        <p:spPr>
          <a:xfrm>
            <a:off x="7519068" y="3551709"/>
            <a:ext cx="201960" cy="201959"/>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53" name="Picture Placeholder 4">
            <a:extLst>
              <a:ext uri="{FF2B5EF4-FFF2-40B4-BE49-F238E27FC236}">
                <a16:creationId xmlns:a16="http://schemas.microsoft.com/office/drawing/2014/main" id="{D6D6904F-A856-4FD4-B38B-88522183C41B}"/>
              </a:ext>
            </a:extLst>
          </p:cNvPr>
          <p:cNvSpPr>
            <a:spLocks noGrp="1"/>
          </p:cNvSpPr>
          <p:nvPr>
            <p:ph type="pic" sz="quarter" idx="80"/>
          </p:nvPr>
        </p:nvSpPr>
        <p:spPr>
          <a:xfrm>
            <a:off x="8708721" y="1327528"/>
            <a:ext cx="1681962" cy="457650"/>
          </a:xfrm>
        </p:spPr>
        <p:txBody>
          <a:bodyPr anchor="ctr">
            <a:noAutofit/>
          </a:bodyPr>
          <a:lstStyle>
            <a:lvl1pPr marL="0" indent="0" algn="ctr">
              <a:buNone/>
              <a:defRPr sz="1200"/>
            </a:lvl1pPr>
          </a:lstStyle>
          <a:p>
            <a:endParaRPr lang="en-US" dirty="0"/>
          </a:p>
        </p:txBody>
      </p:sp>
      <p:sp>
        <p:nvSpPr>
          <p:cNvPr id="54" name="Text Placeholder 6">
            <a:extLst>
              <a:ext uri="{FF2B5EF4-FFF2-40B4-BE49-F238E27FC236}">
                <a16:creationId xmlns:a16="http://schemas.microsoft.com/office/drawing/2014/main" id="{4899873F-49BF-4153-BE60-84E71B7E1FF3}"/>
              </a:ext>
            </a:extLst>
          </p:cNvPr>
          <p:cNvSpPr>
            <a:spLocks noGrp="1"/>
          </p:cNvSpPr>
          <p:nvPr>
            <p:ph type="body" sz="quarter" idx="81" hasCustomPrompt="1"/>
          </p:nvPr>
        </p:nvSpPr>
        <p:spPr>
          <a:xfrm>
            <a:off x="346990" y="1248858"/>
            <a:ext cx="6574511" cy="187167"/>
          </a:xfrm>
        </p:spPr>
        <p:txBody>
          <a:bodyPr/>
          <a:lstStyle>
            <a:lvl1pPr marL="237744" indent="-237744" algn="just">
              <a:lnSpc>
                <a:spcPct val="100000"/>
              </a:lnSpc>
              <a:spcBef>
                <a:spcPts val="0"/>
              </a:spcBef>
              <a:spcAft>
                <a:spcPts val="8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Tree>
    <p:extLst>
      <p:ext uri="{BB962C8B-B14F-4D97-AF65-F5344CB8AC3E}">
        <p14:creationId xmlns:p14="http://schemas.microsoft.com/office/powerpoint/2010/main" val="13921276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243968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50" name="Rectangle 49">
            <a:extLst>
              <a:ext uri="{FF2B5EF4-FFF2-40B4-BE49-F238E27FC236}">
                <a16:creationId xmlns:a16="http://schemas.microsoft.com/office/drawing/2014/main" id="{794C011E-428F-4365-B306-70A4FD76422B}"/>
              </a:ext>
            </a:extLst>
          </p:cNvPr>
          <p:cNvSpPr/>
          <p:nvPr userDrawn="1"/>
        </p:nvSpPr>
        <p:spPr>
          <a:xfrm>
            <a:off x="4895254" y="4045975"/>
            <a:ext cx="2024539" cy="9469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a:extLst>
              <a:ext uri="{FF2B5EF4-FFF2-40B4-BE49-F238E27FC236}">
                <a16:creationId xmlns:a16="http://schemas.microsoft.com/office/drawing/2014/main" id="{8AF21615-B237-46AF-9837-9EB8B795B429}"/>
              </a:ext>
            </a:extLst>
          </p:cNvPr>
          <p:cNvSpPr/>
          <p:nvPr userDrawn="1"/>
        </p:nvSpPr>
        <p:spPr>
          <a:xfrm>
            <a:off x="2620267" y="4045975"/>
            <a:ext cx="2024539" cy="9469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52" name="Rectangle 51">
            <a:extLst>
              <a:ext uri="{FF2B5EF4-FFF2-40B4-BE49-F238E27FC236}">
                <a16:creationId xmlns:a16="http://schemas.microsoft.com/office/drawing/2014/main" id="{BA57B3DB-CCEC-4339-B376-E2C03B8EAB6B}"/>
              </a:ext>
            </a:extLst>
          </p:cNvPr>
          <p:cNvSpPr/>
          <p:nvPr userDrawn="1"/>
        </p:nvSpPr>
        <p:spPr>
          <a:xfrm>
            <a:off x="345282" y="4045975"/>
            <a:ext cx="2024539" cy="9469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308CB76A-E3C6-4670-89B8-C62B1C2EE995}"/>
              </a:ext>
            </a:extLst>
          </p:cNvPr>
          <p:cNvSpPr/>
          <p:nvPr userDrawn="1"/>
        </p:nvSpPr>
        <p:spPr>
          <a:xfrm>
            <a:off x="345282" y="5206452"/>
            <a:ext cx="2024539" cy="9469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F429E37D-C204-447C-8C83-F482DC121881}"/>
              </a:ext>
            </a:extLst>
          </p:cNvPr>
          <p:cNvSpPr/>
          <p:nvPr userDrawn="1"/>
        </p:nvSpPr>
        <p:spPr>
          <a:xfrm>
            <a:off x="2620267" y="5206452"/>
            <a:ext cx="2024539" cy="9469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D011953C-1B23-45A9-8A86-46E58517A81F}"/>
              </a:ext>
            </a:extLst>
          </p:cNvPr>
          <p:cNvSpPr/>
          <p:nvPr userDrawn="1"/>
        </p:nvSpPr>
        <p:spPr>
          <a:xfrm>
            <a:off x="4895254" y="5206452"/>
            <a:ext cx="2024539" cy="9469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6049F04B-EA24-4F5B-B6B4-EA09390BFDD5}"/>
              </a:ext>
            </a:extLst>
          </p:cNvPr>
          <p:cNvSpPr/>
          <p:nvPr userDrawn="1"/>
        </p:nvSpPr>
        <p:spPr>
          <a:xfrm>
            <a:off x="7251240" y="1248859"/>
            <a:ext cx="4593769" cy="27789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BF21472A-7CD8-4093-9D97-B7418071550C}"/>
              </a:ext>
            </a:extLst>
          </p:cNvPr>
          <p:cNvSpPr>
            <a:spLocks noGrp="1"/>
          </p:cNvSpPr>
          <p:nvPr>
            <p:ph type="pic" sz="quarter" idx="80"/>
          </p:nvPr>
        </p:nvSpPr>
        <p:spPr>
          <a:xfrm>
            <a:off x="7251240" y="4121333"/>
            <a:ext cx="4593768" cy="1985588"/>
          </a:xfrm>
        </p:spPr>
        <p:txBody>
          <a:bodyPr/>
          <a:lstStyle/>
          <a:p>
            <a:endParaRPr lang="en-US" dirty="0"/>
          </a:p>
        </p:txBody>
      </p:sp>
      <p:sp>
        <p:nvSpPr>
          <p:cNvPr id="114" name="Picture Placeholder 2">
            <a:extLst>
              <a:ext uri="{FF2B5EF4-FFF2-40B4-BE49-F238E27FC236}">
                <a16:creationId xmlns:a16="http://schemas.microsoft.com/office/drawing/2014/main" id="{A3D06615-625E-4F79-A29D-B0D9322068CF}"/>
              </a:ext>
            </a:extLst>
          </p:cNvPr>
          <p:cNvSpPr>
            <a:spLocks noGrp="1"/>
          </p:cNvSpPr>
          <p:nvPr>
            <p:ph type="pic" sz="quarter" idx="79" hasCustomPrompt="1"/>
          </p:nvPr>
        </p:nvSpPr>
        <p:spPr>
          <a:xfrm>
            <a:off x="5029484" y="4318781"/>
            <a:ext cx="356484" cy="401359"/>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86" name="Text Placeholder 4">
            <a:extLst>
              <a:ext uri="{FF2B5EF4-FFF2-40B4-BE49-F238E27FC236}">
                <a16:creationId xmlns:a16="http://schemas.microsoft.com/office/drawing/2014/main" id="{E1F1480D-2A1D-4F08-B953-E853917214DE}"/>
              </a:ext>
            </a:extLst>
          </p:cNvPr>
          <p:cNvSpPr>
            <a:spLocks noGrp="1"/>
          </p:cNvSpPr>
          <p:nvPr userDrawn="1">
            <p:ph type="body" sz="quarter" idx="54" hasCustomPrompt="1"/>
          </p:nvPr>
        </p:nvSpPr>
        <p:spPr>
          <a:xfrm>
            <a:off x="1025184" y="4411738"/>
            <a:ext cx="1208635"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87" name="Picture Placeholder 2">
            <a:extLst>
              <a:ext uri="{FF2B5EF4-FFF2-40B4-BE49-F238E27FC236}">
                <a16:creationId xmlns:a16="http://schemas.microsoft.com/office/drawing/2014/main" id="{3C3CF81A-D181-4E9D-9116-3346FE9C9DF3}"/>
              </a:ext>
            </a:extLst>
          </p:cNvPr>
          <p:cNvSpPr>
            <a:spLocks noGrp="1"/>
          </p:cNvSpPr>
          <p:nvPr userDrawn="1">
            <p:ph type="pic" sz="quarter" idx="29" hasCustomPrompt="1"/>
          </p:nvPr>
        </p:nvSpPr>
        <p:spPr>
          <a:xfrm>
            <a:off x="480791" y="4301557"/>
            <a:ext cx="371362" cy="435806"/>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0" name="Text Placeholder 4">
            <a:extLst>
              <a:ext uri="{FF2B5EF4-FFF2-40B4-BE49-F238E27FC236}">
                <a16:creationId xmlns:a16="http://schemas.microsoft.com/office/drawing/2014/main" id="{CA32C307-68F5-4BCF-9BC0-5EF37974405E}"/>
              </a:ext>
            </a:extLst>
          </p:cNvPr>
          <p:cNvSpPr>
            <a:spLocks noGrp="1"/>
          </p:cNvSpPr>
          <p:nvPr userDrawn="1">
            <p:ph type="body" sz="quarter" idx="57" hasCustomPrompt="1"/>
          </p:nvPr>
        </p:nvSpPr>
        <p:spPr>
          <a:xfrm>
            <a:off x="3305210" y="4411738"/>
            <a:ext cx="117568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1" name="Picture Placeholder 2">
            <a:extLst>
              <a:ext uri="{FF2B5EF4-FFF2-40B4-BE49-F238E27FC236}">
                <a16:creationId xmlns:a16="http://schemas.microsoft.com/office/drawing/2014/main" id="{C3624F31-8E8C-4F98-AEEC-AA1E5BD9B224}"/>
              </a:ext>
            </a:extLst>
          </p:cNvPr>
          <p:cNvSpPr>
            <a:spLocks noGrp="1"/>
          </p:cNvSpPr>
          <p:nvPr userDrawn="1">
            <p:ph type="pic" sz="quarter" idx="58" hasCustomPrompt="1"/>
          </p:nvPr>
        </p:nvSpPr>
        <p:spPr>
          <a:xfrm>
            <a:off x="2720436" y="4234243"/>
            <a:ext cx="506654" cy="570434"/>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62" name="Text Placeholder 4">
            <a:extLst>
              <a:ext uri="{FF2B5EF4-FFF2-40B4-BE49-F238E27FC236}">
                <a16:creationId xmlns:a16="http://schemas.microsoft.com/office/drawing/2014/main" id="{01DF233D-4537-486D-9266-33D2727015BC}"/>
              </a:ext>
            </a:extLst>
          </p:cNvPr>
          <p:cNvSpPr>
            <a:spLocks noGrp="1"/>
          </p:cNvSpPr>
          <p:nvPr>
            <p:ph type="body" sz="quarter" idx="71" hasCustomPrompt="1"/>
          </p:nvPr>
        </p:nvSpPr>
        <p:spPr>
          <a:xfrm>
            <a:off x="5513379" y="4411738"/>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67" name="Text Placeholder 4">
            <a:extLst>
              <a:ext uri="{FF2B5EF4-FFF2-40B4-BE49-F238E27FC236}">
                <a16:creationId xmlns:a16="http://schemas.microsoft.com/office/drawing/2014/main" id="{F2E8FD14-80FA-4ED1-AF53-9C5C52A8080D}"/>
              </a:ext>
            </a:extLst>
          </p:cNvPr>
          <p:cNvSpPr>
            <a:spLocks noGrp="1"/>
          </p:cNvSpPr>
          <p:nvPr>
            <p:ph type="body" sz="quarter" idx="43" hasCustomPrompt="1"/>
          </p:nvPr>
        </p:nvSpPr>
        <p:spPr>
          <a:xfrm>
            <a:off x="346990" y="6251434"/>
            <a:ext cx="6574511" cy="154273"/>
          </a:xfrm>
        </p:spPr>
        <p:txBody>
          <a:bodyPr/>
          <a:lstStyle>
            <a:lvl1pPr marL="0" indent="0" algn="l">
              <a:lnSpc>
                <a:spcPct val="110000"/>
              </a:lnSpc>
              <a:spcBef>
                <a:spcPts val="0"/>
              </a:spcBef>
              <a:spcAft>
                <a:spcPts val="0"/>
              </a:spcAft>
              <a:buNone/>
              <a:defRPr sz="1000">
                <a:solidFill>
                  <a:schemeClr val="bg1">
                    <a:lumMod val="50000"/>
                  </a:schemeClr>
                </a:solidFill>
              </a:defRPr>
            </a:lvl1pPr>
          </a:lstStyle>
          <a:p>
            <a:pPr lvl="0"/>
            <a:r>
              <a:rPr lang="en-US"/>
              <a:t>Edit Master text styles</a:t>
            </a:r>
          </a:p>
        </p:txBody>
      </p:sp>
      <p:sp>
        <p:nvSpPr>
          <p:cNvPr id="89" name="Picture Placeholder 2">
            <a:extLst>
              <a:ext uri="{FF2B5EF4-FFF2-40B4-BE49-F238E27FC236}">
                <a16:creationId xmlns:a16="http://schemas.microsoft.com/office/drawing/2014/main" id="{6E7249D0-2098-4F3C-93D0-F39AB73E3ED8}"/>
              </a:ext>
            </a:extLst>
          </p:cNvPr>
          <p:cNvSpPr>
            <a:spLocks noGrp="1"/>
          </p:cNvSpPr>
          <p:nvPr>
            <p:ph type="pic" sz="quarter" idx="73" hasCustomPrompt="1"/>
          </p:nvPr>
        </p:nvSpPr>
        <p:spPr>
          <a:xfrm>
            <a:off x="449218" y="5447968"/>
            <a:ext cx="434508" cy="463938"/>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96" name="Text Placeholder 4">
            <a:extLst>
              <a:ext uri="{FF2B5EF4-FFF2-40B4-BE49-F238E27FC236}">
                <a16:creationId xmlns:a16="http://schemas.microsoft.com/office/drawing/2014/main" id="{75E46DB3-4100-4168-AE47-2B56223838B4}"/>
              </a:ext>
            </a:extLst>
          </p:cNvPr>
          <p:cNvSpPr>
            <a:spLocks noGrp="1"/>
          </p:cNvSpPr>
          <p:nvPr>
            <p:ph type="body" sz="quarter" idx="74" hasCustomPrompt="1"/>
          </p:nvPr>
        </p:nvSpPr>
        <p:spPr>
          <a:xfrm>
            <a:off x="1025183" y="5572215"/>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98" name="Text Placeholder 4">
            <a:extLst>
              <a:ext uri="{FF2B5EF4-FFF2-40B4-BE49-F238E27FC236}">
                <a16:creationId xmlns:a16="http://schemas.microsoft.com/office/drawing/2014/main" id="{1BB944B3-FD5B-4B37-893B-143944ED6ED4}"/>
              </a:ext>
            </a:extLst>
          </p:cNvPr>
          <p:cNvSpPr>
            <a:spLocks noGrp="1"/>
          </p:cNvSpPr>
          <p:nvPr>
            <p:ph type="body" sz="quarter" idx="75" hasCustomPrompt="1"/>
          </p:nvPr>
        </p:nvSpPr>
        <p:spPr>
          <a:xfrm>
            <a:off x="3305210" y="5572215"/>
            <a:ext cx="1175683"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110" name="Text Placeholder 4">
            <a:extLst>
              <a:ext uri="{FF2B5EF4-FFF2-40B4-BE49-F238E27FC236}">
                <a16:creationId xmlns:a16="http://schemas.microsoft.com/office/drawing/2014/main" id="{2B9A95E1-894D-41D9-808E-22F74516EF2A}"/>
              </a:ext>
            </a:extLst>
          </p:cNvPr>
          <p:cNvSpPr>
            <a:spLocks noGrp="1"/>
          </p:cNvSpPr>
          <p:nvPr>
            <p:ph type="body" sz="quarter" idx="76" hasCustomPrompt="1"/>
          </p:nvPr>
        </p:nvSpPr>
        <p:spPr>
          <a:xfrm>
            <a:off x="5513379" y="5572215"/>
            <a:ext cx="1281768" cy="215444"/>
          </a:xfrm>
        </p:spPr>
        <p:txBody>
          <a:bodyPr wrap="square" lIns="0" tIns="0" rIns="0" bIns="0" anchor="ctr">
            <a:spAutoFit/>
          </a:bodyPr>
          <a:lstStyle>
            <a:lvl1pPr marL="0" indent="0">
              <a:lnSpc>
                <a:spcPct val="100000"/>
              </a:lnSpc>
              <a:spcBef>
                <a:spcPts val="0"/>
              </a:spcBef>
              <a:spcAft>
                <a:spcPts val="0"/>
              </a:spcAft>
              <a:buNone/>
              <a:defRPr lang="en-US" sz="1400" b="0" dirty="0">
                <a:solidFill>
                  <a:schemeClr val="bg1"/>
                </a:solidFill>
              </a:defRPr>
            </a:lvl1pPr>
          </a:lstStyle>
          <a:p>
            <a:pPr marL="0" lvl="0">
              <a:spcAft>
                <a:spcPts val="500"/>
              </a:spcAft>
            </a:pPr>
            <a:r>
              <a:rPr lang="en-US"/>
              <a:t>Text</a:t>
            </a:r>
          </a:p>
        </p:txBody>
      </p:sp>
      <p:sp>
        <p:nvSpPr>
          <p:cNvPr id="112" name="Picture Placeholder 2">
            <a:extLst>
              <a:ext uri="{FF2B5EF4-FFF2-40B4-BE49-F238E27FC236}">
                <a16:creationId xmlns:a16="http://schemas.microsoft.com/office/drawing/2014/main" id="{00324C58-2AB0-4D17-BE6C-B5BBDFE035EE}"/>
              </a:ext>
            </a:extLst>
          </p:cNvPr>
          <p:cNvSpPr>
            <a:spLocks noGrp="1"/>
          </p:cNvSpPr>
          <p:nvPr>
            <p:ph type="pic" sz="quarter" idx="77" hasCustomPrompt="1"/>
          </p:nvPr>
        </p:nvSpPr>
        <p:spPr>
          <a:xfrm>
            <a:off x="2786672" y="5421260"/>
            <a:ext cx="374182" cy="517355"/>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sp>
        <p:nvSpPr>
          <p:cNvPr id="113" name="Picture Placeholder 2">
            <a:extLst>
              <a:ext uri="{FF2B5EF4-FFF2-40B4-BE49-F238E27FC236}">
                <a16:creationId xmlns:a16="http://schemas.microsoft.com/office/drawing/2014/main" id="{9A490527-98E0-4B5E-93BF-A4BEA6ABE04B}"/>
              </a:ext>
            </a:extLst>
          </p:cNvPr>
          <p:cNvSpPr>
            <a:spLocks noGrp="1"/>
          </p:cNvSpPr>
          <p:nvPr>
            <p:ph type="pic" sz="quarter" idx="78" hasCustomPrompt="1"/>
          </p:nvPr>
        </p:nvSpPr>
        <p:spPr>
          <a:xfrm>
            <a:off x="5061659" y="5421260"/>
            <a:ext cx="374182" cy="517355"/>
          </a:xfrm>
          <a:prstGeom prst="rect">
            <a:avLst/>
          </a:prstGeom>
        </p:spPr>
        <p:txBody>
          <a:bodyPr anchor="ctr" anchorCtr="1">
            <a:noAutofit/>
          </a:bodyPr>
          <a:lstStyle>
            <a:lvl1pPr marL="0" indent="0">
              <a:buNone/>
              <a:defRPr sz="1400">
                <a:solidFill>
                  <a:schemeClr val="bg1"/>
                </a:solidFill>
              </a:defRPr>
            </a:lvl1pPr>
          </a:lstStyle>
          <a:p>
            <a:r>
              <a:rPr lang="en-US" dirty="0"/>
              <a:t>Icon</a:t>
            </a:r>
          </a:p>
        </p:txBody>
      </p:sp>
      <p:cxnSp>
        <p:nvCxnSpPr>
          <p:cNvPr id="115" name="Straight Connector 114">
            <a:extLst>
              <a:ext uri="{FF2B5EF4-FFF2-40B4-BE49-F238E27FC236}">
                <a16:creationId xmlns:a16="http://schemas.microsoft.com/office/drawing/2014/main" id="{A8E71520-AD05-4886-974A-04F8678E2456}"/>
              </a:ext>
            </a:extLst>
          </p:cNvPr>
          <p:cNvCxnSpPr>
            <a:cxnSpLocks/>
          </p:cNvCxnSpPr>
          <p:nvPr userDrawn="1"/>
        </p:nvCxnSpPr>
        <p:spPr>
          <a:xfrm>
            <a:off x="7391400" y="1785178"/>
            <a:ext cx="431660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7" name="Text Placeholder 4">
            <a:extLst>
              <a:ext uri="{FF2B5EF4-FFF2-40B4-BE49-F238E27FC236}">
                <a16:creationId xmlns:a16="http://schemas.microsoft.com/office/drawing/2014/main" id="{E250F7A5-9769-43A3-947F-8ED38E51D4C0}"/>
              </a:ext>
            </a:extLst>
          </p:cNvPr>
          <p:cNvSpPr>
            <a:spLocks noGrp="1"/>
          </p:cNvSpPr>
          <p:nvPr>
            <p:ph type="body" sz="quarter" idx="64" hasCustomPrompt="1"/>
          </p:nvPr>
        </p:nvSpPr>
        <p:spPr>
          <a:xfrm>
            <a:off x="7918417" y="2005131"/>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18" name="Text Placeholder 4">
            <a:extLst>
              <a:ext uri="{FF2B5EF4-FFF2-40B4-BE49-F238E27FC236}">
                <a16:creationId xmlns:a16="http://schemas.microsoft.com/office/drawing/2014/main" id="{53C81926-5616-43AA-B0CE-B8F71FE107B9}"/>
              </a:ext>
            </a:extLst>
          </p:cNvPr>
          <p:cNvSpPr>
            <a:spLocks noGrp="1"/>
          </p:cNvSpPr>
          <p:nvPr>
            <p:ph type="body" sz="quarter" idx="66" hasCustomPrompt="1"/>
          </p:nvPr>
        </p:nvSpPr>
        <p:spPr>
          <a:xfrm>
            <a:off x="7916804" y="2523539"/>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19" name="Text Placeholder 4">
            <a:extLst>
              <a:ext uri="{FF2B5EF4-FFF2-40B4-BE49-F238E27FC236}">
                <a16:creationId xmlns:a16="http://schemas.microsoft.com/office/drawing/2014/main" id="{4F8F3DC1-C58E-4104-B6DD-5B7813372B92}"/>
              </a:ext>
            </a:extLst>
          </p:cNvPr>
          <p:cNvSpPr>
            <a:spLocks noGrp="1"/>
          </p:cNvSpPr>
          <p:nvPr>
            <p:ph type="body" sz="quarter" idx="68" hasCustomPrompt="1"/>
          </p:nvPr>
        </p:nvSpPr>
        <p:spPr>
          <a:xfrm>
            <a:off x="7916804" y="3041947"/>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20" name="Text Placeholder 4">
            <a:extLst>
              <a:ext uri="{FF2B5EF4-FFF2-40B4-BE49-F238E27FC236}">
                <a16:creationId xmlns:a16="http://schemas.microsoft.com/office/drawing/2014/main" id="{DAE097BB-0EFB-49CB-8BDE-C53CF2C21ECD}"/>
              </a:ext>
            </a:extLst>
          </p:cNvPr>
          <p:cNvSpPr>
            <a:spLocks noGrp="1"/>
          </p:cNvSpPr>
          <p:nvPr>
            <p:ph type="body" sz="quarter" idx="70" hasCustomPrompt="1"/>
          </p:nvPr>
        </p:nvSpPr>
        <p:spPr>
          <a:xfrm>
            <a:off x="7916804" y="3560355"/>
            <a:ext cx="3789588"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tx1"/>
                </a:solidFill>
              </a:defRPr>
            </a:lvl1pPr>
          </a:lstStyle>
          <a:p>
            <a:pPr marL="0" lvl="0">
              <a:spcAft>
                <a:spcPts val="500"/>
              </a:spcAft>
            </a:pPr>
            <a:r>
              <a:rPr lang="en-US"/>
              <a:t>TEXT</a:t>
            </a:r>
          </a:p>
        </p:txBody>
      </p:sp>
      <p:sp>
        <p:nvSpPr>
          <p:cNvPr id="121" name="Oval 120">
            <a:extLst>
              <a:ext uri="{FF2B5EF4-FFF2-40B4-BE49-F238E27FC236}">
                <a16:creationId xmlns:a16="http://schemas.microsoft.com/office/drawing/2014/main" id="{1B135564-1B8B-4C5B-BA0A-8855DAB23DDB}"/>
              </a:ext>
            </a:extLst>
          </p:cNvPr>
          <p:cNvSpPr/>
          <p:nvPr userDrawn="1"/>
        </p:nvSpPr>
        <p:spPr>
          <a:xfrm>
            <a:off x="7419145" y="1896562"/>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2" name="Oval 121">
            <a:extLst>
              <a:ext uri="{FF2B5EF4-FFF2-40B4-BE49-F238E27FC236}">
                <a16:creationId xmlns:a16="http://schemas.microsoft.com/office/drawing/2014/main" id="{4EAB28AD-5DFB-44D2-A6B1-75A6ABB6C909}"/>
              </a:ext>
            </a:extLst>
          </p:cNvPr>
          <p:cNvSpPr/>
          <p:nvPr userDrawn="1"/>
        </p:nvSpPr>
        <p:spPr>
          <a:xfrm>
            <a:off x="7419145" y="3451786"/>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3" name="Oval 122">
            <a:extLst>
              <a:ext uri="{FF2B5EF4-FFF2-40B4-BE49-F238E27FC236}">
                <a16:creationId xmlns:a16="http://schemas.microsoft.com/office/drawing/2014/main" id="{D866A161-209C-46FB-A513-287E550B969D}"/>
              </a:ext>
            </a:extLst>
          </p:cNvPr>
          <p:cNvSpPr/>
          <p:nvPr userDrawn="1"/>
        </p:nvSpPr>
        <p:spPr>
          <a:xfrm>
            <a:off x="7419145" y="2933378"/>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4" name="Oval 123">
            <a:extLst>
              <a:ext uri="{FF2B5EF4-FFF2-40B4-BE49-F238E27FC236}">
                <a16:creationId xmlns:a16="http://schemas.microsoft.com/office/drawing/2014/main" id="{B7F0FF5F-A6DF-4B75-B588-774C5A40FA66}"/>
              </a:ext>
            </a:extLst>
          </p:cNvPr>
          <p:cNvSpPr/>
          <p:nvPr userDrawn="1"/>
        </p:nvSpPr>
        <p:spPr>
          <a:xfrm>
            <a:off x="7419145" y="2414970"/>
            <a:ext cx="401806" cy="4018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Picture Placeholder 2">
            <a:extLst>
              <a:ext uri="{FF2B5EF4-FFF2-40B4-BE49-F238E27FC236}">
                <a16:creationId xmlns:a16="http://schemas.microsoft.com/office/drawing/2014/main" id="{342BF36D-5A5A-4DE4-90B1-7914F4451336}"/>
              </a:ext>
            </a:extLst>
          </p:cNvPr>
          <p:cNvSpPr>
            <a:spLocks noGrp="1"/>
          </p:cNvSpPr>
          <p:nvPr>
            <p:ph type="pic" sz="quarter" idx="63" hasCustomPrompt="1"/>
          </p:nvPr>
        </p:nvSpPr>
        <p:spPr>
          <a:xfrm>
            <a:off x="7514312" y="1991728"/>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6" name="Picture Placeholder 2">
            <a:extLst>
              <a:ext uri="{FF2B5EF4-FFF2-40B4-BE49-F238E27FC236}">
                <a16:creationId xmlns:a16="http://schemas.microsoft.com/office/drawing/2014/main" id="{2011C51B-7181-44BD-BBB1-A34D0FADD7CA}"/>
              </a:ext>
            </a:extLst>
          </p:cNvPr>
          <p:cNvSpPr>
            <a:spLocks noGrp="1"/>
          </p:cNvSpPr>
          <p:nvPr>
            <p:ph type="pic" sz="quarter" idx="65" hasCustomPrompt="1"/>
          </p:nvPr>
        </p:nvSpPr>
        <p:spPr>
          <a:xfrm>
            <a:off x="7514312" y="2510136"/>
            <a:ext cx="211473" cy="211472"/>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7" name="Picture Placeholder 2">
            <a:extLst>
              <a:ext uri="{FF2B5EF4-FFF2-40B4-BE49-F238E27FC236}">
                <a16:creationId xmlns:a16="http://schemas.microsoft.com/office/drawing/2014/main" id="{3D2CA698-FF58-4CA0-9851-FC52B60436C7}"/>
              </a:ext>
            </a:extLst>
          </p:cNvPr>
          <p:cNvSpPr>
            <a:spLocks noGrp="1"/>
          </p:cNvSpPr>
          <p:nvPr>
            <p:ph type="pic" sz="quarter" idx="67" hasCustomPrompt="1"/>
          </p:nvPr>
        </p:nvSpPr>
        <p:spPr>
          <a:xfrm>
            <a:off x="7501925" y="3016158"/>
            <a:ext cx="236247" cy="236245"/>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128" name="Picture Placeholder 2">
            <a:extLst>
              <a:ext uri="{FF2B5EF4-FFF2-40B4-BE49-F238E27FC236}">
                <a16:creationId xmlns:a16="http://schemas.microsoft.com/office/drawing/2014/main" id="{770D1A0C-2DCF-4EC9-8CEB-B1F07F06F121}"/>
              </a:ext>
            </a:extLst>
          </p:cNvPr>
          <p:cNvSpPr>
            <a:spLocks noGrp="1"/>
          </p:cNvSpPr>
          <p:nvPr>
            <p:ph type="pic" sz="quarter" idx="69" hasCustomPrompt="1"/>
          </p:nvPr>
        </p:nvSpPr>
        <p:spPr>
          <a:xfrm>
            <a:off x="7519068" y="3551709"/>
            <a:ext cx="201960" cy="201959"/>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49" name="Picture Placeholder 4">
            <a:extLst>
              <a:ext uri="{FF2B5EF4-FFF2-40B4-BE49-F238E27FC236}">
                <a16:creationId xmlns:a16="http://schemas.microsoft.com/office/drawing/2014/main" id="{28E82D55-CB9F-4310-8C78-E6A9D3722131}"/>
              </a:ext>
            </a:extLst>
          </p:cNvPr>
          <p:cNvSpPr>
            <a:spLocks noGrp="1"/>
          </p:cNvSpPr>
          <p:nvPr>
            <p:ph type="pic" sz="quarter" idx="82"/>
          </p:nvPr>
        </p:nvSpPr>
        <p:spPr>
          <a:xfrm>
            <a:off x="8708721" y="1327528"/>
            <a:ext cx="1681962" cy="457650"/>
          </a:xfrm>
        </p:spPr>
        <p:txBody>
          <a:bodyPr anchor="ctr">
            <a:noAutofit/>
          </a:bodyPr>
          <a:lstStyle>
            <a:lvl1pPr marL="0" indent="0" algn="ctr">
              <a:buNone/>
              <a:defRPr sz="1200"/>
            </a:lvl1pPr>
          </a:lstStyle>
          <a:p>
            <a:endParaRPr lang="en-US" dirty="0"/>
          </a:p>
        </p:txBody>
      </p:sp>
      <p:sp>
        <p:nvSpPr>
          <p:cNvPr id="57" name="Text Placeholder 6">
            <a:extLst>
              <a:ext uri="{FF2B5EF4-FFF2-40B4-BE49-F238E27FC236}">
                <a16:creationId xmlns:a16="http://schemas.microsoft.com/office/drawing/2014/main" id="{6A2E1391-E865-4B8A-97B7-BF8A3D7363B1}"/>
              </a:ext>
            </a:extLst>
          </p:cNvPr>
          <p:cNvSpPr>
            <a:spLocks noGrp="1"/>
          </p:cNvSpPr>
          <p:nvPr>
            <p:ph type="body" sz="quarter" idx="83" hasCustomPrompt="1"/>
          </p:nvPr>
        </p:nvSpPr>
        <p:spPr>
          <a:xfrm>
            <a:off x="346990" y="1248858"/>
            <a:ext cx="6574511" cy="187167"/>
          </a:xfrm>
        </p:spPr>
        <p:txBody>
          <a:bodyPr/>
          <a:lstStyle>
            <a:lvl1pPr marL="237744" indent="-237744" algn="just">
              <a:lnSpc>
                <a:spcPct val="100000"/>
              </a:lnSpc>
              <a:spcBef>
                <a:spcPts val="0"/>
              </a:spcBef>
              <a:spcAft>
                <a:spcPts val="800"/>
              </a:spcAft>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Edit Master text styles</a:t>
            </a:r>
          </a:p>
        </p:txBody>
      </p:sp>
    </p:spTree>
    <p:extLst>
      <p:ext uri="{BB962C8B-B14F-4D97-AF65-F5344CB8AC3E}">
        <p14:creationId xmlns:p14="http://schemas.microsoft.com/office/powerpoint/2010/main" val="31109154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69" name="Picture Placeholder 4">
            <a:extLst>
              <a:ext uri="{FF2B5EF4-FFF2-40B4-BE49-F238E27FC236}">
                <a16:creationId xmlns:a16="http://schemas.microsoft.com/office/drawing/2014/main" id="{BAE2A8AA-1B71-45D2-B7B0-6513B1C75B33}"/>
              </a:ext>
            </a:extLst>
          </p:cNvPr>
          <p:cNvSpPr>
            <a:spLocks noGrp="1"/>
          </p:cNvSpPr>
          <p:nvPr>
            <p:ph type="pic" sz="quarter" idx="45"/>
          </p:nvPr>
        </p:nvSpPr>
        <p:spPr>
          <a:xfrm>
            <a:off x="346990" y="1296078"/>
            <a:ext cx="3427016" cy="2237698"/>
          </a:xfrm>
        </p:spPr>
        <p:txBody>
          <a:bodyPr lIns="0" tIns="0" rIns="0" bIns="0" anchor="ctr">
            <a:noAutofit/>
          </a:bodyPr>
          <a:lstStyle>
            <a:lvl1pPr marL="0" indent="0" algn="ctr">
              <a:buNone/>
              <a:defRPr/>
            </a:lvl1pPr>
          </a:lstStyle>
          <a:p>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8" name="Text Placeholder 3">
            <a:extLst>
              <a:ext uri="{FF2B5EF4-FFF2-40B4-BE49-F238E27FC236}">
                <a16:creationId xmlns:a16="http://schemas.microsoft.com/office/drawing/2014/main" id="{8E5BFF3A-44FC-4CD6-9E7B-4F24612D18BA}"/>
              </a:ext>
            </a:extLst>
          </p:cNvPr>
          <p:cNvSpPr>
            <a:spLocks noGrp="1"/>
          </p:cNvSpPr>
          <p:nvPr userDrawn="1">
            <p:ph type="body" sz="quarter" idx="41"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49" name="Text Placeholder 6">
            <a:extLst>
              <a:ext uri="{FF2B5EF4-FFF2-40B4-BE49-F238E27FC236}">
                <a16:creationId xmlns:a16="http://schemas.microsoft.com/office/drawing/2014/main" id="{AFB1348F-1E75-4BDC-9952-E93662ECE793}"/>
              </a:ext>
            </a:extLst>
          </p:cNvPr>
          <p:cNvSpPr>
            <a:spLocks noGrp="1"/>
          </p:cNvSpPr>
          <p:nvPr>
            <p:ph type="body" sz="quarter" idx="34" hasCustomPrompt="1"/>
          </p:nvPr>
        </p:nvSpPr>
        <p:spPr>
          <a:xfrm>
            <a:off x="7781925" y="1248858"/>
            <a:ext cx="3960132" cy="184666"/>
          </a:xfrm>
        </p:spPr>
        <p:txBody>
          <a:bodyPr vert="horz" wrap="square" lIns="0" tIns="0" rIns="0" bIns="0" rtlCol="0">
            <a:spAutoFit/>
          </a:bodyPr>
          <a:lstStyle>
            <a:lvl1pPr>
              <a:lnSpc>
                <a:spcPct val="110000"/>
              </a:lnSpc>
              <a:spcAft>
                <a:spcPts val="1200"/>
              </a:spcAft>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52" name="Rectangle 51">
            <a:extLst>
              <a:ext uri="{FF2B5EF4-FFF2-40B4-BE49-F238E27FC236}">
                <a16:creationId xmlns:a16="http://schemas.microsoft.com/office/drawing/2014/main" id="{490AC7B1-DE46-4F38-8DA1-158B647F0B2C}"/>
              </a:ext>
            </a:extLst>
          </p:cNvPr>
          <p:cNvSpPr/>
          <p:nvPr userDrawn="1"/>
        </p:nvSpPr>
        <p:spPr>
          <a:xfrm>
            <a:off x="3928390" y="3036328"/>
            <a:ext cx="3699150" cy="32219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ame 66">
            <a:extLst>
              <a:ext uri="{FF2B5EF4-FFF2-40B4-BE49-F238E27FC236}">
                <a16:creationId xmlns:a16="http://schemas.microsoft.com/office/drawing/2014/main" id="{FBFD6119-8960-46B0-9363-ECDD8CE6F66E}"/>
              </a:ext>
            </a:extLst>
          </p:cNvPr>
          <p:cNvSpPr/>
          <p:nvPr userDrawn="1"/>
        </p:nvSpPr>
        <p:spPr>
          <a:xfrm>
            <a:off x="3928390" y="1273345"/>
            <a:ext cx="3699150" cy="1762983"/>
          </a:xfrm>
          <a:prstGeom prst="frame">
            <a:avLst>
              <a:gd name="adj1" fmla="val 566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Picture Placeholder 4">
            <a:extLst>
              <a:ext uri="{FF2B5EF4-FFF2-40B4-BE49-F238E27FC236}">
                <a16:creationId xmlns:a16="http://schemas.microsoft.com/office/drawing/2014/main" id="{4B1F136E-8F96-4A12-9041-C02C1AB37940}"/>
              </a:ext>
            </a:extLst>
          </p:cNvPr>
          <p:cNvSpPr>
            <a:spLocks noGrp="1"/>
          </p:cNvSpPr>
          <p:nvPr>
            <p:ph type="pic" sz="quarter" idx="44"/>
          </p:nvPr>
        </p:nvSpPr>
        <p:spPr>
          <a:xfrm>
            <a:off x="4175720" y="1531244"/>
            <a:ext cx="3204491" cy="1247184"/>
          </a:xfrm>
        </p:spPr>
        <p:txBody>
          <a:bodyPr lIns="0" tIns="0" rIns="0" bIns="0" anchor="ctr">
            <a:noAutofit/>
          </a:bodyPr>
          <a:lstStyle>
            <a:lvl1pPr marL="0" indent="0" algn="ctr">
              <a:buNone/>
              <a:defRPr/>
            </a:lvl1pPr>
          </a:lstStyle>
          <a:p>
            <a:endParaRPr lang="en-US" dirty="0"/>
          </a:p>
        </p:txBody>
      </p:sp>
      <p:sp>
        <p:nvSpPr>
          <p:cNvPr id="70" name="Picture Placeholder 4">
            <a:extLst>
              <a:ext uri="{FF2B5EF4-FFF2-40B4-BE49-F238E27FC236}">
                <a16:creationId xmlns:a16="http://schemas.microsoft.com/office/drawing/2014/main" id="{AA8FA1B6-2CB9-46BD-A6DE-6EAF1ABBC7DA}"/>
              </a:ext>
            </a:extLst>
          </p:cNvPr>
          <p:cNvSpPr>
            <a:spLocks noGrp="1"/>
          </p:cNvSpPr>
          <p:nvPr>
            <p:ph type="pic" sz="quarter" idx="46"/>
          </p:nvPr>
        </p:nvSpPr>
        <p:spPr>
          <a:xfrm>
            <a:off x="346990" y="3691891"/>
            <a:ext cx="3427016" cy="2566354"/>
          </a:xfrm>
        </p:spPr>
        <p:txBody>
          <a:bodyPr lIns="0" tIns="0" rIns="0" bIns="0" anchor="ctr">
            <a:noAutofit/>
          </a:bodyPr>
          <a:lstStyle>
            <a:lvl1pPr marL="0" indent="0" algn="ctr">
              <a:buNone/>
              <a:defRPr/>
            </a:lvl1pPr>
          </a:lstStyle>
          <a:p>
            <a:endParaRPr lang="en-US" dirty="0"/>
          </a:p>
        </p:txBody>
      </p:sp>
      <p:sp>
        <p:nvSpPr>
          <p:cNvPr id="73" name="Picture Placeholder 2">
            <a:extLst>
              <a:ext uri="{FF2B5EF4-FFF2-40B4-BE49-F238E27FC236}">
                <a16:creationId xmlns:a16="http://schemas.microsoft.com/office/drawing/2014/main" id="{CA0022A2-B4A0-417E-9A78-456EDC2D955F}"/>
              </a:ext>
            </a:extLst>
          </p:cNvPr>
          <p:cNvSpPr>
            <a:spLocks noGrp="1"/>
          </p:cNvSpPr>
          <p:nvPr>
            <p:ph type="pic" sz="quarter" idx="63" hasCustomPrompt="1"/>
          </p:nvPr>
        </p:nvSpPr>
        <p:spPr>
          <a:xfrm>
            <a:off x="4056832" y="3172710"/>
            <a:ext cx="362777" cy="362777"/>
          </a:xfrm>
          <a:prstGeom prst="ellipse">
            <a:avLst/>
          </a:prstGeom>
        </p:spPr>
        <p:txBody>
          <a:bodyPr anchor="ctr" anchorCtr="1">
            <a:noAutofit/>
          </a:bodyPr>
          <a:lstStyle>
            <a:lvl1pPr marL="0" indent="0">
              <a:buNone/>
              <a:defRPr sz="800">
                <a:solidFill>
                  <a:schemeClr val="bg1"/>
                </a:solidFill>
              </a:defRPr>
            </a:lvl1pPr>
          </a:lstStyle>
          <a:p>
            <a:r>
              <a:rPr lang="en-US" dirty="0"/>
              <a:t>Icon</a:t>
            </a:r>
          </a:p>
        </p:txBody>
      </p:sp>
      <p:sp>
        <p:nvSpPr>
          <p:cNvPr id="74" name="Text Placeholder 4">
            <a:extLst>
              <a:ext uri="{FF2B5EF4-FFF2-40B4-BE49-F238E27FC236}">
                <a16:creationId xmlns:a16="http://schemas.microsoft.com/office/drawing/2014/main" id="{2AC20704-2E59-4FB1-867D-4C63CFB89D8E}"/>
              </a:ext>
            </a:extLst>
          </p:cNvPr>
          <p:cNvSpPr>
            <a:spLocks noGrp="1"/>
          </p:cNvSpPr>
          <p:nvPr>
            <p:ph type="body" sz="quarter" idx="64" hasCustomPrompt="1"/>
          </p:nvPr>
        </p:nvSpPr>
        <p:spPr>
          <a:xfrm>
            <a:off x="4541474" y="3261765"/>
            <a:ext cx="2971846"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bg1"/>
                </a:solidFill>
              </a:defRPr>
            </a:lvl1pPr>
          </a:lstStyle>
          <a:p>
            <a:pPr marL="0" lvl="0">
              <a:spcAft>
                <a:spcPts val="500"/>
              </a:spcAft>
            </a:pPr>
            <a:r>
              <a:rPr lang="en-US"/>
              <a:t>TEXT</a:t>
            </a:r>
          </a:p>
        </p:txBody>
      </p:sp>
      <p:sp>
        <p:nvSpPr>
          <p:cNvPr id="75" name="Picture Placeholder 2">
            <a:extLst>
              <a:ext uri="{FF2B5EF4-FFF2-40B4-BE49-F238E27FC236}">
                <a16:creationId xmlns:a16="http://schemas.microsoft.com/office/drawing/2014/main" id="{D56A28CF-BEC0-4285-8B62-08D2802AE06A}"/>
              </a:ext>
            </a:extLst>
          </p:cNvPr>
          <p:cNvSpPr>
            <a:spLocks noGrp="1"/>
          </p:cNvSpPr>
          <p:nvPr>
            <p:ph type="pic" sz="quarter" idx="65" hasCustomPrompt="1"/>
          </p:nvPr>
        </p:nvSpPr>
        <p:spPr>
          <a:xfrm>
            <a:off x="4056832" y="3733869"/>
            <a:ext cx="362777" cy="362777"/>
          </a:xfrm>
          <a:prstGeom prst="ellipse">
            <a:avLst/>
          </a:prstGeom>
        </p:spPr>
        <p:txBody>
          <a:bodyPr anchor="ctr" anchorCtr="1">
            <a:noAutofit/>
          </a:bodyPr>
          <a:lstStyle>
            <a:lvl1pPr marL="0" indent="0">
              <a:buNone/>
              <a:defRPr sz="800">
                <a:solidFill>
                  <a:schemeClr val="bg1"/>
                </a:solidFill>
              </a:defRPr>
            </a:lvl1pPr>
          </a:lstStyle>
          <a:p>
            <a:r>
              <a:rPr lang="en-US" dirty="0"/>
              <a:t>Icon</a:t>
            </a:r>
          </a:p>
        </p:txBody>
      </p:sp>
      <p:sp>
        <p:nvSpPr>
          <p:cNvPr id="76" name="Text Placeholder 4">
            <a:extLst>
              <a:ext uri="{FF2B5EF4-FFF2-40B4-BE49-F238E27FC236}">
                <a16:creationId xmlns:a16="http://schemas.microsoft.com/office/drawing/2014/main" id="{6D2FFFA9-6C53-4E23-924B-72D6C317D431}"/>
              </a:ext>
            </a:extLst>
          </p:cNvPr>
          <p:cNvSpPr>
            <a:spLocks noGrp="1"/>
          </p:cNvSpPr>
          <p:nvPr>
            <p:ph type="body" sz="quarter" idx="66" hasCustomPrompt="1"/>
          </p:nvPr>
        </p:nvSpPr>
        <p:spPr>
          <a:xfrm>
            <a:off x="4541474" y="3822924"/>
            <a:ext cx="2971846"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bg1"/>
                </a:solidFill>
              </a:defRPr>
            </a:lvl1pPr>
          </a:lstStyle>
          <a:p>
            <a:pPr marL="0" lvl="0">
              <a:spcAft>
                <a:spcPts val="500"/>
              </a:spcAft>
            </a:pPr>
            <a:r>
              <a:rPr lang="en-US"/>
              <a:t>TEXT</a:t>
            </a:r>
          </a:p>
        </p:txBody>
      </p:sp>
      <p:sp>
        <p:nvSpPr>
          <p:cNvPr id="77" name="Picture Placeholder 2">
            <a:extLst>
              <a:ext uri="{FF2B5EF4-FFF2-40B4-BE49-F238E27FC236}">
                <a16:creationId xmlns:a16="http://schemas.microsoft.com/office/drawing/2014/main" id="{1AE45BF5-3721-42F0-9AF5-E1A1D36992BE}"/>
              </a:ext>
            </a:extLst>
          </p:cNvPr>
          <p:cNvSpPr>
            <a:spLocks noGrp="1"/>
          </p:cNvSpPr>
          <p:nvPr>
            <p:ph type="pic" sz="quarter" idx="67" hasCustomPrompt="1"/>
          </p:nvPr>
        </p:nvSpPr>
        <p:spPr>
          <a:xfrm>
            <a:off x="4056832" y="4295028"/>
            <a:ext cx="362777" cy="362777"/>
          </a:xfrm>
          <a:prstGeom prst="ellipse">
            <a:avLst/>
          </a:prstGeom>
        </p:spPr>
        <p:txBody>
          <a:bodyPr anchor="ctr" anchorCtr="1">
            <a:noAutofit/>
          </a:bodyPr>
          <a:lstStyle>
            <a:lvl1pPr marL="0" indent="0">
              <a:buNone/>
              <a:defRPr sz="800">
                <a:solidFill>
                  <a:schemeClr val="bg1"/>
                </a:solidFill>
              </a:defRPr>
            </a:lvl1pPr>
          </a:lstStyle>
          <a:p>
            <a:r>
              <a:rPr lang="en-US" dirty="0"/>
              <a:t>Icon</a:t>
            </a:r>
          </a:p>
        </p:txBody>
      </p:sp>
      <p:sp>
        <p:nvSpPr>
          <p:cNvPr id="78" name="Text Placeholder 4">
            <a:extLst>
              <a:ext uri="{FF2B5EF4-FFF2-40B4-BE49-F238E27FC236}">
                <a16:creationId xmlns:a16="http://schemas.microsoft.com/office/drawing/2014/main" id="{F2BE7B20-8381-4357-9F26-3D71778D7939}"/>
              </a:ext>
            </a:extLst>
          </p:cNvPr>
          <p:cNvSpPr>
            <a:spLocks noGrp="1"/>
          </p:cNvSpPr>
          <p:nvPr>
            <p:ph type="body" sz="quarter" idx="68" hasCustomPrompt="1"/>
          </p:nvPr>
        </p:nvSpPr>
        <p:spPr>
          <a:xfrm>
            <a:off x="4541474" y="4384083"/>
            <a:ext cx="2971846"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bg1"/>
                </a:solidFill>
              </a:defRPr>
            </a:lvl1pPr>
          </a:lstStyle>
          <a:p>
            <a:pPr marL="0" lvl="0">
              <a:spcAft>
                <a:spcPts val="500"/>
              </a:spcAft>
            </a:pPr>
            <a:r>
              <a:rPr lang="en-US"/>
              <a:t>TEXT</a:t>
            </a:r>
          </a:p>
        </p:txBody>
      </p:sp>
      <p:sp>
        <p:nvSpPr>
          <p:cNvPr id="79" name="Picture Placeholder 2">
            <a:extLst>
              <a:ext uri="{FF2B5EF4-FFF2-40B4-BE49-F238E27FC236}">
                <a16:creationId xmlns:a16="http://schemas.microsoft.com/office/drawing/2014/main" id="{F271CE47-3C5A-4584-B006-E8BBF8BAA75E}"/>
              </a:ext>
            </a:extLst>
          </p:cNvPr>
          <p:cNvSpPr>
            <a:spLocks noGrp="1"/>
          </p:cNvSpPr>
          <p:nvPr>
            <p:ph type="pic" sz="quarter" idx="69" hasCustomPrompt="1"/>
          </p:nvPr>
        </p:nvSpPr>
        <p:spPr>
          <a:xfrm>
            <a:off x="4056832" y="4856186"/>
            <a:ext cx="362777" cy="362777"/>
          </a:xfrm>
          <a:prstGeom prst="ellipse">
            <a:avLst/>
          </a:prstGeom>
        </p:spPr>
        <p:txBody>
          <a:bodyPr anchor="ctr" anchorCtr="1">
            <a:noAutofit/>
          </a:bodyPr>
          <a:lstStyle>
            <a:lvl1pPr marL="0" indent="0">
              <a:buNone/>
              <a:defRPr sz="800">
                <a:solidFill>
                  <a:schemeClr val="bg1"/>
                </a:solidFill>
              </a:defRPr>
            </a:lvl1pPr>
          </a:lstStyle>
          <a:p>
            <a:r>
              <a:rPr lang="en-US" dirty="0"/>
              <a:t>Icon</a:t>
            </a:r>
          </a:p>
        </p:txBody>
      </p:sp>
      <p:sp>
        <p:nvSpPr>
          <p:cNvPr id="80" name="Text Placeholder 4">
            <a:extLst>
              <a:ext uri="{FF2B5EF4-FFF2-40B4-BE49-F238E27FC236}">
                <a16:creationId xmlns:a16="http://schemas.microsoft.com/office/drawing/2014/main" id="{D93BBB76-3FED-4AF3-B650-D59CD379A642}"/>
              </a:ext>
            </a:extLst>
          </p:cNvPr>
          <p:cNvSpPr>
            <a:spLocks noGrp="1"/>
          </p:cNvSpPr>
          <p:nvPr>
            <p:ph type="body" sz="quarter" idx="70" hasCustomPrompt="1"/>
          </p:nvPr>
        </p:nvSpPr>
        <p:spPr>
          <a:xfrm>
            <a:off x="4541474" y="4945241"/>
            <a:ext cx="2971846" cy="184666"/>
          </a:xfrm>
        </p:spPr>
        <p:txBody>
          <a:bodyPr wrap="square" lIns="0" tIns="0" rIns="0" bIns="0" anchor="ctr">
            <a:spAutoFit/>
          </a:bodyPr>
          <a:lstStyle>
            <a:lvl1pPr marL="0" indent="0">
              <a:lnSpc>
                <a:spcPct val="100000"/>
              </a:lnSpc>
              <a:spcBef>
                <a:spcPts val="0"/>
              </a:spcBef>
              <a:spcAft>
                <a:spcPts val="0"/>
              </a:spcAft>
              <a:buNone/>
              <a:defRPr lang="en-US" sz="1200" b="0" dirty="0">
                <a:solidFill>
                  <a:schemeClr val="bg1"/>
                </a:solidFill>
              </a:defRPr>
            </a:lvl1pPr>
          </a:lstStyle>
          <a:p>
            <a:pPr marL="0" lvl="0">
              <a:spcAft>
                <a:spcPts val="500"/>
              </a:spcAft>
            </a:pPr>
            <a:r>
              <a:rPr lang="en-US"/>
              <a:t>TEXT</a:t>
            </a:r>
          </a:p>
        </p:txBody>
      </p:sp>
    </p:spTree>
    <p:extLst>
      <p:ext uri="{BB962C8B-B14F-4D97-AF65-F5344CB8AC3E}">
        <p14:creationId xmlns:p14="http://schemas.microsoft.com/office/powerpoint/2010/main" val="2728587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182FA0-3C38-4F6F-9ECC-6FFE195C0D28}"/>
              </a:ext>
            </a:extLst>
          </p:cNvPr>
          <p:cNvGraphicFramePr>
            <a:graphicFrameLocks noChangeAspect="1"/>
          </p:cNvGraphicFramePr>
          <p:nvPr userDrawn="1">
            <p:custDataLst>
              <p:tags r:id="rId1"/>
            </p:custDataLst>
            <p:extLst>
              <p:ext uri="{D42A27DB-BD31-4B8C-83A1-F6EECF244321}">
                <p14:modId xmlns:p14="http://schemas.microsoft.com/office/powerpoint/2010/main" val="231555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a:extLst>
                          <a:ext uri="{FF2B5EF4-FFF2-40B4-BE49-F238E27FC236}">
                            <a16:creationId xmlns:a16="http://schemas.microsoft.com/office/drawing/2014/main" id="{06182FA0-3C38-4F6F-9ECC-6FFE195C0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descr="Ceramic tiles for functional and aesthetic performance">
            <a:extLst>
              <a:ext uri="{FF2B5EF4-FFF2-40B4-BE49-F238E27FC236}">
                <a16:creationId xmlns:a16="http://schemas.microsoft.com/office/drawing/2014/main" id="{9A9C0697-F7C0-49FA-9ACD-2A4755E5FB7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561924" y="0"/>
            <a:ext cx="8630076" cy="683841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B719A9B6-F5AF-4BA1-B625-71C11CD0ABE6}"/>
              </a:ext>
            </a:extLst>
          </p:cNvPr>
          <p:cNvSpPr/>
          <p:nvPr userDrawn="1"/>
        </p:nvSpPr>
        <p:spPr>
          <a:xfrm>
            <a:off x="-1" y="0"/>
            <a:ext cx="355282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 name="Group 40">
            <a:extLst>
              <a:ext uri="{FF2B5EF4-FFF2-40B4-BE49-F238E27FC236}">
                <a16:creationId xmlns:a16="http://schemas.microsoft.com/office/drawing/2014/main" id="{47AB5C86-315E-479D-8F2C-41B1E4BBC7F0}"/>
              </a:ext>
            </a:extLst>
          </p:cNvPr>
          <p:cNvGrpSpPr/>
          <p:nvPr userDrawn="1"/>
        </p:nvGrpSpPr>
        <p:grpSpPr>
          <a:xfrm>
            <a:off x="7779972" y="-19582"/>
            <a:ext cx="4412028" cy="6858000"/>
            <a:chOff x="7732321" y="-1"/>
            <a:chExt cx="4459679" cy="6858001"/>
          </a:xfrm>
        </p:grpSpPr>
        <p:sp>
          <p:nvSpPr>
            <p:cNvPr id="44" name="Freeform: Shape 43">
              <a:extLst>
                <a:ext uri="{FF2B5EF4-FFF2-40B4-BE49-F238E27FC236}">
                  <a16:creationId xmlns:a16="http://schemas.microsoft.com/office/drawing/2014/main" id="{39CAC025-8567-40E7-A9AA-8F351E6FC1F7}"/>
                </a:ext>
              </a:extLst>
            </p:cNvPr>
            <p:cNvSpPr/>
            <p:nvPr/>
          </p:nvSpPr>
          <p:spPr>
            <a:xfrm>
              <a:off x="9358938" y="0"/>
              <a:ext cx="2833062" cy="6858000"/>
            </a:xfrm>
            <a:custGeom>
              <a:avLst/>
              <a:gdLst>
                <a:gd name="connsiteX0" fmla="*/ 1710371 w 2833062"/>
                <a:gd name="connsiteY0" fmla="*/ 0 h 6858000"/>
                <a:gd name="connsiteX1" fmla="*/ 2833062 w 2833062"/>
                <a:gd name="connsiteY1" fmla="*/ 0 h 6858000"/>
                <a:gd name="connsiteX2" fmla="*/ 2833062 w 2833062"/>
                <a:gd name="connsiteY2" fmla="*/ 6858000 h 6858000"/>
                <a:gd name="connsiteX3" fmla="*/ 2654269 w 2833062"/>
                <a:gd name="connsiteY3" fmla="*/ 6858000 h 6858000"/>
                <a:gd name="connsiteX4" fmla="*/ 2189624 w 2833062"/>
                <a:gd name="connsiteY4" fmla="*/ 6146305 h 6858000"/>
                <a:gd name="connsiteX5" fmla="*/ 0 w 2833062"/>
                <a:gd name="connsiteY5" fmla="*/ 2619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062" h="6858000">
                  <a:moveTo>
                    <a:pt x="1710371" y="0"/>
                  </a:moveTo>
                  <a:lnTo>
                    <a:pt x="2833062" y="0"/>
                  </a:lnTo>
                  <a:lnTo>
                    <a:pt x="2833062" y="6858000"/>
                  </a:lnTo>
                  <a:lnTo>
                    <a:pt x="2654269" y="6858000"/>
                  </a:lnTo>
                  <a:lnTo>
                    <a:pt x="2189624" y="6146305"/>
                  </a:lnTo>
                  <a:lnTo>
                    <a:pt x="0" y="2619772"/>
                  </a:lnTo>
                  <a:close/>
                </a:path>
              </a:pathLst>
            </a:cu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5" name="Freeform: Shape 54">
              <a:extLst>
                <a:ext uri="{FF2B5EF4-FFF2-40B4-BE49-F238E27FC236}">
                  <a16:creationId xmlns:a16="http://schemas.microsoft.com/office/drawing/2014/main" id="{8FDFEFE5-2823-4B1B-9B5E-83395E475C3F}"/>
                </a:ext>
              </a:extLst>
            </p:cNvPr>
            <p:cNvSpPr/>
            <p:nvPr/>
          </p:nvSpPr>
          <p:spPr>
            <a:xfrm flipH="1" flipV="1">
              <a:off x="7732321"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cxnSp>
        <p:nvCxnSpPr>
          <p:cNvPr id="57" name="Straight Connector 56">
            <a:extLst>
              <a:ext uri="{FF2B5EF4-FFF2-40B4-BE49-F238E27FC236}">
                <a16:creationId xmlns:a16="http://schemas.microsoft.com/office/drawing/2014/main" id="{486C2813-D479-4560-874F-BB23F557E738}"/>
              </a:ext>
            </a:extLst>
          </p:cNvPr>
          <p:cNvCxnSpPr/>
          <p:nvPr userDrawn="1"/>
        </p:nvCxnSpPr>
        <p:spPr>
          <a:xfrm>
            <a:off x="154024" y="3223825"/>
            <a:ext cx="324477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Content Placeholder 2">
            <a:extLst>
              <a:ext uri="{FF2B5EF4-FFF2-40B4-BE49-F238E27FC236}">
                <a16:creationId xmlns:a16="http://schemas.microsoft.com/office/drawing/2014/main" id="{60D09B59-618C-4265-8A56-752035C2340F}"/>
              </a:ext>
            </a:extLst>
          </p:cNvPr>
          <p:cNvSpPr>
            <a:spLocks noGrp="1"/>
          </p:cNvSpPr>
          <p:nvPr>
            <p:ph idx="19" hasCustomPrompt="1"/>
          </p:nvPr>
        </p:nvSpPr>
        <p:spPr>
          <a:xfrm>
            <a:off x="154024" y="2431672"/>
            <a:ext cx="3244776" cy="738664"/>
          </a:xfrm>
        </p:spPr>
        <p:txBody>
          <a:bodyPr wrap="square" lIns="0" tIns="0" rIns="0" bIns="0" anchor="b"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2400" b="1" kern="1200" cap="all" baseline="0" dirty="0" smtClean="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59" name="Content Placeholder 2">
            <a:extLst>
              <a:ext uri="{FF2B5EF4-FFF2-40B4-BE49-F238E27FC236}">
                <a16:creationId xmlns:a16="http://schemas.microsoft.com/office/drawing/2014/main" id="{55C9D024-EC5F-4F66-A6BB-9294E0DBDCE0}"/>
              </a:ext>
            </a:extLst>
          </p:cNvPr>
          <p:cNvSpPr>
            <a:spLocks noGrp="1"/>
          </p:cNvSpPr>
          <p:nvPr>
            <p:ph idx="22" hasCustomPrompt="1"/>
          </p:nvPr>
        </p:nvSpPr>
        <p:spPr>
          <a:xfrm>
            <a:off x="154024" y="3301776"/>
            <a:ext cx="3244776" cy="169277"/>
          </a:xfrm>
        </p:spPr>
        <p:txBody>
          <a:bodyPr wrap="square" lIns="0" tIns="0" rIns="0" bIns="0" anchor="t" anchorCtr="0">
            <a:spAutoFit/>
          </a:bodyPr>
          <a:lstStyle>
            <a:lvl1pPr marL="0" indent="0" algn="l" defTabSz="914400" rtl="0" eaLnBrk="1" latinLnBrk="0" hangingPunct="1">
              <a:lnSpc>
                <a:spcPct val="100000"/>
              </a:lnSpc>
              <a:spcBef>
                <a:spcPct val="0"/>
              </a:spcBef>
              <a:spcAft>
                <a:spcPts val="400"/>
              </a:spcAft>
              <a:buClr>
                <a:schemeClr val="accent2"/>
              </a:buClr>
              <a:buFont typeface="Lato" panose="020F0502020204030203" pitchFamily="34" charset="0"/>
              <a:buNone/>
              <a:defRPr lang="en-US" sz="1100" b="0" kern="1200" dirty="0" smtClean="0">
                <a:solidFill>
                  <a:schemeClr val="bg1"/>
                </a:solidFill>
                <a:latin typeface="+mn-lt"/>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Tree>
    <p:extLst>
      <p:ext uri="{BB962C8B-B14F-4D97-AF65-F5344CB8AC3E}">
        <p14:creationId xmlns:p14="http://schemas.microsoft.com/office/powerpoint/2010/main" val="2668509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243275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grpSp>
        <p:nvGrpSpPr>
          <p:cNvPr id="34" name="Google Shape;441;p5">
            <a:extLst>
              <a:ext uri="{FF2B5EF4-FFF2-40B4-BE49-F238E27FC236}">
                <a16:creationId xmlns:a16="http://schemas.microsoft.com/office/drawing/2014/main" id="{5C590D5E-9A25-455B-817F-906DCD17ECE0}"/>
              </a:ext>
            </a:extLst>
          </p:cNvPr>
          <p:cNvGrpSpPr/>
          <p:nvPr userDrawn="1"/>
        </p:nvGrpSpPr>
        <p:grpSpPr>
          <a:xfrm>
            <a:off x="2593561" y="2214131"/>
            <a:ext cx="7847876" cy="4058089"/>
            <a:chOff x="56" y="1006"/>
            <a:chExt cx="5634" cy="3048"/>
          </a:xfrm>
          <a:solidFill>
            <a:schemeClr val="accent1"/>
          </a:solidFill>
        </p:grpSpPr>
        <p:sp>
          <p:nvSpPr>
            <p:cNvPr id="35" name="Google Shape;442;p5">
              <a:extLst>
                <a:ext uri="{FF2B5EF4-FFF2-40B4-BE49-F238E27FC236}">
                  <a16:creationId xmlns:a16="http://schemas.microsoft.com/office/drawing/2014/main" id="{9C581446-773F-4FF9-BBE8-623B1427D421}"/>
                </a:ext>
              </a:extLst>
            </p:cNvPr>
            <p:cNvSpPr/>
            <p:nvPr/>
          </p:nvSpPr>
          <p:spPr>
            <a:xfrm>
              <a:off x="2489" y="1006"/>
              <a:ext cx="3201" cy="2883"/>
            </a:xfrm>
            <a:custGeom>
              <a:avLst/>
              <a:gdLst/>
              <a:ahLst/>
              <a:cxnLst/>
              <a:rect l="l" t="t" r="r" b="b"/>
              <a:pathLst>
                <a:path w="3062" h="2758" extrusionOk="0">
                  <a:moveTo>
                    <a:pt x="1982" y="1630"/>
                  </a:moveTo>
                  <a:lnTo>
                    <a:pt x="1982" y="1630"/>
                  </a:lnTo>
                  <a:lnTo>
                    <a:pt x="1976" y="1628"/>
                  </a:lnTo>
                  <a:lnTo>
                    <a:pt x="1972" y="1630"/>
                  </a:lnTo>
                  <a:lnTo>
                    <a:pt x="1962" y="1640"/>
                  </a:lnTo>
                  <a:lnTo>
                    <a:pt x="1960" y="1644"/>
                  </a:lnTo>
                  <a:lnTo>
                    <a:pt x="1962" y="1650"/>
                  </a:lnTo>
                  <a:lnTo>
                    <a:pt x="1966" y="1652"/>
                  </a:lnTo>
                  <a:lnTo>
                    <a:pt x="1972" y="1650"/>
                  </a:lnTo>
                  <a:lnTo>
                    <a:pt x="1982" y="1640"/>
                  </a:lnTo>
                  <a:lnTo>
                    <a:pt x="1984" y="1634"/>
                  </a:lnTo>
                  <a:lnTo>
                    <a:pt x="1982" y="1630"/>
                  </a:lnTo>
                  <a:close/>
                  <a:moveTo>
                    <a:pt x="2112" y="1982"/>
                  </a:moveTo>
                  <a:lnTo>
                    <a:pt x="2112" y="1982"/>
                  </a:lnTo>
                  <a:lnTo>
                    <a:pt x="2116" y="1994"/>
                  </a:lnTo>
                  <a:lnTo>
                    <a:pt x="2120" y="2000"/>
                  </a:lnTo>
                  <a:lnTo>
                    <a:pt x="2122" y="2006"/>
                  </a:lnTo>
                  <a:lnTo>
                    <a:pt x="2122" y="2014"/>
                  </a:lnTo>
                  <a:lnTo>
                    <a:pt x="2122" y="2018"/>
                  </a:lnTo>
                  <a:lnTo>
                    <a:pt x="2124" y="2022"/>
                  </a:lnTo>
                  <a:lnTo>
                    <a:pt x="2126" y="2024"/>
                  </a:lnTo>
                  <a:lnTo>
                    <a:pt x="2128" y="2026"/>
                  </a:lnTo>
                  <a:lnTo>
                    <a:pt x="2130" y="2026"/>
                  </a:lnTo>
                  <a:lnTo>
                    <a:pt x="2134" y="2026"/>
                  </a:lnTo>
                  <a:lnTo>
                    <a:pt x="2140" y="2024"/>
                  </a:lnTo>
                  <a:lnTo>
                    <a:pt x="2142" y="2022"/>
                  </a:lnTo>
                  <a:lnTo>
                    <a:pt x="2142" y="2008"/>
                  </a:lnTo>
                  <a:lnTo>
                    <a:pt x="2142" y="1996"/>
                  </a:lnTo>
                  <a:lnTo>
                    <a:pt x="2144" y="1992"/>
                  </a:lnTo>
                  <a:lnTo>
                    <a:pt x="2146" y="1994"/>
                  </a:lnTo>
                  <a:lnTo>
                    <a:pt x="2148" y="2000"/>
                  </a:lnTo>
                  <a:lnTo>
                    <a:pt x="2158" y="2012"/>
                  </a:lnTo>
                  <a:lnTo>
                    <a:pt x="2166" y="2020"/>
                  </a:lnTo>
                  <a:lnTo>
                    <a:pt x="2172" y="2024"/>
                  </a:lnTo>
                  <a:lnTo>
                    <a:pt x="2180" y="2026"/>
                  </a:lnTo>
                  <a:lnTo>
                    <a:pt x="2184" y="2026"/>
                  </a:lnTo>
                  <a:lnTo>
                    <a:pt x="2186" y="2026"/>
                  </a:lnTo>
                  <a:lnTo>
                    <a:pt x="2188" y="2024"/>
                  </a:lnTo>
                  <a:lnTo>
                    <a:pt x="2190" y="2022"/>
                  </a:lnTo>
                  <a:lnTo>
                    <a:pt x="2188" y="2020"/>
                  </a:lnTo>
                  <a:lnTo>
                    <a:pt x="2186" y="2014"/>
                  </a:lnTo>
                  <a:lnTo>
                    <a:pt x="2176" y="2002"/>
                  </a:lnTo>
                  <a:lnTo>
                    <a:pt x="2168" y="1992"/>
                  </a:lnTo>
                  <a:lnTo>
                    <a:pt x="2166" y="1988"/>
                  </a:lnTo>
                  <a:lnTo>
                    <a:pt x="2166" y="1984"/>
                  </a:lnTo>
                  <a:lnTo>
                    <a:pt x="2168" y="1982"/>
                  </a:lnTo>
                  <a:lnTo>
                    <a:pt x="2178" y="1972"/>
                  </a:lnTo>
                  <a:lnTo>
                    <a:pt x="2180" y="1968"/>
                  </a:lnTo>
                  <a:lnTo>
                    <a:pt x="2182" y="1962"/>
                  </a:lnTo>
                  <a:lnTo>
                    <a:pt x="2180" y="1960"/>
                  </a:lnTo>
                  <a:lnTo>
                    <a:pt x="2174" y="1958"/>
                  </a:lnTo>
                  <a:lnTo>
                    <a:pt x="2150" y="1958"/>
                  </a:lnTo>
                  <a:lnTo>
                    <a:pt x="2148" y="1958"/>
                  </a:lnTo>
                  <a:lnTo>
                    <a:pt x="2146" y="1956"/>
                  </a:lnTo>
                  <a:lnTo>
                    <a:pt x="2146" y="1954"/>
                  </a:lnTo>
                  <a:lnTo>
                    <a:pt x="2146" y="1950"/>
                  </a:lnTo>
                  <a:lnTo>
                    <a:pt x="2148" y="1946"/>
                  </a:lnTo>
                  <a:lnTo>
                    <a:pt x="2158" y="1934"/>
                  </a:lnTo>
                  <a:lnTo>
                    <a:pt x="2158" y="1932"/>
                  </a:lnTo>
                  <a:lnTo>
                    <a:pt x="2158" y="1930"/>
                  </a:lnTo>
                  <a:lnTo>
                    <a:pt x="2154" y="1928"/>
                  </a:lnTo>
                  <a:lnTo>
                    <a:pt x="2150" y="1928"/>
                  </a:lnTo>
                  <a:lnTo>
                    <a:pt x="2144" y="1930"/>
                  </a:lnTo>
                  <a:lnTo>
                    <a:pt x="2138" y="1934"/>
                  </a:lnTo>
                  <a:lnTo>
                    <a:pt x="2130" y="1946"/>
                  </a:lnTo>
                  <a:lnTo>
                    <a:pt x="2116" y="1970"/>
                  </a:lnTo>
                  <a:lnTo>
                    <a:pt x="2112" y="1982"/>
                  </a:lnTo>
                  <a:close/>
                  <a:moveTo>
                    <a:pt x="1966" y="1940"/>
                  </a:moveTo>
                  <a:lnTo>
                    <a:pt x="1966" y="1940"/>
                  </a:lnTo>
                  <a:lnTo>
                    <a:pt x="1968" y="1948"/>
                  </a:lnTo>
                  <a:lnTo>
                    <a:pt x="1970" y="1954"/>
                  </a:lnTo>
                  <a:lnTo>
                    <a:pt x="1972" y="1960"/>
                  </a:lnTo>
                  <a:lnTo>
                    <a:pt x="1980" y="1974"/>
                  </a:lnTo>
                  <a:lnTo>
                    <a:pt x="1982" y="1980"/>
                  </a:lnTo>
                  <a:lnTo>
                    <a:pt x="1988" y="1984"/>
                  </a:lnTo>
                  <a:lnTo>
                    <a:pt x="1994" y="1986"/>
                  </a:lnTo>
                  <a:lnTo>
                    <a:pt x="1998" y="1986"/>
                  </a:lnTo>
                  <a:lnTo>
                    <a:pt x="2014" y="1986"/>
                  </a:lnTo>
                  <a:lnTo>
                    <a:pt x="2018" y="1986"/>
                  </a:lnTo>
                  <a:lnTo>
                    <a:pt x="2024" y="1988"/>
                  </a:lnTo>
                  <a:lnTo>
                    <a:pt x="2032" y="1990"/>
                  </a:lnTo>
                  <a:lnTo>
                    <a:pt x="2038" y="1992"/>
                  </a:lnTo>
                  <a:lnTo>
                    <a:pt x="2044" y="1996"/>
                  </a:lnTo>
                  <a:lnTo>
                    <a:pt x="2052" y="1996"/>
                  </a:lnTo>
                  <a:lnTo>
                    <a:pt x="2056" y="1996"/>
                  </a:lnTo>
                  <a:lnTo>
                    <a:pt x="2062" y="1994"/>
                  </a:lnTo>
                  <a:lnTo>
                    <a:pt x="2066" y="1988"/>
                  </a:lnTo>
                  <a:lnTo>
                    <a:pt x="2072" y="1974"/>
                  </a:lnTo>
                  <a:lnTo>
                    <a:pt x="2074" y="1968"/>
                  </a:lnTo>
                  <a:lnTo>
                    <a:pt x="2078" y="1962"/>
                  </a:lnTo>
                  <a:lnTo>
                    <a:pt x="2088" y="1950"/>
                  </a:lnTo>
                  <a:lnTo>
                    <a:pt x="2090" y="1944"/>
                  </a:lnTo>
                  <a:lnTo>
                    <a:pt x="2094" y="1932"/>
                  </a:lnTo>
                  <a:lnTo>
                    <a:pt x="2096" y="1928"/>
                  </a:lnTo>
                  <a:lnTo>
                    <a:pt x="2100" y="1924"/>
                  </a:lnTo>
                  <a:lnTo>
                    <a:pt x="2106" y="1922"/>
                  </a:lnTo>
                  <a:lnTo>
                    <a:pt x="2108" y="1920"/>
                  </a:lnTo>
                  <a:lnTo>
                    <a:pt x="2108" y="1918"/>
                  </a:lnTo>
                  <a:lnTo>
                    <a:pt x="2108" y="1916"/>
                  </a:lnTo>
                  <a:lnTo>
                    <a:pt x="2106" y="1914"/>
                  </a:lnTo>
                  <a:lnTo>
                    <a:pt x="2100" y="1912"/>
                  </a:lnTo>
                  <a:lnTo>
                    <a:pt x="2096" y="1908"/>
                  </a:lnTo>
                  <a:lnTo>
                    <a:pt x="2094" y="1900"/>
                  </a:lnTo>
                  <a:lnTo>
                    <a:pt x="2094" y="1898"/>
                  </a:lnTo>
                  <a:lnTo>
                    <a:pt x="2094" y="1882"/>
                  </a:lnTo>
                  <a:lnTo>
                    <a:pt x="2094" y="1878"/>
                  </a:lnTo>
                  <a:lnTo>
                    <a:pt x="2096" y="1870"/>
                  </a:lnTo>
                  <a:lnTo>
                    <a:pt x="2100" y="1866"/>
                  </a:lnTo>
                  <a:lnTo>
                    <a:pt x="2106" y="1864"/>
                  </a:lnTo>
                  <a:lnTo>
                    <a:pt x="2108" y="1862"/>
                  </a:lnTo>
                  <a:lnTo>
                    <a:pt x="2110" y="1858"/>
                  </a:lnTo>
                  <a:lnTo>
                    <a:pt x="2110" y="1856"/>
                  </a:lnTo>
                  <a:lnTo>
                    <a:pt x="2110" y="1852"/>
                  </a:lnTo>
                  <a:lnTo>
                    <a:pt x="2106" y="1848"/>
                  </a:lnTo>
                  <a:lnTo>
                    <a:pt x="2102" y="1842"/>
                  </a:lnTo>
                  <a:lnTo>
                    <a:pt x="2096" y="1836"/>
                  </a:lnTo>
                  <a:lnTo>
                    <a:pt x="2090" y="1834"/>
                  </a:lnTo>
                  <a:lnTo>
                    <a:pt x="2084" y="1832"/>
                  </a:lnTo>
                  <a:lnTo>
                    <a:pt x="2076" y="1834"/>
                  </a:lnTo>
                  <a:lnTo>
                    <a:pt x="2052" y="1846"/>
                  </a:lnTo>
                  <a:lnTo>
                    <a:pt x="2046" y="1850"/>
                  </a:lnTo>
                  <a:lnTo>
                    <a:pt x="2040" y="1856"/>
                  </a:lnTo>
                  <a:lnTo>
                    <a:pt x="2020" y="1882"/>
                  </a:lnTo>
                  <a:lnTo>
                    <a:pt x="2014" y="1888"/>
                  </a:lnTo>
                  <a:lnTo>
                    <a:pt x="2008" y="1892"/>
                  </a:lnTo>
                  <a:lnTo>
                    <a:pt x="2004" y="1896"/>
                  </a:lnTo>
                  <a:lnTo>
                    <a:pt x="1988" y="1902"/>
                  </a:lnTo>
                  <a:lnTo>
                    <a:pt x="1984" y="1904"/>
                  </a:lnTo>
                  <a:lnTo>
                    <a:pt x="1972" y="1914"/>
                  </a:lnTo>
                  <a:lnTo>
                    <a:pt x="1968" y="1920"/>
                  </a:lnTo>
                  <a:lnTo>
                    <a:pt x="1966" y="1926"/>
                  </a:lnTo>
                  <a:lnTo>
                    <a:pt x="1966" y="1940"/>
                  </a:lnTo>
                  <a:close/>
                  <a:moveTo>
                    <a:pt x="2180" y="1810"/>
                  </a:moveTo>
                  <a:lnTo>
                    <a:pt x="2180" y="1810"/>
                  </a:lnTo>
                  <a:lnTo>
                    <a:pt x="2174" y="1814"/>
                  </a:lnTo>
                  <a:lnTo>
                    <a:pt x="2170" y="1818"/>
                  </a:lnTo>
                  <a:lnTo>
                    <a:pt x="2164" y="1832"/>
                  </a:lnTo>
                  <a:lnTo>
                    <a:pt x="2164" y="1834"/>
                  </a:lnTo>
                  <a:lnTo>
                    <a:pt x="2164" y="1836"/>
                  </a:lnTo>
                  <a:lnTo>
                    <a:pt x="2166" y="1838"/>
                  </a:lnTo>
                  <a:lnTo>
                    <a:pt x="2168" y="1836"/>
                  </a:lnTo>
                  <a:lnTo>
                    <a:pt x="2174" y="1834"/>
                  </a:lnTo>
                  <a:lnTo>
                    <a:pt x="2180" y="1832"/>
                  </a:lnTo>
                  <a:lnTo>
                    <a:pt x="2186" y="1834"/>
                  </a:lnTo>
                  <a:lnTo>
                    <a:pt x="2192" y="1838"/>
                  </a:lnTo>
                  <a:lnTo>
                    <a:pt x="2200" y="1840"/>
                  </a:lnTo>
                  <a:lnTo>
                    <a:pt x="2204" y="1840"/>
                  </a:lnTo>
                  <a:lnTo>
                    <a:pt x="2210" y="1840"/>
                  </a:lnTo>
                  <a:lnTo>
                    <a:pt x="2218" y="1844"/>
                  </a:lnTo>
                  <a:lnTo>
                    <a:pt x="2224" y="1846"/>
                  </a:lnTo>
                  <a:lnTo>
                    <a:pt x="2226" y="1846"/>
                  </a:lnTo>
                  <a:lnTo>
                    <a:pt x="2228" y="1846"/>
                  </a:lnTo>
                  <a:lnTo>
                    <a:pt x="2230" y="1844"/>
                  </a:lnTo>
                  <a:lnTo>
                    <a:pt x="2230" y="1842"/>
                  </a:lnTo>
                  <a:lnTo>
                    <a:pt x="2230" y="1818"/>
                  </a:lnTo>
                  <a:lnTo>
                    <a:pt x="2230" y="1812"/>
                  </a:lnTo>
                  <a:lnTo>
                    <a:pt x="2226" y="1806"/>
                  </a:lnTo>
                  <a:lnTo>
                    <a:pt x="2216" y="1798"/>
                  </a:lnTo>
                  <a:lnTo>
                    <a:pt x="2214" y="1796"/>
                  </a:lnTo>
                  <a:lnTo>
                    <a:pt x="2212" y="1794"/>
                  </a:lnTo>
                  <a:lnTo>
                    <a:pt x="2208" y="1796"/>
                  </a:lnTo>
                  <a:lnTo>
                    <a:pt x="2206" y="1798"/>
                  </a:lnTo>
                  <a:lnTo>
                    <a:pt x="2198" y="1806"/>
                  </a:lnTo>
                  <a:lnTo>
                    <a:pt x="2190" y="1810"/>
                  </a:lnTo>
                  <a:lnTo>
                    <a:pt x="2184" y="1810"/>
                  </a:lnTo>
                  <a:lnTo>
                    <a:pt x="2180" y="1810"/>
                  </a:lnTo>
                  <a:close/>
                  <a:moveTo>
                    <a:pt x="2152" y="1544"/>
                  </a:moveTo>
                  <a:lnTo>
                    <a:pt x="2152" y="1544"/>
                  </a:lnTo>
                  <a:lnTo>
                    <a:pt x="2152" y="1542"/>
                  </a:lnTo>
                  <a:lnTo>
                    <a:pt x="2152" y="1540"/>
                  </a:lnTo>
                  <a:lnTo>
                    <a:pt x="2150" y="1540"/>
                  </a:lnTo>
                  <a:lnTo>
                    <a:pt x="2148" y="1542"/>
                  </a:lnTo>
                  <a:lnTo>
                    <a:pt x="2138" y="1550"/>
                  </a:lnTo>
                  <a:lnTo>
                    <a:pt x="2134" y="1558"/>
                  </a:lnTo>
                  <a:lnTo>
                    <a:pt x="2132" y="1564"/>
                  </a:lnTo>
                  <a:lnTo>
                    <a:pt x="2132" y="1568"/>
                  </a:lnTo>
                  <a:lnTo>
                    <a:pt x="2134" y="1576"/>
                  </a:lnTo>
                  <a:lnTo>
                    <a:pt x="2136" y="1584"/>
                  </a:lnTo>
                  <a:lnTo>
                    <a:pt x="2140" y="1588"/>
                  </a:lnTo>
                  <a:lnTo>
                    <a:pt x="2140" y="1590"/>
                  </a:lnTo>
                  <a:lnTo>
                    <a:pt x="2142" y="1592"/>
                  </a:lnTo>
                  <a:lnTo>
                    <a:pt x="2144" y="1590"/>
                  </a:lnTo>
                  <a:lnTo>
                    <a:pt x="2144" y="1588"/>
                  </a:lnTo>
                  <a:lnTo>
                    <a:pt x="2150" y="1564"/>
                  </a:lnTo>
                  <a:lnTo>
                    <a:pt x="2152" y="1548"/>
                  </a:lnTo>
                  <a:lnTo>
                    <a:pt x="2152" y="1544"/>
                  </a:lnTo>
                  <a:close/>
                  <a:moveTo>
                    <a:pt x="2066" y="2082"/>
                  </a:moveTo>
                  <a:lnTo>
                    <a:pt x="2066" y="2082"/>
                  </a:lnTo>
                  <a:lnTo>
                    <a:pt x="2068" y="2082"/>
                  </a:lnTo>
                  <a:lnTo>
                    <a:pt x="2070" y="2082"/>
                  </a:lnTo>
                  <a:lnTo>
                    <a:pt x="2072" y="2080"/>
                  </a:lnTo>
                  <a:lnTo>
                    <a:pt x="2070" y="2078"/>
                  </a:lnTo>
                  <a:lnTo>
                    <a:pt x="2068" y="2072"/>
                  </a:lnTo>
                  <a:lnTo>
                    <a:pt x="2062" y="2066"/>
                  </a:lnTo>
                  <a:lnTo>
                    <a:pt x="2056" y="2062"/>
                  </a:lnTo>
                  <a:lnTo>
                    <a:pt x="2032" y="2058"/>
                  </a:lnTo>
                  <a:lnTo>
                    <a:pt x="2018" y="2052"/>
                  </a:lnTo>
                  <a:lnTo>
                    <a:pt x="2012" y="2048"/>
                  </a:lnTo>
                  <a:lnTo>
                    <a:pt x="2006" y="2046"/>
                  </a:lnTo>
                  <a:lnTo>
                    <a:pt x="1998" y="2046"/>
                  </a:lnTo>
                  <a:lnTo>
                    <a:pt x="1994" y="2046"/>
                  </a:lnTo>
                  <a:lnTo>
                    <a:pt x="1978" y="2046"/>
                  </a:lnTo>
                  <a:lnTo>
                    <a:pt x="1964" y="2046"/>
                  </a:lnTo>
                  <a:lnTo>
                    <a:pt x="1948" y="2046"/>
                  </a:lnTo>
                  <a:lnTo>
                    <a:pt x="1916" y="2046"/>
                  </a:lnTo>
                  <a:lnTo>
                    <a:pt x="1912" y="2046"/>
                  </a:lnTo>
                  <a:lnTo>
                    <a:pt x="1916" y="2048"/>
                  </a:lnTo>
                  <a:lnTo>
                    <a:pt x="1940" y="2062"/>
                  </a:lnTo>
                  <a:lnTo>
                    <a:pt x="1954" y="2066"/>
                  </a:lnTo>
                  <a:lnTo>
                    <a:pt x="1998" y="2074"/>
                  </a:lnTo>
                  <a:lnTo>
                    <a:pt x="2014" y="2074"/>
                  </a:lnTo>
                  <a:lnTo>
                    <a:pt x="2026" y="2074"/>
                  </a:lnTo>
                  <a:lnTo>
                    <a:pt x="2042" y="2076"/>
                  </a:lnTo>
                  <a:lnTo>
                    <a:pt x="2066" y="2082"/>
                  </a:lnTo>
                  <a:close/>
                  <a:moveTo>
                    <a:pt x="2126" y="1676"/>
                  </a:moveTo>
                  <a:lnTo>
                    <a:pt x="2126" y="1676"/>
                  </a:lnTo>
                  <a:lnTo>
                    <a:pt x="2124" y="1684"/>
                  </a:lnTo>
                  <a:lnTo>
                    <a:pt x="2126" y="1692"/>
                  </a:lnTo>
                  <a:lnTo>
                    <a:pt x="2130" y="1706"/>
                  </a:lnTo>
                  <a:lnTo>
                    <a:pt x="2134" y="1712"/>
                  </a:lnTo>
                  <a:lnTo>
                    <a:pt x="2138" y="1718"/>
                  </a:lnTo>
                  <a:lnTo>
                    <a:pt x="2142" y="1722"/>
                  </a:lnTo>
                  <a:lnTo>
                    <a:pt x="2148" y="1722"/>
                  </a:lnTo>
                  <a:lnTo>
                    <a:pt x="2152" y="1724"/>
                  </a:lnTo>
                  <a:lnTo>
                    <a:pt x="2158" y="1728"/>
                  </a:lnTo>
                  <a:lnTo>
                    <a:pt x="2174" y="1738"/>
                  </a:lnTo>
                  <a:lnTo>
                    <a:pt x="2180" y="1744"/>
                  </a:lnTo>
                  <a:lnTo>
                    <a:pt x="2186" y="1750"/>
                  </a:lnTo>
                  <a:lnTo>
                    <a:pt x="2188" y="1754"/>
                  </a:lnTo>
                  <a:lnTo>
                    <a:pt x="2192" y="1760"/>
                  </a:lnTo>
                  <a:lnTo>
                    <a:pt x="2198" y="1766"/>
                  </a:lnTo>
                  <a:lnTo>
                    <a:pt x="2204" y="1768"/>
                  </a:lnTo>
                  <a:lnTo>
                    <a:pt x="2206" y="1768"/>
                  </a:lnTo>
                  <a:lnTo>
                    <a:pt x="2208" y="1768"/>
                  </a:lnTo>
                  <a:lnTo>
                    <a:pt x="2210" y="1766"/>
                  </a:lnTo>
                  <a:lnTo>
                    <a:pt x="2210" y="1764"/>
                  </a:lnTo>
                  <a:lnTo>
                    <a:pt x="2210" y="1760"/>
                  </a:lnTo>
                  <a:lnTo>
                    <a:pt x="2210" y="1752"/>
                  </a:lnTo>
                  <a:lnTo>
                    <a:pt x="2206" y="1746"/>
                  </a:lnTo>
                  <a:lnTo>
                    <a:pt x="2196" y="1730"/>
                  </a:lnTo>
                  <a:lnTo>
                    <a:pt x="2190" y="1724"/>
                  </a:lnTo>
                  <a:lnTo>
                    <a:pt x="2184" y="1718"/>
                  </a:lnTo>
                  <a:lnTo>
                    <a:pt x="2168" y="1708"/>
                  </a:lnTo>
                  <a:lnTo>
                    <a:pt x="2164" y="1704"/>
                  </a:lnTo>
                  <a:lnTo>
                    <a:pt x="2162" y="1698"/>
                  </a:lnTo>
                  <a:lnTo>
                    <a:pt x="2164" y="1686"/>
                  </a:lnTo>
                  <a:lnTo>
                    <a:pt x="2170" y="1672"/>
                  </a:lnTo>
                  <a:lnTo>
                    <a:pt x="2168" y="1666"/>
                  </a:lnTo>
                  <a:lnTo>
                    <a:pt x="2164" y="1660"/>
                  </a:lnTo>
                  <a:lnTo>
                    <a:pt x="2160" y="1658"/>
                  </a:lnTo>
                  <a:lnTo>
                    <a:pt x="2152" y="1656"/>
                  </a:lnTo>
                  <a:lnTo>
                    <a:pt x="2146" y="1658"/>
                  </a:lnTo>
                  <a:lnTo>
                    <a:pt x="2140" y="1660"/>
                  </a:lnTo>
                  <a:lnTo>
                    <a:pt x="2134" y="1666"/>
                  </a:lnTo>
                  <a:lnTo>
                    <a:pt x="2130" y="1672"/>
                  </a:lnTo>
                  <a:lnTo>
                    <a:pt x="2126" y="1676"/>
                  </a:lnTo>
                  <a:close/>
                  <a:moveTo>
                    <a:pt x="3046" y="620"/>
                  </a:moveTo>
                  <a:lnTo>
                    <a:pt x="3046" y="620"/>
                  </a:lnTo>
                  <a:lnTo>
                    <a:pt x="3052" y="616"/>
                  </a:lnTo>
                  <a:lnTo>
                    <a:pt x="3054" y="610"/>
                  </a:lnTo>
                  <a:lnTo>
                    <a:pt x="3062" y="478"/>
                  </a:lnTo>
                  <a:lnTo>
                    <a:pt x="3060" y="472"/>
                  </a:lnTo>
                  <a:lnTo>
                    <a:pt x="3056" y="466"/>
                  </a:lnTo>
                  <a:lnTo>
                    <a:pt x="3050" y="464"/>
                  </a:lnTo>
                  <a:lnTo>
                    <a:pt x="3038" y="460"/>
                  </a:lnTo>
                  <a:lnTo>
                    <a:pt x="3034" y="458"/>
                  </a:lnTo>
                  <a:lnTo>
                    <a:pt x="3028" y="454"/>
                  </a:lnTo>
                  <a:lnTo>
                    <a:pt x="3020" y="446"/>
                  </a:lnTo>
                  <a:lnTo>
                    <a:pt x="3006" y="438"/>
                  </a:lnTo>
                  <a:lnTo>
                    <a:pt x="3002" y="434"/>
                  </a:lnTo>
                  <a:lnTo>
                    <a:pt x="2994" y="432"/>
                  </a:lnTo>
                  <a:lnTo>
                    <a:pt x="2986" y="432"/>
                  </a:lnTo>
                  <a:lnTo>
                    <a:pt x="2972" y="432"/>
                  </a:lnTo>
                  <a:lnTo>
                    <a:pt x="2966" y="430"/>
                  </a:lnTo>
                  <a:lnTo>
                    <a:pt x="2958" y="428"/>
                  </a:lnTo>
                  <a:lnTo>
                    <a:pt x="2952" y="424"/>
                  </a:lnTo>
                  <a:lnTo>
                    <a:pt x="2946" y="422"/>
                  </a:lnTo>
                  <a:lnTo>
                    <a:pt x="2938" y="422"/>
                  </a:lnTo>
                  <a:lnTo>
                    <a:pt x="2934" y="422"/>
                  </a:lnTo>
                  <a:lnTo>
                    <a:pt x="2920" y="422"/>
                  </a:lnTo>
                  <a:lnTo>
                    <a:pt x="2918" y="424"/>
                  </a:lnTo>
                  <a:lnTo>
                    <a:pt x="2918" y="430"/>
                  </a:lnTo>
                  <a:lnTo>
                    <a:pt x="2924" y="452"/>
                  </a:lnTo>
                  <a:lnTo>
                    <a:pt x="2922" y="460"/>
                  </a:lnTo>
                  <a:lnTo>
                    <a:pt x="2918" y="464"/>
                  </a:lnTo>
                  <a:lnTo>
                    <a:pt x="2914" y="466"/>
                  </a:lnTo>
                  <a:lnTo>
                    <a:pt x="2906" y="468"/>
                  </a:lnTo>
                  <a:lnTo>
                    <a:pt x="2900" y="466"/>
                  </a:lnTo>
                  <a:lnTo>
                    <a:pt x="2894" y="464"/>
                  </a:lnTo>
                  <a:lnTo>
                    <a:pt x="2888" y="460"/>
                  </a:lnTo>
                  <a:lnTo>
                    <a:pt x="2882" y="454"/>
                  </a:lnTo>
                  <a:lnTo>
                    <a:pt x="2880" y="448"/>
                  </a:lnTo>
                  <a:lnTo>
                    <a:pt x="2876" y="436"/>
                  </a:lnTo>
                  <a:lnTo>
                    <a:pt x="2874" y="432"/>
                  </a:lnTo>
                  <a:lnTo>
                    <a:pt x="2868" y="432"/>
                  </a:lnTo>
                  <a:lnTo>
                    <a:pt x="2856" y="432"/>
                  </a:lnTo>
                  <a:lnTo>
                    <a:pt x="2848" y="432"/>
                  </a:lnTo>
                  <a:lnTo>
                    <a:pt x="2842" y="436"/>
                  </a:lnTo>
                  <a:lnTo>
                    <a:pt x="2836" y="438"/>
                  </a:lnTo>
                  <a:lnTo>
                    <a:pt x="2830" y="438"/>
                  </a:lnTo>
                  <a:lnTo>
                    <a:pt x="2816" y="434"/>
                  </a:lnTo>
                  <a:lnTo>
                    <a:pt x="2800" y="432"/>
                  </a:lnTo>
                  <a:lnTo>
                    <a:pt x="2786" y="432"/>
                  </a:lnTo>
                  <a:lnTo>
                    <a:pt x="2780" y="432"/>
                  </a:lnTo>
                  <a:lnTo>
                    <a:pt x="2774" y="436"/>
                  </a:lnTo>
                  <a:lnTo>
                    <a:pt x="2772" y="438"/>
                  </a:lnTo>
                  <a:lnTo>
                    <a:pt x="2768" y="438"/>
                  </a:lnTo>
                  <a:lnTo>
                    <a:pt x="2764" y="436"/>
                  </a:lnTo>
                  <a:lnTo>
                    <a:pt x="2756" y="426"/>
                  </a:lnTo>
                  <a:lnTo>
                    <a:pt x="2752" y="420"/>
                  </a:lnTo>
                  <a:lnTo>
                    <a:pt x="2750" y="414"/>
                  </a:lnTo>
                  <a:lnTo>
                    <a:pt x="2750" y="400"/>
                  </a:lnTo>
                  <a:lnTo>
                    <a:pt x="2748" y="394"/>
                  </a:lnTo>
                  <a:lnTo>
                    <a:pt x="2742" y="388"/>
                  </a:lnTo>
                  <a:lnTo>
                    <a:pt x="2726" y="376"/>
                  </a:lnTo>
                  <a:lnTo>
                    <a:pt x="2720" y="374"/>
                  </a:lnTo>
                  <a:lnTo>
                    <a:pt x="2712" y="372"/>
                  </a:lnTo>
                  <a:lnTo>
                    <a:pt x="2680" y="372"/>
                  </a:lnTo>
                  <a:lnTo>
                    <a:pt x="2664" y="372"/>
                  </a:lnTo>
                  <a:lnTo>
                    <a:pt x="2630" y="372"/>
                  </a:lnTo>
                  <a:lnTo>
                    <a:pt x="2624" y="370"/>
                  </a:lnTo>
                  <a:lnTo>
                    <a:pt x="2622" y="368"/>
                  </a:lnTo>
                  <a:lnTo>
                    <a:pt x="2620" y="362"/>
                  </a:lnTo>
                  <a:lnTo>
                    <a:pt x="2618" y="358"/>
                  </a:lnTo>
                  <a:lnTo>
                    <a:pt x="2606" y="348"/>
                  </a:lnTo>
                  <a:lnTo>
                    <a:pt x="2590" y="338"/>
                  </a:lnTo>
                  <a:lnTo>
                    <a:pt x="2586" y="332"/>
                  </a:lnTo>
                  <a:lnTo>
                    <a:pt x="2584" y="326"/>
                  </a:lnTo>
                  <a:lnTo>
                    <a:pt x="2584" y="322"/>
                  </a:lnTo>
                  <a:lnTo>
                    <a:pt x="2580" y="316"/>
                  </a:lnTo>
                  <a:lnTo>
                    <a:pt x="2576" y="312"/>
                  </a:lnTo>
                  <a:lnTo>
                    <a:pt x="2474" y="286"/>
                  </a:lnTo>
                  <a:lnTo>
                    <a:pt x="2468" y="286"/>
                  </a:lnTo>
                  <a:lnTo>
                    <a:pt x="2466" y="288"/>
                  </a:lnTo>
                  <a:lnTo>
                    <a:pt x="2466" y="290"/>
                  </a:lnTo>
                  <a:lnTo>
                    <a:pt x="2464" y="294"/>
                  </a:lnTo>
                  <a:lnTo>
                    <a:pt x="2458" y="298"/>
                  </a:lnTo>
                  <a:lnTo>
                    <a:pt x="2442" y="310"/>
                  </a:lnTo>
                  <a:lnTo>
                    <a:pt x="2438" y="314"/>
                  </a:lnTo>
                  <a:lnTo>
                    <a:pt x="2438" y="322"/>
                  </a:lnTo>
                  <a:lnTo>
                    <a:pt x="2444" y="336"/>
                  </a:lnTo>
                  <a:lnTo>
                    <a:pt x="2444" y="338"/>
                  </a:lnTo>
                  <a:lnTo>
                    <a:pt x="2444" y="342"/>
                  </a:lnTo>
                  <a:lnTo>
                    <a:pt x="2442" y="344"/>
                  </a:lnTo>
                  <a:lnTo>
                    <a:pt x="2438" y="346"/>
                  </a:lnTo>
                  <a:lnTo>
                    <a:pt x="2424" y="350"/>
                  </a:lnTo>
                  <a:lnTo>
                    <a:pt x="2408" y="352"/>
                  </a:lnTo>
                  <a:lnTo>
                    <a:pt x="2406" y="352"/>
                  </a:lnTo>
                  <a:lnTo>
                    <a:pt x="2390" y="350"/>
                  </a:lnTo>
                  <a:lnTo>
                    <a:pt x="2376" y="346"/>
                  </a:lnTo>
                  <a:lnTo>
                    <a:pt x="2368" y="346"/>
                  </a:lnTo>
                  <a:lnTo>
                    <a:pt x="2362" y="348"/>
                  </a:lnTo>
                  <a:lnTo>
                    <a:pt x="2358" y="350"/>
                  </a:lnTo>
                  <a:lnTo>
                    <a:pt x="2350" y="350"/>
                  </a:lnTo>
                  <a:lnTo>
                    <a:pt x="2346" y="346"/>
                  </a:lnTo>
                  <a:lnTo>
                    <a:pt x="2332" y="340"/>
                  </a:lnTo>
                  <a:lnTo>
                    <a:pt x="2326" y="336"/>
                  </a:lnTo>
                  <a:lnTo>
                    <a:pt x="2324" y="336"/>
                  </a:lnTo>
                  <a:lnTo>
                    <a:pt x="2322" y="336"/>
                  </a:lnTo>
                  <a:lnTo>
                    <a:pt x="2320" y="338"/>
                  </a:lnTo>
                  <a:lnTo>
                    <a:pt x="2318" y="342"/>
                  </a:lnTo>
                  <a:lnTo>
                    <a:pt x="2318" y="354"/>
                  </a:lnTo>
                  <a:lnTo>
                    <a:pt x="2318" y="362"/>
                  </a:lnTo>
                  <a:lnTo>
                    <a:pt x="2314" y="368"/>
                  </a:lnTo>
                  <a:lnTo>
                    <a:pt x="2304" y="376"/>
                  </a:lnTo>
                  <a:lnTo>
                    <a:pt x="2302" y="378"/>
                  </a:lnTo>
                  <a:lnTo>
                    <a:pt x="2300" y="378"/>
                  </a:lnTo>
                  <a:lnTo>
                    <a:pt x="2298" y="378"/>
                  </a:lnTo>
                  <a:lnTo>
                    <a:pt x="2294" y="376"/>
                  </a:lnTo>
                  <a:lnTo>
                    <a:pt x="2284" y="360"/>
                  </a:lnTo>
                  <a:lnTo>
                    <a:pt x="2276" y="346"/>
                  </a:lnTo>
                  <a:lnTo>
                    <a:pt x="2264" y="330"/>
                  </a:lnTo>
                  <a:lnTo>
                    <a:pt x="2262" y="324"/>
                  </a:lnTo>
                  <a:lnTo>
                    <a:pt x="2264" y="316"/>
                  </a:lnTo>
                  <a:lnTo>
                    <a:pt x="2276" y="300"/>
                  </a:lnTo>
                  <a:lnTo>
                    <a:pt x="2278" y="294"/>
                  </a:lnTo>
                  <a:lnTo>
                    <a:pt x="2280" y="286"/>
                  </a:lnTo>
                  <a:lnTo>
                    <a:pt x="2280" y="282"/>
                  </a:lnTo>
                  <a:lnTo>
                    <a:pt x="2278" y="276"/>
                  </a:lnTo>
                  <a:lnTo>
                    <a:pt x="2274" y="268"/>
                  </a:lnTo>
                  <a:lnTo>
                    <a:pt x="2266" y="260"/>
                  </a:lnTo>
                  <a:lnTo>
                    <a:pt x="2252" y="252"/>
                  </a:lnTo>
                  <a:lnTo>
                    <a:pt x="2248" y="248"/>
                  </a:lnTo>
                  <a:lnTo>
                    <a:pt x="2240" y="246"/>
                  </a:lnTo>
                  <a:lnTo>
                    <a:pt x="2232" y="246"/>
                  </a:lnTo>
                  <a:lnTo>
                    <a:pt x="2230" y="246"/>
                  </a:lnTo>
                  <a:lnTo>
                    <a:pt x="2222" y="244"/>
                  </a:lnTo>
                  <a:lnTo>
                    <a:pt x="2216" y="240"/>
                  </a:lnTo>
                  <a:lnTo>
                    <a:pt x="2204" y="232"/>
                  </a:lnTo>
                  <a:lnTo>
                    <a:pt x="2198" y="230"/>
                  </a:lnTo>
                  <a:lnTo>
                    <a:pt x="2196" y="228"/>
                  </a:lnTo>
                  <a:lnTo>
                    <a:pt x="2192" y="228"/>
                  </a:lnTo>
                  <a:lnTo>
                    <a:pt x="2190" y="230"/>
                  </a:lnTo>
                  <a:lnTo>
                    <a:pt x="2188" y="232"/>
                  </a:lnTo>
                  <a:lnTo>
                    <a:pt x="2186" y="238"/>
                  </a:lnTo>
                  <a:lnTo>
                    <a:pt x="2178" y="252"/>
                  </a:lnTo>
                  <a:lnTo>
                    <a:pt x="2176" y="258"/>
                  </a:lnTo>
                  <a:lnTo>
                    <a:pt x="2170" y="262"/>
                  </a:lnTo>
                  <a:lnTo>
                    <a:pt x="2164" y="264"/>
                  </a:lnTo>
                  <a:lnTo>
                    <a:pt x="2132" y="264"/>
                  </a:lnTo>
                  <a:lnTo>
                    <a:pt x="2124" y="264"/>
                  </a:lnTo>
                  <a:lnTo>
                    <a:pt x="2116" y="262"/>
                  </a:lnTo>
                  <a:lnTo>
                    <a:pt x="2110" y="258"/>
                  </a:lnTo>
                  <a:lnTo>
                    <a:pt x="2104" y="254"/>
                  </a:lnTo>
                  <a:lnTo>
                    <a:pt x="2100" y="248"/>
                  </a:lnTo>
                  <a:lnTo>
                    <a:pt x="2098" y="242"/>
                  </a:lnTo>
                  <a:lnTo>
                    <a:pt x="2092" y="238"/>
                  </a:lnTo>
                  <a:lnTo>
                    <a:pt x="2086" y="236"/>
                  </a:lnTo>
                  <a:lnTo>
                    <a:pt x="2062" y="236"/>
                  </a:lnTo>
                  <a:lnTo>
                    <a:pt x="2054" y="236"/>
                  </a:lnTo>
                  <a:lnTo>
                    <a:pt x="2048" y="240"/>
                  </a:lnTo>
                  <a:lnTo>
                    <a:pt x="2032" y="250"/>
                  </a:lnTo>
                  <a:lnTo>
                    <a:pt x="2030" y="252"/>
                  </a:lnTo>
                  <a:lnTo>
                    <a:pt x="2028" y="252"/>
                  </a:lnTo>
                  <a:lnTo>
                    <a:pt x="2026" y="250"/>
                  </a:lnTo>
                  <a:lnTo>
                    <a:pt x="2026" y="246"/>
                  </a:lnTo>
                  <a:lnTo>
                    <a:pt x="2026" y="244"/>
                  </a:lnTo>
                  <a:lnTo>
                    <a:pt x="2024" y="236"/>
                  </a:lnTo>
                  <a:lnTo>
                    <a:pt x="2020" y="230"/>
                  </a:lnTo>
                  <a:lnTo>
                    <a:pt x="2012" y="222"/>
                  </a:lnTo>
                  <a:lnTo>
                    <a:pt x="2004" y="218"/>
                  </a:lnTo>
                  <a:lnTo>
                    <a:pt x="1998" y="216"/>
                  </a:lnTo>
                  <a:lnTo>
                    <a:pt x="1994" y="216"/>
                  </a:lnTo>
                  <a:lnTo>
                    <a:pt x="1986" y="218"/>
                  </a:lnTo>
                  <a:lnTo>
                    <a:pt x="1980" y="222"/>
                  </a:lnTo>
                  <a:lnTo>
                    <a:pt x="1972" y="230"/>
                  </a:lnTo>
                  <a:lnTo>
                    <a:pt x="1960" y="240"/>
                  </a:lnTo>
                  <a:lnTo>
                    <a:pt x="1944" y="250"/>
                  </a:lnTo>
                  <a:lnTo>
                    <a:pt x="1930" y="260"/>
                  </a:lnTo>
                  <a:lnTo>
                    <a:pt x="1914" y="270"/>
                  </a:lnTo>
                  <a:lnTo>
                    <a:pt x="1910" y="272"/>
                  </a:lnTo>
                  <a:lnTo>
                    <a:pt x="1912" y="268"/>
                  </a:lnTo>
                  <a:lnTo>
                    <a:pt x="1922" y="252"/>
                  </a:lnTo>
                  <a:lnTo>
                    <a:pt x="1928" y="246"/>
                  </a:lnTo>
                  <a:lnTo>
                    <a:pt x="1934" y="242"/>
                  </a:lnTo>
                  <a:lnTo>
                    <a:pt x="1940" y="238"/>
                  </a:lnTo>
                  <a:lnTo>
                    <a:pt x="1946" y="234"/>
                  </a:lnTo>
                  <a:lnTo>
                    <a:pt x="1952" y="228"/>
                  </a:lnTo>
                  <a:lnTo>
                    <a:pt x="1972" y="194"/>
                  </a:lnTo>
                  <a:lnTo>
                    <a:pt x="1982" y="180"/>
                  </a:lnTo>
                  <a:lnTo>
                    <a:pt x="1990" y="172"/>
                  </a:lnTo>
                  <a:lnTo>
                    <a:pt x="2000" y="160"/>
                  </a:lnTo>
                  <a:lnTo>
                    <a:pt x="2010" y="144"/>
                  </a:lnTo>
                  <a:lnTo>
                    <a:pt x="2014" y="138"/>
                  </a:lnTo>
                  <a:lnTo>
                    <a:pt x="2014" y="130"/>
                  </a:lnTo>
                  <a:lnTo>
                    <a:pt x="2008" y="96"/>
                  </a:lnTo>
                  <a:lnTo>
                    <a:pt x="2004" y="90"/>
                  </a:lnTo>
                  <a:lnTo>
                    <a:pt x="2000" y="84"/>
                  </a:lnTo>
                  <a:lnTo>
                    <a:pt x="1972" y="64"/>
                  </a:lnTo>
                  <a:lnTo>
                    <a:pt x="1958" y="56"/>
                  </a:lnTo>
                  <a:lnTo>
                    <a:pt x="1944" y="52"/>
                  </a:lnTo>
                  <a:lnTo>
                    <a:pt x="1940" y="48"/>
                  </a:lnTo>
                  <a:lnTo>
                    <a:pt x="1938" y="44"/>
                  </a:lnTo>
                  <a:lnTo>
                    <a:pt x="1934" y="32"/>
                  </a:lnTo>
                  <a:lnTo>
                    <a:pt x="1922" y="8"/>
                  </a:lnTo>
                  <a:lnTo>
                    <a:pt x="1916" y="2"/>
                  </a:lnTo>
                  <a:lnTo>
                    <a:pt x="1910" y="0"/>
                  </a:lnTo>
                  <a:lnTo>
                    <a:pt x="1886" y="0"/>
                  </a:lnTo>
                  <a:lnTo>
                    <a:pt x="1880" y="2"/>
                  </a:lnTo>
                  <a:lnTo>
                    <a:pt x="1872" y="6"/>
                  </a:lnTo>
                  <a:lnTo>
                    <a:pt x="1844" y="34"/>
                  </a:lnTo>
                  <a:lnTo>
                    <a:pt x="1840" y="40"/>
                  </a:lnTo>
                  <a:lnTo>
                    <a:pt x="1838" y="48"/>
                  </a:lnTo>
                  <a:lnTo>
                    <a:pt x="1832" y="70"/>
                  </a:lnTo>
                  <a:lnTo>
                    <a:pt x="1828" y="78"/>
                  </a:lnTo>
                  <a:lnTo>
                    <a:pt x="1822" y="82"/>
                  </a:lnTo>
                  <a:lnTo>
                    <a:pt x="1788" y="104"/>
                  </a:lnTo>
                  <a:lnTo>
                    <a:pt x="1780" y="106"/>
                  </a:lnTo>
                  <a:lnTo>
                    <a:pt x="1774" y="104"/>
                  </a:lnTo>
                  <a:lnTo>
                    <a:pt x="1758" y="92"/>
                  </a:lnTo>
                  <a:lnTo>
                    <a:pt x="1750" y="90"/>
                  </a:lnTo>
                  <a:lnTo>
                    <a:pt x="1744" y="92"/>
                  </a:lnTo>
                  <a:lnTo>
                    <a:pt x="1710" y="106"/>
                  </a:lnTo>
                  <a:lnTo>
                    <a:pt x="1696" y="112"/>
                  </a:lnTo>
                  <a:lnTo>
                    <a:pt x="1660" y="134"/>
                  </a:lnTo>
                  <a:lnTo>
                    <a:pt x="1648" y="144"/>
                  </a:lnTo>
                  <a:lnTo>
                    <a:pt x="1630" y="162"/>
                  </a:lnTo>
                  <a:lnTo>
                    <a:pt x="1626" y="168"/>
                  </a:lnTo>
                  <a:lnTo>
                    <a:pt x="1622" y="174"/>
                  </a:lnTo>
                  <a:lnTo>
                    <a:pt x="1616" y="218"/>
                  </a:lnTo>
                  <a:lnTo>
                    <a:pt x="1612" y="224"/>
                  </a:lnTo>
                  <a:lnTo>
                    <a:pt x="1606" y="228"/>
                  </a:lnTo>
                  <a:lnTo>
                    <a:pt x="1544" y="244"/>
                  </a:lnTo>
                  <a:lnTo>
                    <a:pt x="1536" y="246"/>
                  </a:lnTo>
                  <a:lnTo>
                    <a:pt x="1532" y="252"/>
                  </a:lnTo>
                  <a:lnTo>
                    <a:pt x="1530" y="258"/>
                  </a:lnTo>
                  <a:lnTo>
                    <a:pt x="1528" y="264"/>
                  </a:lnTo>
                  <a:lnTo>
                    <a:pt x="1526" y="272"/>
                  </a:lnTo>
                  <a:lnTo>
                    <a:pt x="1526" y="306"/>
                  </a:lnTo>
                  <a:lnTo>
                    <a:pt x="1524" y="310"/>
                  </a:lnTo>
                  <a:lnTo>
                    <a:pt x="1522" y="308"/>
                  </a:lnTo>
                  <a:lnTo>
                    <a:pt x="1516" y="304"/>
                  </a:lnTo>
                  <a:lnTo>
                    <a:pt x="1508" y="302"/>
                  </a:lnTo>
                  <a:lnTo>
                    <a:pt x="1494" y="296"/>
                  </a:lnTo>
                  <a:lnTo>
                    <a:pt x="1488" y="296"/>
                  </a:lnTo>
                  <a:lnTo>
                    <a:pt x="1482" y="300"/>
                  </a:lnTo>
                  <a:lnTo>
                    <a:pt x="1472" y="316"/>
                  </a:lnTo>
                  <a:lnTo>
                    <a:pt x="1468" y="320"/>
                  </a:lnTo>
                  <a:lnTo>
                    <a:pt x="1464" y="320"/>
                  </a:lnTo>
                  <a:lnTo>
                    <a:pt x="1462" y="318"/>
                  </a:lnTo>
                  <a:lnTo>
                    <a:pt x="1458" y="314"/>
                  </a:lnTo>
                  <a:lnTo>
                    <a:pt x="1458" y="308"/>
                  </a:lnTo>
                  <a:lnTo>
                    <a:pt x="1456" y="304"/>
                  </a:lnTo>
                  <a:lnTo>
                    <a:pt x="1452" y="298"/>
                  </a:lnTo>
                  <a:lnTo>
                    <a:pt x="1444" y="290"/>
                  </a:lnTo>
                  <a:lnTo>
                    <a:pt x="1438" y="286"/>
                  </a:lnTo>
                  <a:lnTo>
                    <a:pt x="1434" y="284"/>
                  </a:lnTo>
                  <a:lnTo>
                    <a:pt x="1428" y="286"/>
                  </a:lnTo>
                  <a:lnTo>
                    <a:pt x="1426" y="292"/>
                  </a:lnTo>
                  <a:lnTo>
                    <a:pt x="1420" y="306"/>
                  </a:lnTo>
                  <a:lnTo>
                    <a:pt x="1418" y="322"/>
                  </a:lnTo>
                  <a:lnTo>
                    <a:pt x="1418" y="336"/>
                  </a:lnTo>
                  <a:lnTo>
                    <a:pt x="1418" y="352"/>
                  </a:lnTo>
                  <a:lnTo>
                    <a:pt x="1418" y="374"/>
                  </a:lnTo>
                  <a:lnTo>
                    <a:pt x="1416" y="382"/>
                  </a:lnTo>
                  <a:lnTo>
                    <a:pt x="1414" y="388"/>
                  </a:lnTo>
                  <a:lnTo>
                    <a:pt x="1412" y="388"/>
                  </a:lnTo>
                  <a:lnTo>
                    <a:pt x="1408" y="388"/>
                  </a:lnTo>
                  <a:lnTo>
                    <a:pt x="1404" y="384"/>
                  </a:lnTo>
                  <a:lnTo>
                    <a:pt x="1402" y="380"/>
                  </a:lnTo>
                  <a:lnTo>
                    <a:pt x="1400" y="372"/>
                  </a:lnTo>
                  <a:lnTo>
                    <a:pt x="1400" y="364"/>
                  </a:lnTo>
                  <a:lnTo>
                    <a:pt x="1406" y="340"/>
                  </a:lnTo>
                  <a:lnTo>
                    <a:pt x="1408" y="334"/>
                  </a:lnTo>
                  <a:lnTo>
                    <a:pt x="1406" y="326"/>
                  </a:lnTo>
                  <a:lnTo>
                    <a:pt x="1402" y="312"/>
                  </a:lnTo>
                  <a:lnTo>
                    <a:pt x="1398" y="296"/>
                  </a:lnTo>
                  <a:lnTo>
                    <a:pt x="1398" y="292"/>
                  </a:lnTo>
                  <a:lnTo>
                    <a:pt x="1396" y="286"/>
                  </a:lnTo>
                  <a:lnTo>
                    <a:pt x="1392" y="282"/>
                  </a:lnTo>
                  <a:lnTo>
                    <a:pt x="1376" y="278"/>
                  </a:lnTo>
                  <a:lnTo>
                    <a:pt x="1362" y="274"/>
                  </a:lnTo>
                  <a:lnTo>
                    <a:pt x="1348" y="274"/>
                  </a:lnTo>
                  <a:lnTo>
                    <a:pt x="1342" y="276"/>
                  </a:lnTo>
                  <a:lnTo>
                    <a:pt x="1338" y="282"/>
                  </a:lnTo>
                  <a:lnTo>
                    <a:pt x="1322" y="336"/>
                  </a:lnTo>
                  <a:lnTo>
                    <a:pt x="1320" y="342"/>
                  </a:lnTo>
                  <a:lnTo>
                    <a:pt x="1316" y="348"/>
                  </a:lnTo>
                  <a:lnTo>
                    <a:pt x="1308" y="360"/>
                  </a:lnTo>
                  <a:lnTo>
                    <a:pt x="1304" y="366"/>
                  </a:lnTo>
                  <a:lnTo>
                    <a:pt x="1304" y="372"/>
                  </a:lnTo>
                  <a:lnTo>
                    <a:pt x="1304" y="380"/>
                  </a:lnTo>
                  <a:lnTo>
                    <a:pt x="1308" y="384"/>
                  </a:lnTo>
                  <a:lnTo>
                    <a:pt x="1310" y="392"/>
                  </a:lnTo>
                  <a:lnTo>
                    <a:pt x="1310" y="400"/>
                  </a:lnTo>
                  <a:lnTo>
                    <a:pt x="1310" y="414"/>
                  </a:lnTo>
                  <a:lnTo>
                    <a:pt x="1310" y="426"/>
                  </a:lnTo>
                  <a:lnTo>
                    <a:pt x="1312" y="432"/>
                  </a:lnTo>
                  <a:lnTo>
                    <a:pt x="1316" y="436"/>
                  </a:lnTo>
                  <a:lnTo>
                    <a:pt x="1334" y="454"/>
                  </a:lnTo>
                  <a:lnTo>
                    <a:pt x="1338" y="460"/>
                  </a:lnTo>
                  <a:lnTo>
                    <a:pt x="1336" y="468"/>
                  </a:lnTo>
                  <a:lnTo>
                    <a:pt x="1324" y="484"/>
                  </a:lnTo>
                  <a:lnTo>
                    <a:pt x="1322" y="486"/>
                  </a:lnTo>
                  <a:lnTo>
                    <a:pt x="1320" y="486"/>
                  </a:lnTo>
                  <a:lnTo>
                    <a:pt x="1318" y="486"/>
                  </a:lnTo>
                  <a:lnTo>
                    <a:pt x="1314" y="484"/>
                  </a:lnTo>
                  <a:lnTo>
                    <a:pt x="1296" y="466"/>
                  </a:lnTo>
                  <a:lnTo>
                    <a:pt x="1284" y="456"/>
                  </a:lnTo>
                  <a:lnTo>
                    <a:pt x="1258" y="436"/>
                  </a:lnTo>
                  <a:lnTo>
                    <a:pt x="1252" y="432"/>
                  </a:lnTo>
                  <a:lnTo>
                    <a:pt x="1244" y="432"/>
                  </a:lnTo>
                  <a:lnTo>
                    <a:pt x="1230" y="432"/>
                  </a:lnTo>
                  <a:lnTo>
                    <a:pt x="1214" y="432"/>
                  </a:lnTo>
                  <a:lnTo>
                    <a:pt x="1212" y="432"/>
                  </a:lnTo>
                  <a:lnTo>
                    <a:pt x="1208" y="432"/>
                  </a:lnTo>
                  <a:lnTo>
                    <a:pt x="1206" y="434"/>
                  </a:lnTo>
                  <a:lnTo>
                    <a:pt x="1204" y="436"/>
                  </a:lnTo>
                  <a:lnTo>
                    <a:pt x="1204" y="440"/>
                  </a:lnTo>
                  <a:lnTo>
                    <a:pt x="1204" y="452"/>
                  </a:lnTo>
                  <a:lnTo>
                    <a:pt x="1202" y="460"/>
                  </a:lnTo>
                  <a:lnTo>
                    <a:pt x="1198" y="466"/>
                  </a:lnTo>
                  <a:lnTo>
                    <a:pt x="1192" y="468"/>
                  </a:lnTo>
                  <a:lnTo>
                    <a:pt x="1186" y="466"/>
                  </a:lnTo>
                  <a:lnTo>
                    <a:pt x="1180" y="464"/>
                  </a:lnTo>
                  <a:lnTo>
                    <a:pt x="1174" y="462"/>
                  </a:lnTo>
                  <a:lnTo>
                    <a:pt x="1166" y="464"/>
                  </a:lnTo>
                  <a:lnTo>
                    <a:pt x="1162" y="466"/>
                  </a:lnTo>
                  <a:lnTo>
                    <a:pt x="1146" y="474"/>
                  </a:lnTo>
                  <a:lnTo>
                    <a:pt x="1142" y="476"/>
                  </a:lnTo>
                  <a:lnTo>
                    <a:pt x="1134" y="478"/>
                  </a:lnTo>
                  <a:lnTo>
                    <a:pt x="1126" y="480"/>
                  </a:lnTo>
                  <a:lnTo>
                    <a:pt x="1124" y="480"/>
                  </a:lnTo>
                  <a:lnTo>
                    <a:pt x="1116" y="478"/>
                  </a:lnTo>
                  <a:lnTo>
                    <a:pt x="1110" y="476"/>
                  </a:lnTo>
                  <a:lnTo>
                    <a:pt x="1104" y="472"/>
                  </a:lnTo>
                  <a:lnTo>
                    <a:pt x="1098" y="474"/>
                  </a:lnTo>
                  <a:lnTo>
                    <a:pt x="1092" y="476"/>
                  </a:lnTo>
                  <a:lnTo>
                    <a:pt x="1078" y="484"/>
                  </a:lnTo>
                  <a:lnTo>
                    <a:pt x="1062" y="496"/>
                  </a:lnTo>
                  <a:lnTo>
                    <a:pt x="1050" y="504"/>
                  </a:lnTo>
                  <a:lnTo>
                    <a:pt x="1024" y="516"/>
                  </a:lnTo>
                  <a:lnTo>
                    <a:pt x="1012" y="520"/>
                  </a:lnTo>
                  <a:lnTo>
                    <a:pt x="1008" y="522"/>
                  </a:lnTo>
                  <a:lnTo>
                    <a:pt x="1004" y="526"/>
                  </a:lnTo>
                  <a:lnTo>
                    <a:pt x="1000" y="540"/>
                  </a:lnTo>
                  <a:lnTo>
                    <a:pt x="996" y="546"/>
                  </a:lnTo>
                  <a:lnTo>
                    <a:pt x="992" y="548"/>
                  </a:lnTo>
                  <a:lnTo>
                    <a:pt x="988" y="546"/>
                  </a:lnTo>
                  <a:lnTo>
                    <a:pt x="982" y="542"/>
                  </a:lnTo>
                  <a:lnTo>
                    <a:pt x="974" y="534"/>
                  </a:lnTo>
                  <a:lnTo>
                    <a:pt x="972" y="530"/>
                  </a:lnTo>
                  <a:lnTo>
                    <a:pt x="972" y="526"/>
                  </a:lnTo>
                  <a:lnTo>
                    <a:pt x="974" y="524"/>
                  </a:lnTo>
                  <a:lnTo>
                    <a:pt x="982" y="514"/>
                  </a:lnTo>
                  <a:lnTo>
                    <a:pt x="986" y="508"/>
                  </a:lnTo>
                  <a:lnTo>
                    <a:pt x="988" y="502"/>
                  </a:lnTo>
                  <a:lnTo>
                    <a:pt x="988" y="498"/>
                  </a:lnTo>
                  <a:lnTo>
                    <a:pt x="986" y="492"/>
                  </a:lnTo>
                  <a:lnTo>
                    <a:pt x="980" y="486"/>
                  </a:lnTo>
                  <a:lnTo>
                    <a:pt x="976" y="484"/>
                  </a:lnTo>
                  <a:lnTo>
                    <a:pt x="964" y="480"/>
                  </a:lnTo>
                  <a:lnTo>
                    <a:pt x="950" y="480"/>
                  </a:lnTo>
                  <a:lnTo>
                    <a:pt x="946" y="480"/>
                  </a:lnTo>
                  <a:lnTo>
                    <a:pt x="944" y="480"/>
                  </a:lnTo>
                  <a:lnTo>
                    <a:pt x="942" y="482"/>
                  </a:lnTo>
                  <a:lnTo>
                    <a:pt x="942" y="484"/>
                  </a:lnTo>
                  <a:lnTo>
                    <a:pt x="942" y="488"/>
                  </a:lnTo>
                  <a:lnTo>
                    <a:pt x="944" y="492"/>
                  </a:lnTo>
                  <a:lnTo>
                    <a:pt x="948" y="500"/>
                  </a:lnTo>
                  <a:lnTo>
                    <a:pt x="948" y="508"/>
                  </a:lnTo>
                  <a:lnTo>
                    <a:pt x="948" y="520"/>
                  </a:lnTo>
                  <a:lnTo>
                    <a:pt x="950" y="528"/>
                  </a:lnTo>
                  <a:lnTo>
                    <a:pt x="952" y="536"/>
                  </a:lnTo>
                  <a:lnTo>
                    <a:pt x="954" y="542"/>
                  </a:lnTo>
                  <a:lnTo>
                    <a:pt x="956" y="548"/>
                  </a:lnTo>
                  <a:lnTo>
                    <a:pt x="956" y="556"/>
                  </a:lnTo>
                  <a:lnTo>
                    <a:pt x="952" y="570"/>
                  </a:lnTo>
                  <a:lnTo>
                    <a:pt x="948" y="574"/>
                  </a:lnTo>
                  <a:lnTo>
                    <a:pt x="946" y="574"/>
                  </a:lnTo>
                  <a:lnTo>
                    <a:pt x="944" y="572"/>
                  </a:lnTo>
                  <a:lnTo>
                    <a:pt x="938" y="570"/>
                  </a:lnTo>
                  <a:lnTo>
                    <a:pt x="930" y="568"/>
                  </a:lnTo>
                  <a:lnTo>
                    <a:pt x="928" y="568"/>
                  </a:lnTo>
                  <a:lnTo>
                    <a:pt x="920" y="570"/>
                  </a:lnTo>
                  <a:lnTo>
                    <a:pt x="914" y="572"/>
                  </a:lnTo>
                  <a:lnTo>
                    <a:pt x="902" y="582"/>
                  </a:lnTo>
                  <a:lnTo>
                    <a:pt x="896" y="584"/>
                  </a:lnTo>
                  <a:lnTo>
                    <a:pt x="884" y="592"/>
                  </a:lnTo>
                  <a:lnTo>
                    <a:pt x="882" y="598"/>
                  </a:lnTo>
                  <a:lnTo>
                    <a:pt x="884" y="604"/>
                  </a:lnTo>
                  <a:lnTo>
                    <a:pt x="896" y="630"/>
                  </a:lnTo>
                  <a:lnTo>
                    <a:pt x="898" y="634"/>
                  </a:lnTo>
                  <a:lnTo>
                    <a:pt x="894" y="632"/>
                  </a:lnTo>
                  <a:lnTo>
                    <a:pt x="888" y="628"/>
                  </a:lnTo>
                  <a:lnTo>
                    <a:pt x="882" y="626"/>
                  </a:lnTo>
                  <a:lnTo>
                    <a:pt x="868" y="626"/>
                  </a:lnTo>
                  <a:lnTo>
                    <a:pt x="860" y="626"/>
                  </a:lnTo>
                  <a:lnTo>
                    <a:pt x="854" y="624"/>
                  </a:lnTo>
                  <a:lnTo>
                    <a:pt x="848" y="620"/>
                  </a:lnTo>
                  <a:lnTo>
                    <a:pt x="842" y="620"/>
                  </a:lnTo>
                  <a:lnTo>
                    <a:pt x="840" y="622"/>
                  </a:lnTo>
                  <a:lnTo>
                    <a:pt x="842" y="630"/>
                  </a:lnTo>
                  <a:lnTo>
                    <a:pt x="842" y="632"/>
                  </a:lnTo>
                  <a:lnTo>
                    <a:pt x="836" y="630"/>
                  </a:lnTo>
                  <a:lnTo>
                    <a:pt x="818" y="624"/>
                  </a:lnTo>
                  <a:lnTo>
                    <a:pt x="812" y="622"/>
                  </a:lnTo>
                  <a:lnTo>
                    <a:pt x="808" y="616"/>
                  </a:lnTo>
                  <a:lnTo>
                    <a:pt x="804" y="604"/>
                  </a:lnTo>
                  <a:lnTo>
                    <a:pt x="804" y="598"/>
                  </a:lnTo>
                  <a:lnTo>
                    <a:pt x="806" y="592"/>
                  </a:lnTo>
                  <a:lnTo>
                    <a:pt x="810" y="588"/>
                  </a:lnTo>
                  <a:lnTo>
                    <a:pt x="812" y="582"/>
                  </a:lnTo>
                  <a:lnTo>
                    <a:pt x="810" y="578"/>
                  </a:lnTo>
                  <a:lnTo>
                    <a:pt x="804" y="574"/>
                  </a:lnTo>
                  <a:lnTo>
                    <a:pt x="800" y="572"/>
                  </a:lnTo>
                  <a:lnTo>
                    <a:pt x="786" y="562"/>
                  </a:lnTo>
                  <a:lnTo>
                    <a:pt x="778" y="554"/>
                  </a:lnTo>
                  <a:lnTo>
                    <a:pt x="768" y="544"/>
                  </a:lnTo>
                  <a:lnTo>
                    <a:pt x="766" y="540"/>
                  </a:lnTo>
                  <a:lnTo>
                    <a:pt x="768" y="538"/>
                  </a:lnTo>
                  <a:lnTo>
                    <a:pt x="772" y="540"/>
                  </a:lnTo>
                  <a:lnTo>
                    <a:pt x="778" y="544"/>
                  </a:lnTo>
                  <a:lnTo>
                    <a:pt x="784" y="546"/>
                  </a:lnTo>
                  <a:lnTo>
                    <a:pt x="790" y="548"/>
                  </a:lnTo>
                  <a:lnTo>
                    <a:pt x="794" y="548"/>
                  </a:lnTo>
                  <a:lnTo>
                    <a:pt x="800" y="550"/>
                  </a:lnTo>
                  <a:lnTo>
                    <a:pt x="806" y="556"/>
                  </a:lnTo>
                  <a:lnTo>
                    <a:pt x="808" y="560"/>
                  </a:lnTo>
                  <a:lnTo>
                    <a:pt x="812" y="566"/>
                  </a:lnTo>
                  <a:lnTo>
                    <a:pt x="820" y="570"/>
                  </a:lnTo>
                  <a:lnTo>
                    <a:pt x="842" y="576"/>
                  </a:lnTo>
                  <a:lnTo>
                    <a:pt x="850" y="576"/>
                  </a:lnTo>
                  <a:lnTo>
                    <a:pt x="858" y="576"/>
                  </a:lnTo>
                  <a:lnTo>
                    <a:pt x="872" y="570"/>
                  </a:lnTo>
                  <a:lnTo>
                    <a:pt x="888" y="564"/>
                  </a:lnTo>
                  <a:lnTo>
                    <a:pt x="892" y="562"/>
                  </a:lnTo>
                  <a:lnTo>
                    <a:pt x="898" y="558"/>
                  </a:lnTo>
                  <a:lnTo>
                    <a:pt x="902" y="550"/>
                  </a:lnTo>
                  <a:lnTo>
                    <a:pt x="906" y="536"/>
                  </a:lnTo>
                  <a:lnTo>
                    <a:pt x="906" y="530"/>
                  </a:lnTo>
                  <a:lnTo>
                    <a:pt x="904" y="524"/>
                  </a:lnTo>
                  <a:lnTo>
                    <a:pt x="876" y="496"/>
                  </a:lnTo>
                  <a:lnTo>
                    <a:pt x="864" y="486"/>
                  </a:lnTo>
                  <a:lnTo>
                    <a:pt x="848" y="474"/>
                  </a:lnTo>
                  <a:lnTo>
                    <a:pt x="836" y="464"/>
                  </a:lnTo>
                  <a:lnTo>
                    <a:pt x="826" y="456"/>
                  </a:lnTo>
                  <a:lnTo>
                    <a:pt x="820" y="452"/>
                  </a:lnTo>
                  <a:lnTo>
                    <a:pt x="814" y="448"/>
                  </a:lnTo>
                  <a:lnTo>
                    <a:pt x="800" y="444"/>
                  </a:lnTo>
                  <a:lnTo>
                    <a:pt x="788" y="440"/>
                  </a:lnTo>
                  <a:lnTo>
                    <a:pt x="784" y="438"/>
                  </a:lnTo>
                  <a:lnTo>
                    <a:pt x="782" y="432"/>
                  </a:lnTo>
                  <a:lnTo>
                    <a:pt x="782" y="430"/>
                  </a:lnTo>
                  <a:lnTo>
                    <a:pt x="782" y="426"/>
                  </a:lnTo>
                  <a:lnTo>
                    <a:pt x="780" y="424"/>
                  </a:lnTo>
                  <a:lnTo>
                    <a:pt x="778" y="422"/>
                  </a:lnTo>
                  <a:lnTo>
                    <a:pt x="774" y="422"/>
                  </a:lnTo>
                  <a:lnTo>
                    <a:pt x="770" y="422"/>
                  </a:lnTo>
                  <a:lnTo>
                    <a:pt x="754" y="422"/>
                  </a:lnTo>
                  <a:lnTo>
                    <a:pt x="752" y="422"/>
                  </a:lnTo>
                  <a:lnTo>
                    <a:pt x="742" y="422"/>
                  </a:lnTo>
                  <a:lnTo>
                    <a:pt x="738" y="416"/>
                  </a:lnTo>
                  <a:lnTo>
                    <a:pt x="734" y="412"/>
                  </a:lnTo>
                  <a:lnTo>
                    <a:pt x="734" y="406"/>
                  </a:lnTo>
                  <a:lnTo>
                    <a:pt x="736" y="394"/>
                  </a:lnTo>
                  <a:lnTo>
                    <a:pt x="740" y="390"/>
                  </a:lnTo>
                  <a:lnTo>
                    <a:pt x="740" y="384"/>
                  </a:lnTo>
                  <a:lnTo>
                    <a:pt x="738" y="378"/>
                  </a:lnTo>
                  <a:lnTo>
                    <a:pt x="728" y="368"/>
                  </a:lnTo>
                  <a:lnTo>
                    <a:pt x="720" y="358"/>
                  </a:lnTo>
                  <a:lnTo>
                    <a:pt x="716" y="358"/>
                  </a:lnTo>
                  <a:lnTo>
                    <a:pt x="714" y="356"/>
                  </a:lnTo>
                  <a:lnTo>
                    <a:pt x="710" y="358"/>
                  </a:lnTo>
                  <a:lnTo>
                    <a:pt x="708" y="358"/>
                  </a:lnTo>
                  <a:lnTo>
                    <a:pt x="700" y="368"/>
                  </a:lnTo>
                  <a:lnTo>
                    <a:pt x="694" y="370"/>
                  </a:lnTo>
                  <a:lnTo>
                    <a:pt x="686" y="370"/>
                  </a:lnTo>
                  <a:lnTo>
                    <a:pt x="682" y="366"/>
                  </a:lnTo>
                  <a:lnTo>
                    <a:pt x="670" y="362"/>
                  </a:lnTo>
                  <a:lnTo>
                    <a:pt x="656" y="362"/>
                  </a:lnTo>
                  <a:lnTo>
                    <a:pt x="654" y="362"/>
                  </a:lnTo>
                  <a:lnTo>
                    <a:pt x="646" y="364"/>
                  </a:lnTo>
                  <a:lnTo>
                    <a:pt x="640" y="368"/>
                  </a:lnTo>
                  <a:lnTo>
                    <a:pt x="632" y="376"/>
                  </a:lnTo>
                  <a:lnTo>
                    <a:pt x="626" y="380"/>
                  </a:lnTo>
                  <a:lnTo>
                    <a:pt x="620" y="382"/>
                  </a:lnTo>
                  <a:lnTo>
                    <a:pt x="610" y="382"/>
                  </a:lnTo>
                  <a:lnTo>
                    <a:pt x="606" y="384"/>
                  </a:lnTo>
                  <a:lnTo>
                    <a:pt x="600" y="388"/>
                  </a:lnTo>
                  <a:lnTo>
                    <a:pt x="596" y="390"/>
                  </a:lnTo>
                  <a:lnTo>
                    <a:pt x="592" y="392"/>
                  </a:lnTo>
                  <a:lnTo>
                    <a:pt x="586" y="394"/>
                  </a:lnTo>
                  <a:lnTo>
                    <a:pt x="584" y="400"/>
                  </a:lnTo>
                  <a:lnTo>
                    <a:pt x="578" y="414"/>
                  </a:lnTo>
                  <a:lnTo>
                    <a:pt x="574" y="420"/>
                  </a:lnTo>
                  <a:lnTo>
                    <a:pt x="568" y="422"/>
                  </a:lnTo>
                  <a:lnTo>
                    <a:pt x="556" y="422"/>
                  </a:lnTo>
                  <a:lnTo>
                    <a:pt x="548" y="424"/>
                  </a:lnTo>
                  <a:lnTo>
                    <a:pt x="544" y="430"/>
                  </a:lnTo>
                  <a:lnTo>
                    <a:pt x="540" y="444"/>
                  </a:lnTo>
                  <a:lnTo>
                    <a:pt x="538" y="456"/>
                  </a:lnTo>
                  <a:lnTo>
                    <a:pt x="534" y="460"/>
                  </a:lnTo>
                  <a:lnTo>
                    <a:pt x="530" y="460"/>
                  </a:lnTo>
                  <a:lnTo>
                    <a:pt x="526" y="460"/>
                  </a:lnTo>
                  <a:lnTo>
                    <a:pt x="518" y="462"/>
                  </a:lnTo>
                  <a:lnTo>
                    <a:pt x="514" y="468"/>
                  </a:lnTo>
                  <a:lnTo>
                    <a:pt x="502" y="484"/>
                  </a:lnTo>
                  <a:lnTo>
                    <a:pt x="500" y="490"/>
                  </a:lnTo>
                  <a:lnTo>
                    <a:pt x="498" y="498"/>
                  </a:lnTo>
                  <a:lnTo>
                    <a:pt x="498" y="502"/>
                  </a:lnTo>
                  <a:lnTo>
                    <a:pt x="496" y="510"/>
                  </a:lnTo>
                  <a:lnTo>
                    <a:pt x="494" y="516"/>
                  </a:lnTo>
                  <a:lnTo>
                    <a:pt x="482" y="532"/>
                  </a:lnTo>
                  <a:lnTo>
                    <a:pt x="474" y="546"/>
                  </a:lnTo>
                  <a:lnTo>
                    <a:pt x="472" y="552"/>
                  </a:lnTo>
                  <a:lnTo>
                    <a:pt x="466" y="566"/>
                  </a:lnTo>
                  <a:lnTo>
                    <a:pt x="462" y="570"/>
                  </a:lnTo>
                  <a:lnTo>
                    <a:pt x="456" y="586"/>
                  </a:lnTo>
                  <a:lnTo>
                    <a:pt x="452" y="590"/>
                  </a:lnTo>
                  <a:lnTo>
                    <a:pt x="444" y="604"/>
                  </a:lnTo>
                  <a:lnTo>
                    <a:pt x="424" y="640"/>
                  </a:lnTo>
                  <a:lnTo>
                    <a:pt x="414" y="652"/>
                  </a:lnTo>
                  <a:lnTo>
                    <a:pt x="406" y="660"/>
                  </a:lnTo>
                  <a:lnTo>
                    <a:pt x="392" y="670"/>
                  </a:lnTo>
                  <a:lnTo>
                    <a:pt x="388" y="672"/>
                  </a:lnTo>
                  <a:lnTo>
                    <a:pt x="382" y="676"/>
                  </a:lnTo>
                  <a:lnTo>
                    <a:pt x="376" y="682"/>
                  </a:lnTo>
                  <a:lnTo>
                    <a:pt x="374" y="688"/>
                  </a:lnTo>
                  <a:lnTo>
                    <a:pt x="366" y="700"/>
                  </a:lnTo>
                  <a:lnTo>
                    <a:pt x="356" y="710"/>
                  </a:lnTo>
                  <a:lnTo>
                    <a:pt x="352" y="714"/>
                  </a:lnTo>
                  <a:lnTo>
                    <a:pt x="350" y="720"/>
                  </a:lnTo>
                  <a:lnTo>
                    <a:pt x="346" y="732"/>
                  </a:lnTo>
                  <a:lnTo>
                    <a:pt x="344" y="736"/>
                  </a:lnTo>
                  <a:lnTo>
                    <a:pt x="342" y="744"/>
                  </a:lnTo>
                  <a:lnTo>
                    <a:pt x="340" y="752"/>
                  </a:lnTo>
                  <a:lnTo>
                    <a:pt x="340" y="756"/>
                  </a:lnTo>
                  <a:lnTo>
                    <a:pt x="342" y="764"/>
                  </a:lnTo>
                  <a:lnTo>
                    <a:pt x="344" y="770"/>
                  </a:lnTo>
                  <a:lnTo>
                    <a:pt x="346" y="776"/>
                  </a:lnTo>
                  <a:lnTo>
                    <a:pt x="348" y="784"/>
                  </a:lnTo>
                  <a:lnTo>
                    <a:pt x="350" y="792"/>
                  </a:lnTo>
                  <a:lnTo>
                    <a:pt x="350" y="794"/>
                  </a:lnTo>
                  <a:lnTo>
                    <a:pt x="350" y="810"/>
                  </a:lnTo>
                  <a:lnTo>
                    <a:pt x="350" y="814"/>
                  </a:lnTo>
                  <a:lnTo>
                    <a:pt x="352" y="820"/>
                  </a:lnTo>
                  <a:lnTo>
                    <a:pt x="356" y="826"/>
                  </a:lnTo>
                  <a:lnTo>
                    <a:pt x="364" y="828"/>
                  </a:lnTo>
                  <a:lnTo>
                    <a:pt x="370" y="830"/>
                  </a:lnTo>
                  <a:lnTo>
                    <a:pt x="378" y="832"/>
                  </a:lnTo>
                  <a:lnTo>
                    <a:pt x="382" y="832"/>
                  </a:lnTo>
                  <a:lnTo>
                    <a:pt x="390" y="830"/>
                  </a:lnTo>
                  <a:lnTo>
                    <a:pt x="396" y="828"/>
                  </a:lnTo>
                  <a:lnTo>
                    <a:pt x="412" y="816"/>
                  </a:lnTo>
                  <a:lnTo>
                    <a:pt x="424" y="808"/>
                  </a:lnTo>
                  <a:lnTo>
                    <a:pt x="430" y="804"/>
                  </a:lnTo>
                  <a:lnTo>
                    <a:pt x="434" y="802"/>
                  </a:lnTo>
                  <a:lnTo>
                    <a:pt x="438" y="800"/>
                  </a:lnTo>
                  <a:lnTo>
                    <a:pt x="442" y="796"/>
                  </a:lnTo>
                  <a:lnTo>
                    <a:pt x="446" y="790"/>
                  </a:lnTo>
                  <a:lnTo>
                    <a:pt x="454" y="778"/>
                  </a:lnTo>
                  <a:lnTo>
                    <a:pt x="458" y="774"/>
                  </a:lnTo>
                  <a:lnTo>
                    <a:pt x="454" y="778"/>
                  </a:lnTo>
                  <a:lnTo>
                    <a:pt x="446" y="790"/>
                  </a:lnTo>
                  <a:lnTo>
                    <a:pt x="442" y="796"/>
                  </a:lnTo>
                  <a:lnTo>
                    <a:pt x="440" y="808"/>
                  </a:lnTo>
                  <a:lnTo>
                    <a:pt x="442" y="820"/>
                  </a:lnTo>
                  <a:lnTo>
                    <a:pt x="446" y="826"/>
                  </a:lnTo>
                  <a:lnTo>
                    <a:pt x="448" y="832"/>
                  </a:lnTo>
                  <a:lnTo>
                    <a:pt x="448" y="840"/>
                  </a:lnTo>
                  <a:lnTo>
                    <a:pt x="448" y="844"/>
                  </a:lnTo>
                  <a:lnTo>
                    <a:pt x="452" y="860"/>
                  </a:lnTo>
                  <a:lnTo>
                    <a:pt x="456" y="874"/>
                  </a:lnTo>
                  <a:lnTo>
                    <a:pt x="458" y="886"/>
                  </a:lnTo>
                  <a:lnTo>
                    <a:pt x="460" y="892"/>
                  </a:lnTo>
                  <a:lnTo>
                    <a:pt x="464" y="896"/>
                  </a:lnTo>
                  <a:lnTo>
                    <a:pt x="466" y="902"/>
                  </a:lnTo>
                  <a:lnTo>
                    <a:pt x="468" y="906"/>
                  </a:lnTo>
                  <a:lnTo>
                    <a:pt x="470" y="910"/>
                  </a:lnTo>
                  <a:lnTo>
                    <a:pt x="476" y="910"/>
                  </a:lnTo>
                  <a:lnTo>
                    <a:pt x="480" y="910"/>
                  </a:lnTo>
                  <a:lnTo>
                    <a:pt x="486" y="910"/>
                  </a:lnTo>
                  <a:lnTo>
                    <a:pt x="488" y="906"/>
                  </a:lnTo>
                  <a:lnTo>
                    <a:pt x="490" y="902"/>
                  </a:lnTo>
                  <a:lnTo>
                    <a:pt x="492" y="896"/>
                  </a:lnTo>
                  <a:lnTo>
                    <a:pt x="498" y="892"/>
                  </a:lnTo>
                  <a:lnTo>
                    <a:pt x="506" y="892"/>
                  </a:lnTo>
                  <a:lnTo>
                    <a:pt x="510" y="892"/>
                  </a:lnTo>
                  <a:lnTo>
                    <a:pt x="516" y="890"/>
                  </a:lnTo>
                  <a:lnTo>
                    <a:pt x="520" y="884"/>
                  </a:lnTo>
                  <a:lnTo>
                    <a:pt x="524" y="878"/>
                  </a:lnTo>
                  <a:lnTo>
                    <a:pt x="526" y="872"/>
                  </a:lnTo>
                  <a:lnTo>
                    <a:pt x="528" y="864"/>
                  </a:lnTo>
                  <a:lnTo>
                    <a:pt x="528" y="840"/>
                  </a:lnTo>
                  <a:lnTo>
                    <a:pt x="528" y="824"/>
                  </a:lnTo>
                  <a:lnTo>
                    <a:pt x="528" y="822"/>
                  </a:lnTo>
                  <a:lnTo>
                    <a:pt x="528" y="816"/>
                  </a:lnTo>
                  <a:lnTo>
                    <a:pt x="532" y="814"/>
                  </a:lnTo>
                  <a:lnTo>
                    <a:pt x="544" y="810"/>
                  </a:lnTo>
                  <a:lnTo>
                    <a:pt x="550" y="806"/>
                  </a:lnTo>
                  <a:lnTo>
                    <a:pt x="554" y="802"/>
                  </a:lnTo>
                  <a:lnTo>
                    <a:pt x="556" y="796"/>
                  </a:lnTo>
                  <a:lnTo>
                    <a:pt x="556" y="792"/>
                  </a:lnTo>
                  <a:lnTo>
                    <a:pt x="556" y="784"/>
                  </a:lnTo>
                  <a:lnTo>
                    <a:pt x="554" y="776"/>
                  </a:lnTo>
                  <a:lnTo>
                    <a:pt x="550" y="772"/>
                  </a:lnTo>
                  <a:lnTo>
                    <a:pt x="542" y="760"/>
                  </a:lnTo>
                  <a:lnTo>
                    <a:pt x="538" y="754"/>
                  </a:lnTo>
                  <a:lnTo>
                    <a:pt x="536" y="746"/>
                  </a:lnTo>
                  <a:lnTo>
                    <a:pt x="536" y="732"/>
                  </a:lnTo>
                  <a:lnTo>
                    <a:pt x="536" y="716"/>
                  </a:lnTo>
                  <a:lnTo>
                    <a:pt x="536" y="704"/>
                  </a:lnTo>
                  <a:lnTo>
                    <a:pt x="538" y="696"/>
                  </a:lnTo>
                  <a:lnTo>
                    <a:pt x="542" y="690"/>
                  </a:lnTo>
                  <a:lnTo>
                    <a:pt x="550" y="682"/>
                  </a:lnTo>
                  <a:lnTo>
                    <a:pt x="562" y="672"/>
                  </a:lnTo>
                  <a:lnTo>
                    <a:pt x="572" y="662"/>
                  </a:lnTo>
                  <a:lnTo>
                    <a:pt x="590" y="652"/>
                  </a:lnTo>
                  <a:lnTo>
                    <a:pt x="594" y="646"/>
                  </a:lnTo>
                  <a:lnTo>
                    <a:pt x="600" y="640"/>
                  </a:lnTo>
                  <a:lnTo>
                    <a:pt x="602" y="634"/>
                  </a:lnTo>
                  <a:lnTo>
                    <a:pt x="604" y="628"/>
                  </a:lnTo>
                  <a:lnTo>
                    <a:pt x="600" y="622"/>
                  </a:lnTo>
                  <a:lnTo>
                    <a:pt x="598" y="616"/>
                  </a:lnTo>
                  <a:lnTo>
                    <a:pt x="600" y="610"/>
                  </a:lnTo>
                  <a:lnTo>
                    <a:pt x="602" y="604"/>
                  </a:lnTo>
                  <a:lnTo>
                    <a:pt x="612" y="592"/>
                  </a:lnTo>
                  <a:lnTo>
                    <a:pt x="620" y="584"/>
                  </a:lnTo>
                  <a:lnTo>
                    <a:pt x="624" y="580"/>
                  </a:lnTo>
                  <a:lnTo>
                    <a:pt x="630" y="576"/>
                  </a:lnTo>
                  <a:lnTo>
                    <a:pt x="634" y="578"/>
                  </a:lnTo>
                  <a:lnTo>
                    <a:pt x="640" y="582"/>
                  </a:lnTo>
                  <a:lnTo>
                    <a:pt x="648" y="594"/>
                  </a:lnTo>
                  <a:lnTo>
                    <a:pt x="652" y="600"/>
                  </a:lnTo>
                  <a:lnTo>
                    <a:pt x="652" y="608"/>
                  </a:lnTo>
                  <a:lnTo>
                    <a:pt x="652" y="614"/>
                  </a:lnTo>
                  <a:lnTo>
                    <a:pt x="638" y="640"/>
                  </a:lnTo>
                  <a:lnTo>
                    <a:pt x="634" y="646"/>
                  </a:lnTo>
                  <a:lnTo>
                    <a:pt x="628" y="650"/>
                  </a:lnTo>
                  <a:lnTo>
                    <a:pt x="612" y="662"/>
                  </a:lnTo>
                  <a:lnTo>
                    <a:pt x="606" y="666"/>
                  </a:lnTo>
                  <a:lnTo>
                    <a:pt x="604" y="674"/>
                  </a:lnTo>
                  <a:lnTo>
                    <a:pt x="598" y="688"/>
                  </a:lnTo>
                  <a:lnTo>
                    <a:pt x="596" y="704"/>
                  </a:lnTo>
                  <a:lnTo>
                    <a:pt x="596" y="726"/>
                  </a:lnTo>
                  <a:lnTo>
                    <a:pt x="596" y="734"/>
                  </a:lnTo>
                  <a:lnTo>
                    <a:pt x="600" y="742"/>
                  </a:lnTo>
                  <a:lnTo>
                    <a:pt x="602" y="748"/>
                  </a:lnTo>
                  <a:lnTo>
                    <a:pt x="610" y="760"/>
                  </a:lnTo>
                  <a:lnTo>
                    <a:pt x="620" y="770"/>
                  </a:lnTo>
                  <a:lnTo>
                    <a:pt x="626" y="772"/>
                  </a:lnTo>
                  <a:lnTo>
                    <a:pt x="634" y="774"/>
                  </a:lnTo>
                  <a:lnTo>
                    <a:pt x="636" y="774"/>
                  </a:lnTo>
                  <a:lnTo>
                    <a:pt x="652" y="772"/>
                  </a:lnTo>
                  <a:lnTo>
                    <a:pt x="676" y="766"/>
                  </a:lnTo>
                  <a:lnTo>
                    <a:pt x="690" y="764"/>
                  </a:lnTo>
                  <a:lnTo>
                    <a:pt x="694" y="764"/>
                  </a:lnTo>
                  <a:lnTo>
                    <a:pt x="700" y="764"/>
                  </a:lnTo>
                  <a:lnTo>
                    <a:pt x="704" y="766"/>
                  </a:lnTo>
                  <a:lnTo>
                    <a:pt x="708" y="768"/>
                  </a:lnTo>
                  <a:lnTo>
                    <a:pt x="712" y="774"/>
                  </a:lnTo>
                  <a:lnTo>
                    <a:pt x="714" y="782"/>
                  </a:lnTo>
                  <a:lnTo>
                    <a:pt x="714" y="786"/>
                  </a:lnTo>
                  <a:lnTo>
                    <a:pt x="712" y="790"/>
                  </a:lnTo>
                  <a:lnTo>
                    <a:pt x="708" y="794"/>
                  </a:lnTo>
                  <a:lnTo>
                    <a:pt x="704" y="794"/>
                  </a:lnTo>
                  <a:lnTo>
                    <a:pt x="700" y="792"/>
                  </a:lnTo>
                  <a:lnTo>
                    <a:pt x="686" y="792"/>
                  </a:lnTo>
                  <a:lnTo>
                    <a:pt x="672" y="792"/>
                  </a:lnTo>
                  <a:lnTo>
                    <a:pt x="658" y="796"/>
                  </a:lnTo>
                  <a:lnTo>
                    <a:pt x="642" y="800"/>
                  </a:lnTo>
                  <a:lnTo>
                    <a:pt x="638" y="804"/>
                  </a:lnTo>
                  <a:lnTo>
                    <a:pt x="634" y="808"/>
                  </a:lnTo>
                  <a:lnTo>
                    <a:pt x="634" y="818"/>
                  </a:lnTo>
                  <a:lnTo>
                    <a:pt x="636" y="822"/>
                  </a:lnTo>
                  <a:lnTo>
                    <a:pt x="640" y="828"/>
                  </a:lnTo>
                  <a:lnTo>
                    <a:pt x="644" y="832"/>
                  </a:lnTo>
                  <a:lnTo>
                    <a:pt x="644" y="838"/>
                  </a:lnTo>
                  <a:lnTo>
                    <a:pt x="644" y="842"/>
                  </a:lnTo>
                  <a:lnTo>
                    <a:pt x="642" y="850"/>
                  </a:lnTo>
                  <a:lnTo>
                    <a:pt x="638" y="854"/>
                  </a:lnTo>
                  <a:lnTo>
                    <a:pt x="636" y="856"/>
                  </a:lnTo>
                  <a:lnTo>
                    <a:pt x="634" y="858"/>
                  </a:lnTo>
                  <a:lnTo>
                    <a:pt x="632" y="858"/>
                  </a:lnTo>
                  <a:lnTo>
                    <a:pt x="628" y="858"/>
                  </a:lnTo>
                  <a:lnTo>
                    <a:pt x="622" y="856"/>
                  </a:lnTo>
                  <a:lnTo>
                    <a:pt x="610" y="852"/>
                  </a:lnTo>
                  <a:lnTo>
                    <a:pt x="606" y="854"/>
                  </a:lnTo>
                  <a:lnTo>
                    <a:pt x="602" y="858"/>
                  </a:lnTo>
                  <a:lnTo>
                    <a:pt x="600" y="864"/>
                  </a:lnTo>
                  <a:lnTo>
                    <a:pt x="598" y="872"/>
                  </a:lnTo>
                  <a:lnTo>
                    <a:pt x="596" y="880"/>
                  </a:lnTo>
                  <a:lnTo>
                    <a:pt x="596" y="882"/>
                  </a:lnTo>
                  <a:lnTo>
                    <a:pt x="596" y="890"/>
                  </a:lnTo>
                  <a:lnTo>
                    <a:pt x="596" y="898"/>
                  </a:lnTo>
                  <a:lnTo>
                    <a:pt x="596" y="902"/>
                  </a:lnTo>
                  <a:lnTo>
                    <a:pt x="596" y="910"/>
                  </a:lnTo>
                  <a:lnTo>
                    <a:pt x="592" y="910"/>
                  </a:lnTo>
                  <a:lnTo>
                    <a:pt x="586" y="912"/>
                  </a:lnTo>
                  <a:lnTo>
                    <a:pt x="582" y="916"/>
                  </a:lnTo>
                  <a:lnTo>
                    <a:pt x="578" y="920"/>
                  </a:lnTo>
                  <a:lnTo>
                    <a:pt x="576" y="926"/>
                  </a:lnTo>
                  <a:lnTo>
                    <a:pt x="574" y="928"/>
                  </a:lnTo>
                  <a:lnTo>
                    <a:pt x="568" y="930"/>
                  </a:lnTo>
                  <a:lnTo>
                    <a:pt x="564" y="930"/>
                  </a:lnTo>
                  <a:lnTo>
                    <a:pt x="552" y="930"/>
                  </a:lnTo>
                  <a:lnTo>
                    <a:pt x="540" y="932"/>
                  </a:lnTo>
                  <a:lnTo>
                    <a:pt x="516" y="938"/>
                  </a:lnTo>
                  <a:lnTo>
                    <a:pt x="500" y="944"/>
                  </a:lnTo>
                  <a:lnTo>
                    <a:pt x="496" y="946"/>
                  </a:lnTo>
                  <a:lnTo>
                    <a:pt x="488" y="950"/>
                  </a:lnTo>
                  <a:lnTo>
                    <a:pt x="482" y="946"/>
                  </a:lnTo>
                  <a:lnTo>
                    <a:pt x="476" y="944"/>
                  </a:lnTo>
                  <a:lnTo>
                    <a:pt x="468" y="942"/>
                  </a:lnTo>
                  <a:lnTo>
                    <a:pt x="462" y="944"/>
                  </a:lnTo>
                  <a:lnTo>
                    <a:pt x="456" y="946"/>
                  </a:lnTo>
                  <a:lnTo>
                    <a:pt x="450" y="946"/>
                  </a:lnTo>
                  <a:lnTo>
                    <a:pt x="444" y="944"/>
                  </a:lnTo>
                  <a:lnTo>
                    <a:pt x="440" y="940"/>
                  </a:lnTo>
                  <a:lnTo>
                    <a:pt x="440" y="934"/>
                  </a:lnTo>
                  <a:lnTo>
                    <a:pt x="436" y="932"/>
                  </a:lnTo>
                  <a:lnTo>
                    <a:pt x="432" y="930"/>
                  </a:lnTo>
                  <a:lnTo>
                    <a:pt x="428" y="930"/>
                  </a:lnTo>
                  <a:lnTo>
                    <a:pt x="424" y="930"/>
                  </a:lnTo>
                  <a:lnTo>
                    <a:pt x="422" y="928"/>
                  </a:lnTo>
                  <a:lnTo>
                    <a:pt x="420" y="924"/>
                  </a:lnTo>
                  <a:lnTo>
                    <a:pt x="420" y="922"/>
                  </a:lnTo>
                  <a:lnTo>
                    <a:pt x="420" y="918"/>
                  </a:lnTo>
                  <a:lnTo>
                    <a:pt x="420" y="902"/>
                  </a:lnTo>
                  <a:lnTo>
                    <a:pt x="420" y="898"/>
                  </a:lnTo>
                  <a:lnTo>
                    <a:pt x="422" y="894"/>
                  </a:lnTo>
                  <a:lnTo>
                    <a:pt x="424" y="890"/>
                  </a:lnTo>
                  <a:lnTo>
                    <a:pt x="430" y="890"/>
                  </a:lnTo>
                  <a:lnTo>
                    <a:pt x="434" y="886"/>
                  </a:lnTo>
                  <a:lnTo>
                    <a:pt x="436" y="882"/>
                  </a:lnTo>
                  <a:lnTo>
                    <a:pt x="434" y="882"/>
                  </a:lnTo>
                  <a:lnTo>
                    <a:pt x="430" y="880"/>
                  </a:lnTo>
                  <a:lnTo>
                    <a:pt x="430" y="876"/>
                  </a:lnTo>
                  <a:lnTo>
                    <a:pt x="430" y="864"/>
                  </a:lnTo>
                  <a:lnTo>
                    <a:pt x="430" y="860"/>
                  </a:lnTo>
                  <a:lnTo>
                    <a:pt x="428" y="858"/>
                  </a:lnTo>
                  <a:lnTo>
                    <a:pt x="428" y="856"/>
                  </a:lnTo>
                  <a:lnTo>
                    <a:pt x="426" y="854"/>
                  </a:lnTo>
                  <a:lnTo>
                    <a:pt x="422" y="856"/>
                  </a:lnTo>
                  <a:lnTo>
                    <a:pt x="418" y="858"/>
                  </a:lnTo>
                  <a:lnTo>
                    <a:pt x="406" y="862"/>
                  </a:lnTo>
                  <a:lnTo>
                    <a:pt x="400" y="864"/>
                  </a:lnTo>
                  <a:lnTo>
                    <a:pt x="398" y="868"/>
                  </a:lnTo>
                  <a:lnTo>
                    <a:pt x="394" y="874"/>
                  </a:lnTo>
                  <a:lnTo>
                    <a:pt x="392" y="882"/>
                  </a:lnTo>
                  <a:lnTo>
                    <a:pt x="392" y="890"/>
                  </a:lnTo>
                  <a:lnTo>
                    <a:pt x="392" y="892"/>
                  </a:lnTo>
                  <a:lnTo>
                    <a:pt x="392" y="900"/>
                  </a:lnTo>
                  <a:lnTo>
                    <a:pt x="396" y="906"/>
                  </a:lnTo>
                  <a:lnTo>
                    <a:pt x="404" y="918"/>
                  </a:lnTo>
                  <a:lnTo>
                    <a:pt x="406" y="922"/>
                  </a:lnTo>
                  <a:lnTo>
                    <a:pt x="410" y="930"/>
                  </a:lnTo>
                  <a:lnTo>
                    <a:pt x="406" y="936"/>
                  </a:lnTo>
                  <a:lnTo>
                    <a:pt x="404" y="942"/>
                  </a:lnTo>
                  <a:lnTo>
                    <a:pt x="400" y="954"/>
                  </a:lnTo>
                  <a:lnTo>
                    <a:pt x="398" y="958"/>
                  </a:lnTo>
                  <a:lnTo>
                    <a:pt x="396" y="958"/>
                  </a:lnTo>
                  <a:lnTo>
                    <a:pt x="386" y="958"/>
                  </a:lnTo>
                  <a:lnTo>
                    <a:pt x="380" y="960"/>
                  </a:lnTo>
                  <a:lnTo>
                    <a:pt x="376" y="960"/>
                  </a:lnTo>
                  <a:lnTo>
                    <a:pt x="364" y="964"/>
                  </a:lnTo>
                  <a:lnTo>
                    <a:pt x="358" y="966"/>
                  </a:lnTo>
                  <a:lnTo>
                    <a:pt x="352" y="970"/>
                  </a:lnTo>
                  <a:lnTo>
                    <a:pt x="346" y="976"/>
                  </a:lnTo>
                  <a:lnTo>
                    <a:pt x="336" y="992"/>
                  </a:lnTo>
                  <a:lnTo>
                    <a:pt x="326" y="1004"/>
                  </a:lnTo>
                  <a:lnTo>
                    <a:pt x="320" y="1008"/>
                  </a:lnTo>
                  <a:lnTo>
                    <a:pt x="316" y="1012"/>
                  </a:lnTo>
                  <a:lnTo>
                    <a:pt x="312" y="1018"/>
                  </a:lnTo>
                  <a:lnTo>
                    <a:pt x="306" y="1024"/>
                  </a:lnTo>
                  <a:lnTo>
                    <a:pt x="298" y="1034"/>
                  </a:lnTo>
                  <a:lnTo>
                    <a:pt x="296" y="1040"/>
                  </a:lnTo>
                  <a:lnTo>
                    <a:pt x="292" y="1046"/>
                  </a:lnTo>
                  <a:lnTo>
                    <a:pt x="288" y="1048"/>
                  </a:lnTo>
                  <a:lnTo>
                    <a:pt x="282" y="1050"/>
                  </a:lnTo>
                  <a:lnTo>
                    <a:pt x="278" y="1054"/>
                  </a:lnTo>
                  <a:lnTo>
                    <a:pt x="276" y="1060"/>
                  </a:lnTo>
                  <a:lnTo>
                    <a:pt x="272" y="1064"/>
                  </a:lnTo>
                  <a:lnTo>
                    <a:pt x="264" y="1066"/>
                  </a:lnTo>
                  <a:lnTo>
                    <a:pt x="260" y="1066"/>
                  </a:lnTo>
                  <a:lnTo>
                    <a:pt x="256" y="1066"/>
                  </a:lnTo>
                  <a:lnTo>
                    <a:pt x="252" y="1062"/>
                  </a:lnTo>
                  <a:lnTo>
                    <a:pt x="252" y="1058"/>
                  </a:lnTo>
                  <a:lnTo>
                    <a:pt x="248" y="1058"/>
                  </a:lnTo>
                  <a:lnTo>
                    <a:pt x="244" y="1058"/>
                  </a:lnTo>
                  <a:lnTo>
                    <a:pt x="242" y="1062"/>
                  </a:lnTo>
                  <a:lnTo>
                    <a:pt x="242" y="1072"/>
                  </a:lnTo>
                  <a:lnTo>
                    <a:pt x="242" y="1076"/>
                  </a:lnTo>
                  <a:lnTo>
                    <a:pt x="238" y="1076"/>
                  </a:lnTo>
                  <a:lnTo>
                    <a:pt x="228" y="1076"/>
                  </a:lnTo>
                  <a:lnTo>
                    <a:pt x="218" y="1076"/>
                  </a:lnTo>
                  <a:lnTo>
                    <a:pt x="206" y="1080"/>
                  </a:lnTo>
                  <a:lnTo>
                    <a:pt x="202" y="1082"/>
                  </a:lnTo>
                  <a:lnTo>
                    <a:pt x="196" y="1086"/>
                  </a:lnTo>
                  <a:lnTo>
                    <a:pt x="194" y="1092"/>
                  </a:lnTo>
                  <a:lnTo>
                    <a:pt x="196" y="1096"/>
                  </a:lnTo>
                  <a:lnTo>
                    <a:pt x="202" y="1100"/>
                  </a:lnTo>
                  <a:lnTo>
                    <a:pt x="206" y="1102"/>
                  </a:lnTo>
                  <a:lnTo>
                    <a:pt x="214" y="1106"/>
                  </a:lnTo>
                  <a:lnTo>
                    <a:pt x="222" y="1106"/>
                  </a:lnTo>
                  <a:lnTo>
                    <a:pt x="226" y="1106"/>
                  </a:lnTo>
                  <a:lnTo>
                    <a:pt x="230" y="1108"/>
                  </a:lnTo>
                  <a:lnTo>
                    <a:pt x="234" y="1110"/>
                  </a:lnTo>
                  <a:lnTo>
                    <a:pt x="234" y="1116"/>
                  </a:lnTo>
                  <a:lnTo>
                    <a:pt x="238" y="1120"/>
                  </a:lnTo>
                  <a:lnTo>
                    <a:pt x="242" y="1126"/>
                  </a:lnTo>
                  <a:lnTo>
                    <a:pt x="242" y="1134"/>
                  </a:lnTo>
                  <a:lnTo>
                    <a:pt x="242" y="1138"/>
                  </a:lnTo>
                  <a:lnTo>
                    <a:pt x="244" y="1142"/>
                  </a:lnTo>
                  <a:lnTo>
                    <a:pt x="248" y="1146"/>
                  </a:lnTo>
                  <a:lnTo>
                    <a:pt x="252" y="1148"/>
                  </a:lnTo>
                  <a:lnTo>
                    <a:pt x="252" y="1154"/>
                  </a:lnTo>
                  <a:lnTo>
                    <a:pt x="252" y="1156"/>
                  </a:lnTo>
                  <a:lnTo>
                    <a:pt x="250" y="1172"/>
                  </a:lnTo>
                  <a:lnTo>
                    <a:pt x="244" y="1196"/>
                  </a:lnTo>
                  <a:lnTo>
                    <a:pt x="242" y="1204"/>
                  </a:lnTo>
                  <a:lnTo>
                    <a:pt x="234" y="1202"/>
                  </a:lnTo>
                  <a:lnTo>
                    <a:pt x="192" y="1194"/>
                  </a:lnTo>
                  <a:lnTo>
                    <a:pt x="176" y="1194"/>
                  </a:lnTo>
                  <a:lnTo>
                    <a:pt x="162" y="1194"/>
                  </a:lnTo>
                  <a:lnTo>
                    <a:pt x="150" y="1194"/>
                  </a:lnTo>
                  <a:lnTo>
                    <a:pt x="140" y="1194"/>
                  </a:lnTo>
                  <a:lnTo>
                    <a:pt x="134" y="1196"/>
                  </a:lnTo>
                  <a:lnTo>
                    <a:pt x="130" y="1198"/>
                  </a:lnTo>
                  <a:lnTo>
                    <a:pt x="128" y="1204"/>
                  </a:lnTo>
                  <a:lnTo>
                    <a:pt x="128" y="1212"/>
                  </a:lnTo>
                  <a:lnTo>
                    <a:pt x="132" y="1226"/>
                  </a:lnTo>
                  <a:lnTo>
                    <a:pt x="134" y="1234"/>
                  </a:lnTo>
                  <a:lnTo>
                    <a:pt x="130" y="1234"/>
                  </a:lnTo>
                  <a:lnTo>
                    <a:pt x="128" y="1234"/>
                  </a:lnTo>
                  <a:lnTo>
                    <a:pt x="128" y="1236"/>
                  </a:lnTo>
                  <a:lnTo>
                    <a:pt x="128" y="1240"/>
                  </a:lnTo>
                  <a:lnTo>
                    <a:pt x="132" y="1246"/>
                  </a:lnTo>
                  <a:lnTo>
                    <a:pt x="134" y="1254"/>
                  </a:lnTo>
                  <a:lnTo>
                    <a:pt x="134" y="1262"/>
                  </a:lnTo>
                  <a:lnTo>
                    <a:pt x="134" y="1264"/>
                  </a:lnTo>
                  <a:lnTo>
                    <a:pt x="134" y="1272"/>
                  </a:lnTo>
                  <a:lnTo>
                    <a:pt x="132" y="1280"/>
                  </a:lnTo>
                  <a:lnTo>
                    <a:pt x="128" y="1286"/>
                  </a:lnTo>
                  <a:lnTo>
                    <a:pt x="128" y="1292"/>
                  </a:lnTo>
                  <a:lnTo>
                    <a:pt x="130" y="1298"/>
                  </a:lnTo>
                  <a:lnTo>
                    <a:pt x="134" y="1304"/>
                  </a:lnTo>
                  <a:lnTo>
                    <a:pt x="134" y="1310"/>
                  </a:lnTo>
                  <a:lnTo>
                    <a:pt x="134" y="1314"/>
                  </a:lnTo>
                  <a:lnTo>
                    <a:pt x="136" y="1316"/>
                  </a:lnTo>
                  <a:lnTo>
                    <a:pt x="138" y="1320"/>
                  </a:lnTo>
                  <a:lnTo>
                    <a:pt x="140" y="1322"/>
                  </a:lnTo>
                  <a:lnTo>
                    <a:pt x="142" y="1322"/>
                  </a:lnTo>
                  <a:lnTo>
                    <a:pt x="146" y="1322"/>
                  </a:lnTo>
                  <a:lnTo>
                    <a:pt x="154" y="1322"/>
                  </a:lnTo>
                  <a:lnTo>
                    <a:pt x="160" y="1322"/>
                  </a:lnTo>
                  <a:lnTo>
                    <a:pt x="164" y="1322"/>
                  </a:lnTo>
                  <a:lnTo>
                    <a:pt x="170" y="1326"/>
                  </a:lnTo>
                  <a:lnTo>
                    <a:pt x="178" y="1334"/>
                  </a:lnTo>
                  <a:lnTo>
                    <a:pt x="184" y="1338"/>
                  </a:lnTo>
                  <a:lnTo>
                    <a:pt x="192" y="1338"/>
                  </a:lnTo>
                  <a:lnTo>
                    <a:pt x="206" y="1334"/>
                  </a:lnTo>
                  <a:lnTo>
                    <a:pt x="220" y="1328"/>
                  </a:lnTo>
                  <a:lnTo>
                    <a:pt x="234" y="1324"/>
                  </a:lnTo>
                  <a:lnTo>
                    <a:pt x="242" y="1320"/>
                  </a:lnTo>
                  <a:lnTo>
                    <a:pt x="246" y="1314"/>
                  </a:lnTo>
                  <a:lnTo>
                    <a:pt x="248" y="1308"/>
                  </a:lnTo>
                  <a:lnTo>
                    <a:pt x="258" y="1296"/>
                  </a:lnTo>
                  <a:lnTo>
                    <a:pt x="266" y="1288"/>
                  </a:lnTo>
                  <a:lnTo>
                    <a:pt x="270" y="1282"/>
                  </a:lnTo>
                  <a:lnTo>
                    <a:pt x="272" y="1276"/>
                  </a:lnTo>
                  <a:lnTo>
                    <a:pt x="274" y="1264"/>
                  </a:lnTo>
                  <a:lnTo>
                    <a:pt x="280" y="1250"/>
                  </a:lnTo>
                  <a:lnTo>
                    <a:pt x="282" y="1244"/>
                  </a:lnTo>
                  <a:lnTo>
                    <a:pt x="288" y="1238"/>
                  </a:lnTo>
                  <a:lnTo>
                    <a:pt x="304" y="1228"/>
                  </a:lnTo>
                  <a:lnTo>
                    <a:pt x="310" y="1224"/>
                  </a:lnTo>
                  <a:lnTo>
                    <a:pt x="316" y="1216"/>
                  </a:lnTo>
                  <a:lnTo>
                    <a:pt x="318" y="1212"/>
                  </a:lnTo>
                  <a:lnTo>
                    <a:pt x="322" y="1206"/>
                  </a:lnTo>
                  <a:lnTo>
                    <a:pt x="326" y="1204"/>
                  </a:lnTo>
                  <a:lnTo>
                    <a:pt x="340" y="1204"/>
                  </a:lnTo>
                  <a:lnTo>
                    <a:pt x="342" y="1204"/>
                  </a:lnTo>
                  <a:lnTo>
                    <a:pt x="350" y="1202"/>
                  </a:lnTo>
                  <a:lnTo>
                    <a:pt x="358" y="1200"/>
                  </a:lnTo>
                  <a:lnTo>
                    <a:pt x="374" y="1188"/>
                  </a:lnTo>
                  <a:lnTo>
                    <a:pt x="380" y="1186"/>
                  </a:lnTo>
                  <a:lnTo>
                    <a:pt x="386" y="1184"/>
                  </a:lnTo>
                  <a:lnTo>
                    <a:pt x="390" y="1182"/>
                  </a:lnTo>
                  <a:lnTo>
                    <a:pt x="396" y="1180"/>
                  </a:lnTo>
                  <a:lnTo>
                    <a:pt x="402" y="1178"/>
                  </a:lnTo>
                  <a:lnTo>
                    <a:pt x="408" y="1178"/>
                  </a:lnTo>
                  <a:lnTo>
                    <a:pt x="412" y="1180"/>
                  </a:lnTo>
                  <a:lnTo>
                    <a:pt x="420" y="1186"/>
                  </a:lnTo>
                  <a:lnTo>
                    <a:pt x="424" y="1192"/>
                  </a:lnTo>
                  <a:lnTo>
                    <a:pt x="436" y="1208"/>
                  </a:lnTo>
                  <a:lnTo>
                    <a:pt x="444" y="1220"/>
                  </a:lnTo>
                  <a:lnTo>
                    <a:pt x="446" y="1226"/>
                  </a:lnTo>
                  <a:lnTo>
                    <a:pt x="450" y="1232"/>
                  </a:lnTo>
                  <a:lnTo>
                    <a:pt x="456" y="1236"/>
                  </a:lnTo>
                  <a:lnTo>
                    <a:pt x="482" y="1250"/>
                  </a:lnTo>
                  <a:lnTo>
                    <a:pt x="488" y="1254"/>
                  </a:lnTo>
                  <a:lnTo>
                    <a:pt x="492" y="1260"/>
                  </a:lnTo>
                  <a:lnTo>
                    <a:pt x="502" y="1274"/>
                  </a:lnTo>
                  <a:lnTo>
                    <a:pt x="506" y="1282"/>
                  </a:lnTo>
                  <a:lnTo>
                    <a:pt x="506" y="1290"/>
                  </a:lnTo>
                  <a:lnTo>
                    <a:pt x="506" y="1304"/>
                  </a:lnTo>
                  <a:lnTo>
                    <a:pt x="506" y="1312"/>
                  </a:lnTo>
                  <a:lnTo>
                    <a:pt x="508" y="1316"/>
                  </a:lnTo>
                  <a:lnTo>
                    <a:pt x="510" y="1316"/>
                  </a:lnTo>
                  <a:lnTo>
                    <a:pt x="512" y="1316"/>
                  </a:lnTo>
                  <a:lnTo>
                    <a:pt x="514" y="1312"/>
                  </a:lnTo>
                  <a:lnTo>
                    <a:pt x="518" y="1302"/>
                  </a:lnTo>
                  <a:lnTo>
                    <a:pt x="522" y="1294"/>
                  </a:lnTo>
                  <a:lnTo>
                    <a:pt x="524" y="1288"/>
                  </a:lnTo>
                  <a:lnTo>
                    <a:pt x="526" y="1282"/>
                  </a:lnTo>
                  <a:lnTo>
                    <a:pt x="528" y="1274"/>
                  </a:lnTo>
                  <a:lnTo>
                    <a:pt x="528" y="1270"/>
                  </a:lnTo>
                  <a:lnTo>
                    <a:pt x="528" y="1268"/>
                  </a:lnTo>
                  <a:lnTo>
                    <a:pt x="530" y="1266"/>
                  </a:lnTo>
                  <a:lnTo>
                    <a:pt x="532" y="1266"/>
                  </a:lnTo>
                  <a:lnTo>
                    <a:pt x="534" y="1266"/>
                  </a:lnTo>
                  <a:lnTo>
                    <a:pt x="540" y="1268"/>
                  </a:lnTo>
                  <a:lnTo>
                    <a:pt x="552" y="1272"/>
                  </a:lnTo>
                  <a:lnTo>
                    <a:pt x="554" y="1272"/>
                  </a:lnTo>
                  <a:lnTo>
                    <a:pt x="554" y="1270"/>
                  </a:lnTo>
                  <a:lnTo>
                    <a:pt x="552" y="1266"/>
                  </a:lnTo>
                  <a:lnTo>
                    <a:pt x="534" y="1248"/>
                  </a:lnTo>
                  <a:lnTo>
                    <a:pt x="520" y="1240"/>
                  </a:lnTo>
                  <a:lnTo>
                    <a:pt x="516" y="1236"/>
                  </a:lnTo>
                  <a:lnTo>
                    <a:pt x="504" y="1228"/>
                  </a:lnTo>
                  <a:lnTo>
                    <a:pt x="494" y="1216"/>
                  </a:lnTo>
                  <a:lnTo>
                    <a:pt x="484" y="1200"/>
                  </a:lnTo>
                  <a:lnTo>
                    <a:pt x="476" y="1188"/>
                  </a:lnTo>
                  <a:lnTo>
                    <a:pt x="472" y="1182"/>
                  </a:lnTo>
                  <a:lnTo>
                    <a:pt x="470" y="1174"/>
                  </a:lnTo>
                  <a:lnTo>
                    <a:pt x="468" y="1166"/>
                  </a:lnTo>
                  <a:lnTo>
                    <a:pt x="468" y="1164"/>
                  </a:lnTo>
                  <a:lnTo>
                    <a:pt x="470" y="1158"/>
                  </a:lnTo>
                  <a:lnTo>
                    <a:pt x="474" y="1156"/>
                  </a:lnTo>
                  <a:lnTo>
                    <a:pt x="478" y="1154"/>
                  </a:lnTo>
                  <a:lnTo>
                    <a:pt x="482" y="1156"/>
                  </a:lnTo>
                  <a:lnTo>
                    <a:pt x="488" y="1156"/>
                  </a:lnTo>
                  <a:lnTo>
                    <a:pt x="496" y="1162"/>
                  </a:lnTo>
                  <a:lnTo>
                    <a:pt x="502" y="1168"/>
                  </a:lnTo>
                  <a:lnTo>
                    <a:pt x="508" y="1176"/>
                  </a:lnTo>
                  <a:lnTo>
                    <a:pt x="510" y="1182"/>
                  </a:lnTo>
                  <a:lnTo>
                    <a:pt x="516" y="1196"/>
                  </a:lnTo>
                  <a:lnTo>
                    <a:pt x="520" y="1204"/>
                  </a:lnTo>
                  <a:lnTo>
                    <a:pt x="524" y="1208"/>
                  </a:lnTo>
                  <a:lnTo>
                    <a:pt x="540" y="1220"/>
                  </a:lnTo>
                  <a:lnTo>
                    <a:pt x="548" y="1224"/>
                  </a:lnTo>
                  <a:lnTo>
                    <a:pt x="552" y="1230"/>
                  </a:lnTo>
                  <a:lnTo>
                    <a:pt x="560" y="1238"/>
                  </a:lnTo>
                  <a:lnTo>
                    <a:pt x="564" y="1244"/>
                  </a:lnTo>
                  <a:lnTo>
                    <a:pt x="566" y="1248"/>
                  </a:lnTo>
                  <a:lnTo>
                    <a:pt x="570" y="1260"/>
                  </a:lnTo>
                  <a:lnTo>
                    <a:pt x="572" y="1266"/>
                  </a:lnTo>
                  <a:lnTo>
                    <a:pt x="576" y="1272"/>
                  </a:lnTo>
                  <a:lnTo>
                    <a:pt x="580" y="1280"/>
                  </a:lnTo>
                  <a:lnTo>
                    <a:pt x="584" y="1286"/>
                  </a:lnTo>
                  <a:lnTo>
                    <a:pt x="588" y="1290"/>
                  </a:lnTo>
                  <a:lnTo>
                    <a:pt x="594" y="1292"/>
                  </a:lnTo>
                  <a:lnTo>
                    <a:pt x="598" y="1292"/>
                  </a:lnTo>
                  <a:lnTo>
                    <a:pt x="602" y="1294"/>
                  </a:lnTo>
                  <a:lnTo>
                    <a:pt x="602" y="1296"/>
                  </a:lnTo>
                  <a:lnTo>
                    <a:pt x="602" y="1298"/>
                  </a:lnTo>
                  <a:lnTo>
                    <a:pt x="598" y="1304"/>
                  </a:lnTo>
                  <a:lnTo>
                    <a:pt x="596" y="1310"/>
                  </a:lnTo>
                  <a:lnTo>
                    <a:pt x="596" y="1314"/>
                  </a:lnTo>
                  <a:lnTo>
                    <a:pt x="598" y="1320"/>
                  </a:lnTo>
                  <a:lnTo>
                    <a:pt x="604" y="1326"/>
                  </a:lnTo>
                  <a:lnTo>
                    <a:pt x="608" y="1328"/>
                  </a:lnTo>
                  <a:lnTo>
                    <a:pt x="616" y="1330"/>
                  </a:lnTo>
                  <a:lnTo>
                    <a:pt x="620" y="1326"/>
                  </a:lnTo>
                  <a:lnTo>
                    <a:pt x="624" y="1322"/>
                  </a:lnTo>
                  <a:lnTo>
                    <a:pt x="626" y="1316"/>
                  </a:lnTo>
                  <a:lnTo>
                    <a:pt x="628" y="1312"/>
                  </a:lnTo>
                  <a:lnTo>
                    <a:pt x="632" y="1308"/>
                  </a:lnTo>
                  <a:lnTo>
                    <a:pt x="638" y="1306"/>
                  </a:lnTo>
                  <a:lnTo>
                    <a:pt x="640" y="1304"/>
                  </a:lnTo>
                  <a:lnTo>
                    <a:pt x="642" y="1302"/>
                  </a:lnTo>
                  <a:lnTo>
                    <a:pt x="640" y="1300"/>
                  </a:lnTo>
                  <a:lnTo>
                    <a:pt x="640" y="1296"/>
                  </a:lnTo>
                  <a:lnTo>
                    <a:pt x="632" y="1288"/>
                  </a:lnTo>
                  <a:lnTo>
                    <a:pt x="628" y="1282"/>
                  </a:lnTo>
                  <a:lnTo>
                    <a:pt x="626" y="1278"/>
                  </a:lnTo>
                  <a:lnTo>
                    <a:pt x="624" y="1272"/>
                  </a:lnTo>
                  <a:lnTo>
                    <a:pt x="620" y="1268"/>
                  </a:lnTo>
                  <a:lnTo>
                    <a:pt x="620" y="1266"/>
                  </a:lnTo>
                  <a:lnTo>
                    <a:pt x="620" y="1264"/>
                  </a:lnTo>
                  <a:lnTo>
                    <a:pt x="624" y="1260"/>
                  </a:lnTo>
                  <a:lnTo>
                    <a:pt x="638" y="1256"/>
                  </a:lnTo>
                  <a:lnTo>
                    <a:pt x="652" y="1254"/>
                  </a:lnTo>
                  <a:lnTo>
                    <a:pt x="656" y="1254"/>
                  </a:lnTo>
                  <a:lnTo>
                    <a:pt x="664" y="1254"/>
                  </a:lnTo>
                  <a:lnTo>
                    <a:pt x="668" y="1260"/>
                  </a:lnTo>
                  <a:lnTo>
                    <a:pt x="670" y="1266"/>
                  </a:lnTo>
                  <a:lnTo>
                    <a:pt x="674" y="1272"/>
                  </a:lnTo>
                  <a:lnTo>
                    <a:pt x="678" y="1280"/>
                  </a:lnTo>
                  <a:lnTo>
                    <a:pt x="680" y="1284"/>
                  </a:lnTo>
                  <a:lnTo>
                    <a:pt x="688" y="1300"/>
                  </a:lnTo>
                  <a:lnTo>
                    <a:pt x="690" y="1304"/>
                  </a:lnTo>
                  <a:lnTo>
                    <a:pt x="698" y="1318"/>
                  </a:lnTo>
                  <a:lnTo>
                    <a:pt x="700" y="1324"/>
                  </a:lnTo>
                  <a:lnTo>
                    <a:pt x="704" y="1328"/>
                  </a:lnTo>
                  <a:lnTo>
                    <a:pt x="712" y="1330"/>
                  </a:lnTo>
                  <a:lnTo>
                    <a:pt x="734" y="1330"/>
                  </a:lnTo>
                  <a:lnTo>
                    <a:pt x="748" y="1330"/>
                  </a:lnTo>
                  <a:lnTo>
                    <a:pt x="760" y="1334"/>
                  </a:lnTo>
                  <a:lnTo>
                    <a:pt x="774" y="1338"/>
                  </a:lnTo>
                  <a:lnTo>
                    <a:pt x="782" y="1338"/>
                  </a:lnTo>
                  <a:lnTo>
                    <a:pt x="788" y="1338"/>
                  </a:lnTo>
                  <a:lnTo>
                    <a:pt x="794" y="1334"/>
                  </a:lnTo>
                  <a:lnTo>
                    <a:pt x="802" y="1332"/>
                  </a:lnTo>
                  <a:lnTo>
                    <a:pt x="808" y="1334"/>
                  </a:lnTo>
                  <a:lnTo>
                    <a:pt x="814" y="1338"/>
                  </a:lnTo>
                  <a:lnTo>
                    <a:pt x="820" y="1340"/>
                  </a:lnTo>
                  <a:lnTo>
                    <a:pt x="824" y="1348"/>
                  </a:lnTo>
                  <a:lnTo>
                    <a:pt x="826" y="1354"/>
                  </a:lnTo>
                  <a:lnTo>
                    <a:pt x="828" y="1360"/>
                  </a:lnTo>
                  <a:lnTo>
                    <a:pt x="828" y="1368"/>
                  </a:lnTo>
                  <a:lnTo>
                    <a:pt x="814" y="1402"/>
                  </a:lnTo>
                  <a:lnTo>
                    <a:pt x="810" y="1408"/>
                  </a:lnTo>
                  <a:lnTo>
                    <a:pt x="806" y="1410"/>
                  </a:lnTo>
                  <a:lnTo>
                    <a:pt x="802" y="1412"/>
                  </a:lnTo>
                  <a:lnTo>
                    <a:pt x="798" y="1416"/>
                  </a:lnTo>
                  <a:lnTo>
                    <a:pt x="796" y="1422"/>
                  </a:lnTo>
                  <a:lnTo>
                    <a:pt x="792" y="1428"/>
                  </a:lnTo>
                  <a:lnTo>
                    <a:pt x="786" y="1434"/>
                  </a:lnTo>
                  <a:lnTo>
                    <a:pt x="780" y="1438"/>
                  </a:lnTo>
                  <a:lnTo>
                    <a:pt x="774" y="1438"/>
                  </a:lnTo>
                  <a:lnTo>
                    <a:pt x="760" y="1438"/>
                  </a:lnTo>
                  <a:lnTo>
                    <a:pt x="754" y="1438"/>
                  </a:lnTo>
                  <a:lnTo>
                    <a:pt x="748" y="1434"/>
                  </a:lnTo>
                  <a:lnTo>
                    <a:pt x="742" y="1430"/>
                  </a:lnTo>
                  <a:lnTo>
                    <a:pt x="734" y="1430"/>
                  </a:lnTo>
                  <a:lnTo>
                    <a:pt x="712" y="1436"/>
                  </a:lnTo>
                  <a:lnTo>
                    <a:pt x="704" y="1438"/>
                  </a:lnTo>
                  <a:lnTo>
                    <a:pt x="696" y="1436"/>
                  </a:lnTo>
                  <a:lnTo>
                    <a:pt x="682" y="1432"/>
                  </a:lnTo>
                  <a:lnTo>
                    <a:pt x="666" y="1428"/>
                  </a:lnTo>
                  <a:lnTo>
                    <a:pt x="662" y="1428"/>
                  </a:lnTo>
                  <a:lnTo>
                    <a:pt x="656" y="1428"/>
                  </a:lnTo>
                  <a:lnTo>
                    <a:pt x="650" y="1424"/>
                  </a:lnTo>
                  <a:lnTo>
                    <a:pt x="638" y="1416"/>
                  </a:lnTo>
                  <a:lnTo>
                    <a:pt x="632" y="1412"/>
                  </a:lnTo>
                  <a:lnTo>
                    <a:pt x="626" y="1410"/>
                  </a:lnTo>
                  <a:lnTo>
                    <a:pt x="618" y="1410"/>
                  </a:lnTo>
                  <a:lnTo>
                    <a:pt x="614" y="1410"/>
                  </a:lnTo>
                  <a:lnTo>
                    <a:pt x="598" y="1412"/>
                  </a:lnTo>
                  <a:lnTo>
                    <a:pt x="584" y="1416"/>
                  </a:lnTo>
                  <a:lnTo>
                    <a:pt x="578" y="1420"/>
                  </a:lnTo>
                  <a:lnTo>
                    <a:pt x="576" y="1428"/>
                  </a:lnTo>
                  <a:lnTo>
                    <a:pt x="576" y="1430"/>
                  </a:lnTo>
                  <a:lnTo>
                    <a:pt x="574" y="1438"/>
                  </a:lnTo>
                  <a:lnTo>
                    <a:pt x="570" y="1442"/>
                  </a:lnTo>
                  <a:lnTo>
                    <a:pt x="554" y="1446"/>
                  </a:lnTo>
                  <a:lnTo>
                    <a:pt x="548" y="1446"/>
                  </a:lnTo>
                  <a:lnTo>
                    <a:pt x="542" y="1442"/>
                  </a:lnTo>
                  <a:lnTo>
                    <a:pt x="534" y="1434"/>
                  </a:lnTo>
                  <a:lnTo>
                    <a:pt x="522" y="1424"/>
                  </a:lnTo>
                  <a:lnTo>
                    <a:pt x="512" y="1414"/>
                  </a:lnTo>
                  <a:lnTo>
                    <a:pt x="508" y="1410"/>
                  </a:lnTo>
                  <a:lnTo>
                    <a:pt x="500" y="1410"/>
                  </a:lnTo>
                  <a:lnTo>
                    <a:pt x="476" y="1410"/>
                  </a:lnTo>
                  <a:lnTo>
                    <a:pt x="470" y="1408"/>
                  </a:lnTo>
                  <a:lnTo>
                    <a:pt x="462" y="1406"/>
                  </a:lnTo>
                  <a:lnTo>
                    <a:pt x="456" y="1404"/>
                  </a:lnTo>
                  <a:lnTo>
                    <a:pt x="442" y="1396"/>
                  </a:lnTo>
                  <a:lnTo>
                    <a:pt x="436" y="1394"/>
                  </a:lnTo>
                  <a:lnTo>
                    <a:pt x="424" y="1386"/>
                  </a:lnTo>
                  <a:lnTo>
                    <a:pt x="422" y="1380"/>
                  </a:lnTo>
                  <a:lnTo>
                    <a:pt x="424" y="1374"/>
                  </a:lnTo>
                  <a:lnTo>
                    <a:pt x="434" y="1358"/>
                  </a:lnTo>
                  <a:lnTo>
                    <a:pt x="436" y="1350"/>
                  </a:lnTo>
                  <a:lnTo>
                    <a:pt x="436" y="1344"/>
                  </a:lnTo>
                  <a:lnTo>
                    <a:pt x="434" y="1338"/>
                  </a:lnTo>
                  <a:lnTo>
                    <a:pt x="428" y="1332"/>
                  </a:lnTo>
                  <a:lnTo>
                    <a:pt x="422" y="1328"/>
                  </a:lnTo>
                  <a:lnTo>
                    <a:pt x="418" y="1326"/>
                  </a:lnTo>
                  <a:lnTo>
                    <a:pt x="406" y="1322"/>
                  </a:lnTo>
                  <a:lnTo>
                    <a:pt x="402" y="1322"/>
                  </a:lnTo>
                  <a:lnTo>
                    <a:pt x="400" y="1324"/>
                  </a:lnTo>
                  <a:lnTo>
                    <a:pt x="400" y="1328"/>
                  </a:lnTo>
                  <a:lnTo>
                    <a:pt x="400" y="1324"/>
                  </a:lnTo>
                  <a:lnTo>
                    <a:pt x="398" y="1324"/>
                  </a:lnTo>
                  <a:lnTo>
                    <a:pt x="396" y="1326"/>
                  </a:lnTo>
                  <a:lnTo>
                    <a:pt x="390" y="1330"/>
                  </a:lnTo>
                  <a:lnTo>
                    <a:pt x="382" y="1332"/>
                  </a:lnTo>
                  <a:lnTo>
                    <a:pt x="378" y="1332"/>
                  </a:lnTo>
                  <a:lnTo>
                    <a:pt x="362" y="1332"/>
                  </a:lnTo>
                  <a:lnTo>
                    <a:pt x="320" y="1332"/>
                  </a:lnTo>
                  <a:lnTo>
                    <a:pt x="312" y="1332"/>
                  </a:lnTo>
                  <a:lnTo>
                    <a:pt x="304" y="1334"/>
                  </a:lnTo>
                  <a:lnTo>
                    <a:pt x="270" y="1348"/>
                  </a:lnTo>
                  <a:lnTo>
                    <a:pt x="254" y="1354"/>
                  </a:lnTo>
                  <a:lnTo>
                    <a:pt x="250" y="1358"/>
                  </a:lnTo>
                  <a:lnTo>
                    <a:pt x="244" y="1360"/>
                  </a:lnTo>
                  <a:lnTo>
                    <a:pt x="242" y="1362"/>
                  </a:lnTo>
                  <a:lnTo>
                    <a:pt x="242" y="1364"/>
                  </a:lnTo>
                  <a:lnTo>
                    <a:pt x="242" y="1362"/>
                  </a:lnTo>
                  <a:lnTo>
                    <a:pt x="240" y="1362"/>
                  </a:lnTo>
                  <a:lnTo>
                    <a:pt x="238" y="1360"/>
                  </a:lnTo>
                  <a:lnTo>
                    <a:pt x="224" y="1360"/>
                  </a:lnTo>
                  <a:lnTo>
                    <a:pt x="220" y="1360"/>
                  </a:lnTo>
                  <a:lnTo>
                    <a:pt x="208" y="1360"/>
                  </a:lnTo>
                  <a:lnTo>
                    <a:pt x="196" y="1356"/>
                  </a:lnTo>
                  <a:lnTo>
                    <a:pt x="190" y="1354"/>
                  </a:lnTo>
                  <a:lnTo>
                    <a:pt x="188" y="1354"/>
                  </a:lnTo>
                  <a:lnTo>
                    <a:pt x="184" y="1354"/>
                  </a:lnTo>
                  <a:lnTo>
                    <a:pt x="182" y="1356"/>
                  </a:lnTo>
                  <a:lnTo>
                    <a:pt x="180" y="1358"/>
                  </a:lnTo>
                  <a:lnTo>
                    <a:pt x="168" y="1374"/>
                  </a:lnTo>
                  <a:lnTo>
                    <a:pt x="158" y="1386"/>
                  </a:lnTo>
                  <a:lnTo>
                    <a:pt x="150" y="1394"/>
                  </a:lnTo>
                  <a:lnTo>
                    <a:pt x="140" y="1406"/>
                  </a:lnTo>
                  <a:lnTo>
                    <a:pt x="130" y="1422"/>
                  </a:lnTo>
                  <a:lnTo>
                    <a:pt x="122" y="1436"/>
                  </a:lnTo>
                  <a:lnTo>
                    <a:pt x="116" y="1460"/>
                  </a:lnTo>
                  <a:lnTo>
                    <a:pt x="114" y="1466"/>
                  </a:lnTo>
                  <a:lnTo>
                    <a:pt x="108" y="1472"/>
                  </a:lnTo>
                  <a:lnTo>
                    <a:pt x="82" y="1484"/>
                  </a:lnTo>
                  <a:lnTo>
                    <a:pt x="70" y="1492"/>
                  </a:lnTo>
                  <a:lnTo>
                    <a:pt x="66" y="1498"/>
                  </a:lnTo>
                  <a:lnTo>
                    <a:pt x="62" y="1502"/>
                  </a:lnTo>
                  <a:lnTo>
                    <a:pt x="52" y="1514"/>
                  </a:lnTo>
                  <a:lnTo>
                    <a:pt x="32" y="1550"/>
                  </a:lnTo>
                  <a:lnTo>
                    <a:pt x="24" y="1564"/>
                  </a:lnTo>
                  <a:lnTo>
                    <a:pt x="12" y="1598"/>
                  </a:lnTo>
                  <a:lnTo>
                    <a:pt x="8" y="1606"/>
                  </a:lnTo>
                  <a:lnTo>
                    <a:pt x="10" y="1614"/>
                  </a:lnTo>
                  <a:lnTo>
                    <a:pt x="16" y="1626"/>
                  </a:lnTo>
                  <a:lnTo>
                    <a:pt x="18" y="1642"/>
                  </a:lnTo>
                  <a:lnTo>
                    <a:pt x="18" y="1666"/>
                  </a:lnTo>
                  <a:lnTo>
                    <a:pt x="16" y="1672"/>
                  </a:lnTo>
                  <a:lnTo>
                    <a:pt x="12" y="1678"/>
                  </a:lnTo>
                  <a:lnTo>
                    <a:pt x="8" y="1684"/>
                  </a:lnTo>
                  <a:lnTo>
                    <a:pt x="6" y="1692"/>
                  </a:lnTo>
                  <a:lnTo>
                    <a:pt x="0" y="1706"/>
                  </a:lnTo>
                  <a:lnTo>
                    <a:pt x="0" y="1712"/>
                  </a:lnTo>
                  <a:lnTo>
                    <a:pt x="0" y="1720"/>
                  </a:lnTo>
                  <a:lnTo>
                    <a:pt x="6" y="1744"/>
                  </a:lnTo>
                  <a:lnTo>
                    <a:pt x="8" y="1750"/>
                  </a:lnTo>
                  <a:lnTo>
                    <a:pt x="12" y="1752"/>
                  </a:lnTo>
                  <a:lnTo>
                    <a:pt x="18" y="1752"/>
                  </a:lnTo>
                  <a:lnTo>
                    <a:pt x="20" y="1752"/>
                  </a:lnTo>
                  <a:lnTo>
                    <a:pt x="18" y="1752"/>
                  </a:lnTo>
                  <a:lnTo>
                    <a:pt x="20" y="1760"/>
                  </a:lnTo>
                  <a:lnTo>
                    <a:pt x="24" y="1764"/>
                  </a:lnTo>
                  <a:lnTo>
                    <a:pt x="26" y="1768"/>
                  </a:lnTo>
                  <a:lnTo>
                    <a:pt x="30" y="1770"/>
                  </a:lnTo>
                  <a:lnTo>
                    <a:pt x="32" y="1768"/>
                  </a:lnTo>
                  <a:lnTo>
                    <a:pt x="30" y="1770"/>
                  </a:lnTo>
                  <a:lnTo>
                    <a:pt x="30" y="1772"/>
                  </a:lnTo>
                  <a:lnTo>
                    <a:pt x="32" y="1772"/>
                  </a:lnTo>
                  <a:lnTo>
                    <a:pt x="36" y="1774"/>
                  </a:lnTo>
                  <a:lnTo>
                    <a:pt x="40" y="1778"/>
                  </a:lnTo>
                  <a:lnTo>
                    <a:pt x="52" y="1804"/>
                  </a:lnTo>
                  <a:lnTo>
                    <a:pt x="56" y="1810"/>
                  </a:lnTo>
                  <a:lnTo>
                    <a:pt x="60" y="1816"/>
                  </a:lnTo>
                  <a:lnTo>
                    <a:pt x="72" y="1824"/>
                  </a:lnTo>
                  <a:lnTo>
                    <a:pt x="84" y="1832"/>
                  </a:lnTo>
                  <a:lnTo>
                    <a:pt x="94" y="1838"/>
                  </a:lnTo>
                  <a:lnTo>
                    <a:pt x="102" y="1844"/>
                  </a:lnTo>
                  <a:lnTo>
                    <a:pt x="128" y="1864"/>
                  </a:lnTo>
                  <a:lnTo>
                    <a:pt x="136" y="1868"/>
                  </a:lnTo>
                  <a:lnTo>
                    <a:pt x="142" y="1870"/>
                  </a:lnTo>
                  <a:lnTo>
                    <a:pt x="146" y="1870"/>
                  </a:lnTo>
                  <a:lnTo>
                    <a:pt x="152" y="1868"/>
                  </a:lnTo>
                  <a:lnTo>
                    <a:pt x="154" y="1868"/>
                  </a:lnTo>
                  <a:lnTo>
                    <a:pt x="154" y="1866"/>
                  </a:lnTo>
                  <a:lnTo>
                    <a:pt x="154" y="1868"/>
                  </a:lnTo>
                  <a:lnTo>
                    <a:pt x="158" y="1868"/>
                  </a:lnTo>
                  <a:lnTo>
                    <a:pt x="162" y="1870"/>
                  </a:lnTo>
                  <a:lnTo>
                    <a:pt x="166" y="1870"/>
                  </a:lnTo>
                  <a:lnTo>
                    <a:pt x="182" y="1868"/>
                  </a:lnTo>
                  <a:lnTo>
                    <a:pt x="206" y="1862"/>
                  </a:lnTo>
                  <a:lnTo>
                    <a:pt x="218" y="1860"/>
                  </a:lnTo>
                  <a:lnTo>
                    <a:pt x="224" y="1860"/>
                  </a:lnTo>
                  <a:lnTo>
                    <a:pt x="232" y="1860"/>
                  </a:lnTo>
                  <a:lnTo>
                    <a:pt x="244" y="1860"/>
                  </a:lnTo>
                  <a:lnTo>
                    <a:pt x="260" y="1856"/>
                  </a:lnTo>
                  <a:lnTo>
                    <a:pt x="274" y="1852"/>
                  </a:lnTo>
                  <a:lnTo>
                    <a:pt x="282" y="1850"/>
                  </a:lnTo>
                  <a:lnTo>
                    <a:pt x="288" y="1844"/>
                  </a:lnTo>
                  <a:lnTo>
                    <a:pt x="294" y="1842"/>
                  </a:lnTo>
                  <a:lnTo>
                    <a:pt x="300" y="1838"/>
                  </a:lnTo>
                  <a:lnTo>
                    <a:pt x="306" y="1838"/>
                  </a:lnTo>
                  <a:lnTo>
                    <a:pt x="312" y="1840"/>
                  </a:lnTo>
                  <a:lnTo>
                    <a:pt x="320" y="1840"/>
                  </a:lnTo>
                  <a:lnTo>
                    <a:pt x="322" y="1840"/>
                  </a:lnTo>
                  <a:lnTo>
                    <a:pt x="330" y="1842"/>
                  </a:lnTo>
                  <a:lnTo>
                    <a:pt x="334" y="1846"/>
                  </a:lnTo>
                  <a:lnTo>
                    <a:pt x="346" y="1862"/>
                  </a:lnTo>
                  <a:lnTo>
                    <a:pt x="352" y="1868"/>
                  </a:lnTo>
                  <a:lnTo>
                    <a:pt x="358" y="1870"/>
                  </a:lnTo>
                  <a:lnTo>
                    <a:pt x="362" y="1870"/>
                  </a:lnTo>
                  <a:lnTo>
                    <a:pt x="370" y="1870"/>
                  </a:lnTo>
                  <a:lnTo>
                    <a:pt x="378" y="1874"/>
                  </a:lnTo>
                  <a:lnTo>
                    <a:pt x="384" y="1876"/>
                  </a:lnTo>
                  <a:lnTo>
                    <a:pt x="388" y="1878"/>
                  </a:lnTo>
                  <a:lnTo>
                    <a:pt x="392" y="1878"/>
                  </a:lnTo>
                  <a:lnTo>
                    <a:pt x="392" y="1876"/>
                  </a:lnTo>
                  <a:lnTo>
                    <a:pt x="392" y="1878"/>
                  </a:lnTo>
                  <a:lnTo>
                    <a:pt x="394" y="1878"/>
                  </a:lnTo>
                  <a:lnTo>
                    <a:pt x="398" y="1878"/>
                  </a:lnTo>
                  <a:lnTo>
                    <a:pt x="404" y="1880"/>
                  </a:lnTo>
                  <a:lnTo>
                    <a:pt x="408" y="1884"/>
                  </a:lnTo>
                  <a:lnTo>
                    <a:pt x="410" y="1890"/>
                  </a:lnTo>
                  <a:lnTo>
                    <a:pt x="410" y="1896"/>
                  </a:lnTo>
                  <a:lnTo>
                    <a:pt x="410" y="1900"/>
                  </a:lnTo>
                  <a:lnTo>
                    <a:pt x="410" y="1908"/>
                  </a:lnTo>
                  <a:lnTo>
                    <a:pt x="410" y="1916"/>
                  </a:lnTo>
                  <a:lnTo>
                    <a:pt x="410" y="1920"/>
                  </a:lnTo>
                  <a:lnTo>
                    <a:pt x="410" y="1936"/>
                  </a:lnTo>
                  <a:lnTo>
                    <a:pt x="410" y="1950"/>
                  </a:lnTo>
                  <a:lnTo>
                    <a:pt x="412" y="1956"/>
                  </a:lnTo>
                  <a:lnTo>
                    <a:pt x="414" y="1964"/>
                  </a:lnTo>
                  <a:lnTo>
                    <a:pt x="434" y="1990"/>
                  </a:lnTo>
                  <a:lnTo>
                    <a:pt x="438" y="1994"/>
                  </a:lnTo>
                  <a:lnTo>
                    <a:pt x="440" y="1994"/>
                  </a:lnTo>
                  <a:lnTo>
                    <a:pt x="442" y="1994"/>
                  </a:lnTo>
                  <a:lnTo>
                    <a:pt x="440" y="1996"/>
                  </a:lnTo>
                  <a:lnTo>
                    <a:pt x="440" y="1998"/>
                  </a:lnTo>
                  <a:lnTo>
                    <a:pt x="444" y="2002"/>
                  </a:lnTo>
                  <a:lnTo>
                    <a:pt x="452" y="2014"/>
                  </a:lnTo>
                  <a:lnTo>
                    <a:pt x="456" y="2020"/>
                  </a:lnTo>
                  <a:lnTo>
                    <a:pt x="458" y="2026"/>
                  </a:lnTo>
                  <a:lnTo>
                    <a:pt x="458" y="2034"/>
                  </a:lnTo>
                  <a:lnTo>
                    <a:pt x="458" y="2038"/>
                  </a:lnTo>
                  <a:lnTo>
                    <a:pt x="458" y="2046"/>
                  </a:lnTo>
                  <a:lnTo>
                    <a:pt x="460" y="2054"/>
                  </a:lnTo>
                  <a:lnTo>
                    <a:pt x="468" y="2096"/>
                  </a:lnTo>
                  <a:lnTo>
                    <a:pt x="472" y="2112"/>
                  </a:lnTo>
                  <a:lnTo>
                    <a:pt x="476" y="2124"/>
                  </a:lnTo>
                  <a:lnTo>
                    <a:pt x="478" y="2134"/>
                  </a:lnTo>
                  <a:lnTo>
                    <a:pt x="472" y="2144"/>
                  </a:lnTo>
                  <a:lnTo>
                    <a:pt x="462" y="2166"/>
                  </a:lnTo>
                  <a:lnTo>
                    <a:pt x="460" y="2172"/>
                  </a:lnTo>
                  <a:lnTo>
                    <a:pt x="458" y="2180"/>
                  </a:lnTo>
                  <a:lnTo>
                    <a:pt x="458" y="2204"/>
                  </a:lnTo>
                  <a:lnTo>
                    <a:pt x="460" y="2212"/>
                  </a:lnTo>
                  <a:lnTo>
                    <a:pt x="460" y="2210"/>
                  </a:lnTo>
                  <a:lnTo>
                    <a:pt x="460" y="2212"/>
                  </a:lnTo>
                  <a:lnTo>
                    <a:pt x="456" y="2220"/>
                  </a:lnTo>
                  <a:lnTo>
                    <a:pt x="452" y="2234"/>
                  </a:lnTo>
                  <a:lnTo>
                    <a:pt x="450" y="2242"/>
                  </a:lnTo>
                  <a:lnTo>
                    <a:pt x="452" y="2248"/>
                  </a:lnTo>
                  <a:lnTo>
                    <a:pt x="484" y="2302"/>
                  </a:lnTo>
                  <a:lnTo>
                    <a:pt x="488" y="2308"/>
                  </a:lnTo>
                  <a:lnTo>
                    <a:pt x="488" y="2314"/>
                  </a:lnTo>
                  <a:lnTo>
                    <a:pt x="490" y="2328"/>
                  </a:lnTo>
                  <a:lnTo>
                    <a:pt x="496" y="2380"/>
                  </a:lnTo>
                  <a:lnTo>
                    <a:pt x="500" y="2386"/>
                  </a:lnTo>
                  <a:lnTo>
                    <a:pt x="504" y="2392"/>
                  </a:lnTo>
                  <a:lnTo>
                    <a:pt x="520" y="2402"/>
                  </a:lnTo>
                  <a:lnTo>
                    <a:pt x="528" y="2406"/>
                  </a:lnTo>
                  <a:lnTo>
                    <a:pt x="528" y="2404"/>
                  </a:lnTo>
                  <a:lnTo>
                    <a:pt x="528" y="2406"/>
                  </a:lnTo>
                  <a:lnTo>
                    <a:pt x="532" y="2414"/>
                  </a:lnTo>
                  <a:lnTo>
                    <a:pt x="534" y="2420"/>
                  </a:lnTo>
                  <a:lnTo>
                    <a:pt x="540" y="2434"/>
                  </a:lnTo>
                  <a:lnTo>
                    <a:pt x="546" y="2458"/>
                  </a:lnTo>
                  <a:lnTo>
                    <a:pt x="548" y="2474"/>
                  </a:lnTo>
                  <a:lnTo>
                    <a:pt x="548" y="2478"/>
                  </a:lnTo>
                  <a:lnTo>
                    <a:pt x="548" y="2486"/>
                  </a:lnTo>
                  <a:lnTo>
                    <a:pt x="552" y="2492"/>
                  </a:lnTo>
                  <a:lnTo>
                    <a:pt x="562" y="2508"/>
                  </a:lnTo>
                  <a:lnTo>
                    <a:pt x="568" y="2512"/>
                  </a:lnTo>
                  <a:lnTo>
                    <a:pt x="574" y="2514"/>
                  </a:lnTo>
                  <a:lnTo>
                    <a:pt x="598" y="2508"/>
                  </a:lnTo>
                  <a:lnTo>
                    <a:pt x="614" y="2504"/>
                  </a:lnTo>
                  <a:lnTo>
                    <a:pt x="638" y="2498"/>
                  </a:lnTo>
                  <a:lnTo>
                    <a:pt x="654" y="2496"/>
                  </a:lnTo>
                  <a:lnTo>
                    <a:pt x="676" y="2496"/>
                  </a:lnTo>
                  <a:lnTo>
                    <a:pt x="684" y="2494"/>
                  </a:lnTo>
                  <a:lnTo>
                    <a:pt x="690" y="2490"/>
                  </a:lnTo>
                  <a:lnTo>
                    <a:pt x="748" y="2424"/>
                  </a:lnTo>
                  <a:lnTo>
                    <a:pt x="756" y="2410"/>
                  </a:lnTo>
                  <a:lnTo>
                    <a:pt x="770" y="2376"/>
                  </a:lnTo>
                  <a:lnTo>
                    <a:pt x="770" y="2370"/>
                  </a:lnTo>
                  <a:lnTo>
                    <a:pt x="770" y="2368"/>
                  </a:lnTo>
                  <a:lnTo>
                    <a:pt x="768" y="2368"/>
                  </a:lnTo>
                  <a:lnTo>
                    <a:pt x="770" y="2368"/>
                  </a:lnTo>
                  <a:lnTo>
                    <a:pt x="772" y="2366"/>
                  </a:lnTo>
                  <a:lnTo>
                    <a:pt x="772" y="2364"/>
                  </a:lnTo>
                  <a:lnTo>
                    <a:pt x="774" y="2358"/>
                  </a:lnTo>
                  <a:lnTo>
                    <a:pt x="778" y="2354"/>
                  </a:lnTo>
                  <a:lnTo>
                    <a:pt x="806" y="2334"/>
                  </a:lnTo>
                  <a:lnTo>
                    <a:pt x="810" y="2328"/>
                  </a:lnTo>
                  <a:lnTo>
                    <a:pt x="814" y="2322"/>
                  </a:lnTo>
                  <a:lnTo>
                    <a:pt x="818" y="2308"/>
                  </a:lnTo>
                  <a:lnTo>
                    <a:pt x="820" y="2300"/>
                  </a:lnTo>
                  <a:lnTo>
                    <a:pt x="820" y="2292"/>
                  </a:lnTo>
                  <a:lnTo>
                    <a:pt x="814" y="2268"/>
                  </a:lnTo>
                  <a:lnTo>
                    <a:pt x="814" y="2260"/>
                  </a:lnTo>
                  <a:lnTo>
                    <a:pt x="816" y="2254"/>
                  </a:lnTo>
                  <a:lnTo>
                    <a:pt x="826" y="2238"/>
                  </a:lnTo>
                  <a:lnTo>
                    <a:pt x="832" y="2232"/>
                  </a:lnTo>
                  <a:lnTo>
                    <a:pt x="838" y="2228"/>
                  </a:lnTo>
                  <a:lnTo>
                    <a:pt x="874" y="2206"/>
                  </a:lnTo>
                  <a:lnTo>
                    <a:pt x="880" y="2202"/>
                  </a:lnTo>
                  <a:lnTo>
                    <a:pt x="884" y="2194"/>
                  </a:lnTo>
                  <a:lnTo>
                    <a:pt x="886" y="2190"/>
                  </a:lnTo>
                  <a:lnTo>
                    <a:pt x="894" y="2176"/>
                  </a:lnTo>
                  <a:lnTo>
                    <a:pt x="896" y="2170"/>
                  </a:lnTo>
                  <a:lnTo>
                    <a:pt x="898" y="2162"/>
                  </a:lnTo>
                  <a:lnTo>
                    <a:pt x="898" y="2156"/>
                  </a:lnTo>
                  <a:lnTo>
                    <a:pt x="892" y="2132"/>
                  </a:lnTo>
                  <a:lnTo>
                    <a:pt x="890" y="2116"/>
                  </a:lnTo>
                  <a:lnTo>
                    <a:pt x="890" y="2112"/>
                  </a:lnTo>
                  <a:lnTo>
                    <a:pt x="890" y="2108"/>
                  </a:lnTo>
                  <a:lnTo>
                    <a:pt x="888" y="2106"/>
                  </a:lnTo>
                  <a:lnTo>
                    <a:pt x="886" y="2108"/>
                  </a:lnTo>
                  <a:lnTo>
                    <a:pt x="888" y="2106"/>
                  </a:lnTo>
                  <a:lnTo>
                    <a:pt x="888" y="2102"/>
                  </a:lnTo>
                  <a:lnTo>
                    <a:pt x="886" y="2098"/>
                  </a:lnTo>
                  <a:lnTo>
                    <a:pt x="882" y="2094"/>
                  </a:lnTo>
                  <a:lnTo>
                    <a:pt x="880" y="2086"/>
                  </a:lnTo>
                  <a:lnTo>
                    <a:pt x="880" y="2054"/>
                  </a:lnTo>
                  <a:lnTo>
                    <a:pt x="880" y="2046"/>
                  </a:lnTo>
                  <a:lnTo>
                    <a:pt x="876" y="2038"/>
                  </a:lnTo>
                  <a:lnTo>
                    <a:pt x="874" y="2032"/>
                  </a:lnTo>
                  <a:lnTo>
                    <a:pt x="872" y="2026"/>
                  </a:lnTo>
                  <a:lnTo>
                    <a:pt x="876" y="2020"/>
                  </a:lnTo>
                  <a:lnTo>
                    <a:pt x="880" y="2016"/>
                  </a:lnTo>
                  <a:lnTo>
                    <a:pt x="880" y="2012"/>
                  </a:lnTo>
                  <a:lnTo>
                    <a:pt x="882" y="2006"/>
                  </a:lnTo>
                  <a:lnTo>
                    <a:pt x="884" y="2000"/>
                  </a:lnTo>
                  <a:lnTo>
                    <a:pt x="894" y="1984"/>
                  </a:lnTo>
                  <a:lnTo>
                    <a:pt x="900" y="1978"/>
                  </a:lnTo>
                  <a:lnTo>
                    <a:pt x="906" y="1974"/>
                  </a:lnTo>
                  <a:lnTo>
                    <a:pt x="912" y="1970"/>
                  </a:lnTo>
                  <a:lnTo>
                    <a:pt x="918" y="1968"/>
                  </a:lnTo>
                  <a:lnTo>
                    <a:pt x="922" y="1960"/>
                  </a:lnTo>
                  <a:lnTo>
                    <a:pt x="934" y="1936"/>
                  </a:lnTo>
                  <a:lnTo>
                    <a:pt x="940" y="1930"/>
                  </a:lnTo>
                  <a:lnTo>
                    <a:pt x="946" y="1924"/>
                  </a:lnTo>
                  <a:lnTo>
                    <a:pt x="970" y="1912"/>
                  </a:lnTo>
                  <a:lnTo>
                    <a:pt x="984" y="1902"/>
                  </a:lnTo>
                  <a:lnTo>
                    <a:pt x="1012" y="1874"/>
                  </a:lnTo>
                  <a:lnTo>
                    <a:pt x="1016" y="1868"/>
                  </a:lnTo>
                  <a:lnTo>
                    <a:pt x="1020" y="1862"/>
                  </a:lnTo>
                  <a:lnTo>
                    <a:pt x="1044" y="1808"/>
                  </a:lnTo>
                  <a:lnTo>
                    <a:pt x="1048" y="1792"/>
                  </a:lnTo>
                  <a:lnTo>
                    <a:pt x="1054" y="1770"/>
                  </a:lnTo>
                  <a:lnTo>
                    <a:pt x="1054" y="1766"/>
                  </a:lnTo>
                  <a:lnTo>
                    <a:pt x="1054" y="1764"/>
                  </a:lnTo>
                  <a:lnTo>
                    <a:pt x="1050" y="1764"/>
                  </a:lnTo>
                  <a:lnTo>
                    <a:pt x="1048" y="1764"/>
                  </a:lnTo>
                  <a:lnTo>
                    <a:pt x="976" y="1780"/>
                  </a:lnTo>
                  <a:lnTo>
                    <a:pt x="968" y="1780"/>
                  </a:lnTo>
                  <a:lnTo>
                    <a:pt x="960" y="1778"/>
                  </a:lnTo>
                  <a:lnTo>
                    <a:pt x="956" y="1774"/>
                  </a:lnTo>
                  <a:lnTo>
                    <a:pt x="944" y="1766"/>
                  </a:lnTo>
                  <a:lnTo>
                    <a:pt x="934" y="1754"/>
                  </a:lnTo>
                  <a:lnTo>
                    <a:pt x="904" y="1710"/>
                  </a:lnTo>
                  <a:lnTo>
                    <a:pt x="898" y="1704"/>
                  </a:lnTo>
                  <a:lnTo>
                    <a:pt x="892" y="1700"/>
                  </a:lnTo>
                  <a:lnTo>
                    <a:pt x="886" y="1696"/>
                  </a:lnTo>
                  <a:lnTo>
                    <a:pt x="880" y="1692"/>
                  </a:lnTo>
                  <a:lnTo>
                    <a:pt x="876" y="1686"/>
                  </a:lnTo>
                  <a:lnTo>
                    <a:pt x="864" y="1670"/>
                  </a:lnTo>
                  <a:lnTo>
                    <a:pt x="860" y="1664"/>
                  </a:lnTo>
                  <a:lnTo>
                    <a:pt x="858" y="1656"/>
                  </a:lnTo>
                  <a:lnTo>
                    <a:pt x="852" y="1642"/>
                  </a:lnTo>
                  <a:lnTo>
                    <a:pt x="848" y="1626"/>
                  </a:lnTo>
                  <a:lnTo>
                    <a:pt x="842" y="1602"/>
                  </a:lnTo>
                  <a:lnTo>
                    <a:pt x="840" y="1596"/>
                  </a:lnTo>
                  <a:lnTo>
                    <a:pt x="834" y="1590"/>
                  </a:lnTo>
                  <a:lnTo>
                    <a:pt x="826" y="1582"/>
                  </a:lnTo>
                  <a:lnTo>
                    <a:pt x="822" y="1574"/>
                  </a:lnTo>
                  <a:lnTo>
                    <a:pt x="818" y="1568"/>
                  </a:lnTo>
                  <a:lnTo>
                    <a:pt x="814" y="1544"/>
                  </a:lnTo>
                  <a:lnTo>
                    <a:pt x="808" y="1530"/>
                  </a:lnTo>
                  <a:lnTo>
                    <a:pt x="796" y="1504"/>
                  </a:lnTo>
                  <a:lnTo>
                    <a:pt x="786" y="1492"/>
                  </a:lnTo>
                  <a:lnTo>
                    <a:pt x="768" y="1474"/>
                  </a:lnTo>
                  <a:lnTo>
                    <a:pt x="766" y="1470"/>
                  </a:lnTo>
                  <a:lnTo>
                    <a:pt x="770" y="1472"/>
                  </a:lnTo>
                  <a:lnTo>
                    <a:pt x="794" y="1484"/>
                  </a:lnTo>
                  <a:lnTo>
                    <a:pt x="798" y="1484"/>
                  </a:lnTo>
                  <a:lnTo>
                    <a:pt x="800" y="1484"/>
                  </a:lnTo>
                  <a:lnTo>
                    <a:pt x="804" y="1482"/>
                  </a:lnTo>
                  <a:lnTo>
                    <a:pt x="804" y="1480"/>
                  </a:lnTo>
                  <a:lnTo>
                    <a:pt x="808" y="1476"/>
                  </a:lnTo>
                  <a:lnTo>
                    <a:pt x="810" y="1474"/>
                  </a:lnTo>
                  <a:lnTo>
                    <a:pt x="810" y="1472"/>
                  </a:lnTo>
                  <a:lnTo>
                    <a:pt x="812" y="1474"/>
                  </a:lnTo>
                  <a:lnTo>
                    <a:pt x="814" y="1476"/>
                  </a:lnTo>
                  <a:lnTo>
                    <a:pt x="818" y="1480"/>
                  </a:lnTo>
                  <a:lnTo>
                    <a:pt x="824" y="1494"/>
                  </a:lnTo>
                  <a:lnTo>
                    <a:pt x="856" y="1550"/>
                  </a:lnTo>
                  <a:lnTo>
                    <a:pt x="866" y="1562"/>
                  </a:lnTo>
                  <a:lnTo>
                    <a:pt x="874" y="1570"/>
                  </a:lnTo>
                  <a:lnTo>
                    <a:pt x="878" y="1576"/>
                  </a:lnTo>
                  <a:lnTo>
                    <a:pt x="882" y="1584"/>
                  </a:lnTo>
                  <a:lnTo>
                    <a:pt x="886" y="1598"/>
                  </a:lnTo>
                  <a:lnTo>
                    <a:pt x="892" y="1614"/>
                  </a:lnTo>
                  <a:lnTo>
                    <a:pt x="898" y="1636"/>
                  </a:lnTo>
                  <a:lnTo>
                    <a:pt x="900" y="1644"/>
                  </a:lnTo>
                  <a:lnTo>
                    <a:pt x="904" y="1650"/>
                  </a:lnTo>
                  <a:lnTo>
                    <a:pt x="924" y="1668"/>
                  </a:lnTo>
                  <a:lnTo>
                    <a:pt x="928" y="1674"/>
                  </a:lnTo>
                  <a:lnTo>
                    <a:pt x="928" y="1678"/>
                  </a:lnTo>
                  <a:lnTo>
                    <a:pt x="928" y="1684"/>
                  </a:lnTo>
                  <a:lnTo>
                    <a:pt x="932" y="1690"/>
                  </a:lnTo>
                  <a:lnTo>
                    <a:pt x="936" y="1696"/>
                  </a:lnTo>
                  <a:lnTo>
                    <a:pt x="942" y="1710"/>
                  </a:lnTo>
                  <a:lnTo>
                    <a:pt x="954" y="1736"/>
                  </a:lnTo>
                  <a:lnTo>
                    <a:pt x="960" y="1740"/>
                  </a:lnTo>
                  <a:lnTo>
                    <a:pt x="966" y="1740"/>
                  </a:lnTo>
                  <a:lnTo>
                    <a:pt x="980" y="1736"/>
                  </a:lnTo>
                  <a:lnTo>
                    <a:pt x="996" y="1732"/>
                  </a:lnTo>
                  <a:lnTo>
                    <a:pt x="1000" y="1732"/>
                  </a:lnTo>
                  <a:lnTo>
                    <a:pt x="1006" y="1732"/>
                  </a:lnTo>
                  <a:lnTo>
                    <a:pt x="1012" y="1728"/>
                  </a:lnTo>
                  <a:lnTo>
                    <a:pt x="1020" y="1718"/>
                  </a:lnTo>
                  <a:lnTo>
                    <a:pt x="1028" y="1714"/>
                  </a:lnTo>
                  <a:lnTo>
                    <a:pt x="1034" y="1710"/>
                  </a:lnTo>
                  <a:lnTo>
                    <a:pt x="1048" y="1706"/>
                  </a:lnTo>
                  <a:lnTo>
                    <a:pt x="1064" y="1700"/>
                  </a:lnTo>
                  <a:lnTo>
                    <a:pt x="1088" y="1688"/>
                  </a:lnTo>
                  <a:lnTo>
                    <a:pt x="1096" y="1684"/>
                  </a:lnTo>
                  <a:lnTo>
                    <a:pt x="1102" y="1680"/>
                  </a:lnTo>
                  <a:lnTo>
                    <a:pt x="1128" y="1668"/>
                  </a:lnTo>
                  <a:lnTo>
                    <a:pt x="1134" y="1664"/>
                  </a:lnTo>
                  <a:lnTo>
                    <a:pt x="1140" y="1658"/>
                  </a:lnTo>
                  <a:lnTo>
                    <a:pt x="1158" y="1632"/>
                  </a:lnTo>
                  <a:lnTo>
                    <a:pt x="1168" y="1618"/>
                  </a:lnTo>
                  <a:lnTo>
                    <a:pt x="1170" y="1612"/>
                  </a:lnTo>
                  <a:lnTo>
                    <a:pt x="1180" y="1600"/>
                  </a:lnTo>
                  <a:lnTo>
                    <a:pt x="1188" y="1592"/>
                  </a:lnTo>
                  <a:lnTo>
                    <a:pt x="1188" y="1588"/>
                  </a:lnTo>
                  <a:lnTo>
                    <a:pt x="1190" y="1586"/>
                  </a:lnTo>
                  <a:lnTo>
                    <a:pt x="1188" y="1584"/>
                  </a:lnTo>
                  <a:lnTo>
                    <a:pt x="1186" y="1582"/>
                  </a:lnTo>
                  <a:lnTo>
                    <a:pt x="1160" y="1562"/>
                  </a:lnTo>
                  <a:lnTo>
                    <a:pt x="1154" y="1558"/>
                  </a:lnTo>
                  <a:lnTo>
                    <a:pt x="1148" y="1556"/>
                  </a:lnTo>
                  <a:lnTo>
                    <a:pt x="1144" y="1554"/>
                  </a:lnTo>
                  <a:lnTo>
                    <a:pt x="1140" y="1548"/>
                  </a:lnTo>
                  <a:lnTo>
                    <a:pt x="1138" y="1544"/>
                  </a:lnTo>
                  <a:lnTo>
                    <a:pt x="1132" y="1540"/>
                  </a:lnTo>
                  <a:lnTo>
                    <a:pt x="1126" y="1538"/>
                  </a:lnTo>
                  <a:lnTo>
                    <a:pt x="1102" y="1544"/>
                  </a:lnTo>
                  <a:lnTo>
                    <a:pt x="1096" y="1544"/>
                  </a:lnTo>
                  <a:lnTo>
                    <a:pt x="1088" y="1542"/>
                  </a:lnTo>
                  <a:lnTo>
                    <a:pt x="1082" y="1540"/>
                  </a:lnTo>
                  <a:lnTo>
                    <a:pt x="1076" y="1536"/>
                  </a:lnTo>
                  <a:lnTo>
                    <a:pt x="1070" y="1536"/>
                  </a:lnTo>
                  <a:lnTo>
                    <a:pt x="1058" y="1534"/>
                  </a:lnTo>
                  <a:lnTo>
                    <a:pt x="1054" y="1530"/>
                  </a:lnTo>
                  <a:lnTo>
                    <a:pt x="1048" y="1526"/>
                  </a:lnTo>
                  <a:lnTo>
                    <a:pt x="1044" y="1520"/>
                  </a:lnTo>
                  <a:lnTo>
                    <a:pt x="1040" y="1506"/>
                  </a:lnTo>
                  <a:lnTo>
                    <a:pt x="1036" y="1498"/>
                  </a:lnTo>
                  <a:lnTo>
                    <a:pt x="1032" y="1492"/>
                  </a:lnTo>
                  <a:lnTo>
                    <a:pt x="1022" y="1484"/>
                  </a:lnTo>
                  <a:lnTo>
                    <a:pt x="1018" y="1478"/>
                  </a:lnTo>
                  <a:lnTo>
                    <a:pt x="1018" y="1472"/>
                  </a:lnTo>
                  <a:lnTo>
                    <a:pt x="1018" y="1468"/>
                  </a:lnTo>
                  <a:lnTo>
                    <a:pt x="1022" y="1462"/>
                  </a:lnTo>
                  <a:lnTo>
                    <a:pt x="1026" y="1458"/>
                  </a:lnTo>
                  <a:lnTo>
                    <a:pt x="1026" y="1452"/>
                  </a:lnTo>
                  <a:lnTo>
                    <a:pt x="1028" y="1452"/>
                  </a:lnTo>
                  <a:lnTo>
                    <a:pt x="1032" y="1454"/>
                  </a:lnTo>
                  <a:lnTo>
                    <a:pt x="1040" y="1462"/>
                  </a:lnTo>
                  <a:lnTo>
                    <a:pt x="1052" y="1474"/>
                  </a:lnTo>
                  <a:lnTo>
                    <a:pt x="1060" y="1482"/>
                  </a:lnTo>
                  <a:lnTo>
                    <a:pt x="1072" y="1492"/>
                  </a:lnTo>
                  <a:lnTo>
                    <a:pt x="1088" y="1504"/>
                  </a:lnTo>
                  <a:lnTo>
                    <a:pt x="1102" y="1510"/>
                  </a:lnTo>
                  <a:lnTo>
                    <a:pt x="1116" y="1514"/>
                  </a:lnTo>
                  <a:lnTo>
                    <a:pt x="1124" y="1516"/>
                  </a:lnTo>
                  <a:lnTo>
                    <a:pt x="1132" y="1514"/>
                  </a:lnTo>
                  <a:lnTo>
                    <a:pt x="1136" y="1510"/>
                  </a:lnTo>
                  <a:lnTo>
                    <a:pt x="1144" y="1510"/>
                  </a:lnTo>
                  <a:lnTo>
                    <a:pt x="1150" y="1514"/>
                  </a:lnTo>
                  <a:lnTo>
                    <a:pt x="1158" y="1522"/>
                  </a:lnTo>
                  <a:lnTo>
                    <a:pt x="1164" y="1526"/>
                  </a:lnTo>
                  <a:lnTo>
                    <a:pt x="1172" y="1530"/>
                  </a:lnTo>
                  <a:lnTo>
                    <a:pt x="1206" y="1544"/>
                  </a:lnTo>
                  <a:lnTo>
                    <a:pt x="1218" y="1546"/>
                  </a:lnTo>
                  <a:lnTo>
                    <a:pt x="1222" y="1546"/>
                  </a:lnTo>
                  <a:lnTo>
                    <a:pt x="1230" y="1544"/>
                  </a:lnTo>
                  <a:lnTo>
                    <a:pt x="1244" y="1538"/>
                  </a:lnTo>
                  <a:lnTo>
                    <a:pt x="1260" y="1536"/>
                  </a:lnTo>
                  <a:lnTo>
                    <a:pt x="1292" y="1536"/>
                  </a:lnTo>
                  <a:lnTo>
                    <a:pt x="1300" y="1538"/>
                  </a:lnTo>
                  <a:lnTo>
                    <a:pt x="1306" y="1544"/>
                  </a:lnTo>
                  <a:lnTo>
                    <a:pt x="1316" y="1558"/>
                  </a:lnTo>
                  <a:lnTo>
                    <a:pt x="1320" y="1566"/>
                  </a:lnTo>
                  <a:lnTo>
                    <a:pt x="1326" y="1572"/>
                  </a:lnTo>
                  <a:lnTo>
                    <a:pt x="1336" y="1588"/>
                  </a:lnTo>
                  <a:lnTo>
                    <a:pt x="1346" y="1602"/>
                  </a:lnTo>
                  <a:lnTo>
                    <a:pt x="1354" y="1610"/>
                  </a:lnTo>
                  <a:lnTo>
                    <a:pt x="1360" y="1612"/>
                  </a:lnTo>
                  <a:lnTo>
                    <a:pt x="1366" y="1610"/>
                  </a:lnTo>
                  <a:lnTo>
                    <a:pt x="1382" y="1600"/>
                  </a:lnTo>
                  <a:lnTo>
                    <a:pt x="1386" y="1598"/>
                  </a:lnTo>
                  <a:lnTo>
                    <a:pt x="1388" y="1600"/>
                  </a:lnTo>
                  <a:lnTo>
                    <a:pt x="1390" y="1600"/>
                  </a:lnTo>
                  <a:lnTo>
                    <a:pt x="1390" y="1604"/>
                  </a:lnTo>
                  <a:lnTo>
                    <a:pt x="1398" y="1676"/>
                  </a:lnTo>
                  <a:lnTo>
                    <a:pt x="1402" y="1692"/>
                  </a:lnTo>
                  <a:lnTo>
                    <a:pt x="1408" y="1714"/>
                  </a:lnTo>
                  <a:lnTo>
                    <a:pt x="1414" y="1730"/>
                  </a:lnTo>
                  <a:lnTo>
                    <a:pt x="1434" y="1764"/>
                  </a:lnTo>
                  <a:lnTo>
                    <a:pt x="1442" y="1778"/>
                  </a:lnTo>
                  <a:lnTo>
                    <a:pt x="1444" y="1784"/>
                  </a:lnTo>
                  <a:lnTo>
                    <a:pt x="1452" y="1798"/>
                  </a:lnTo>
                  <a:lnTo>
                    <a:pt x="1464" y="1814"/>
                  </a:lnTo>
                  <a:lnTo>
                    <a:pt x="1466" y="1816"/>
                  </a:lnTo>
                  <a:lnTo>
                    <a:pt x="1468" y="1816"/>
                  </a:lnTo>
                  <a:lnTo>
                    <a:pt x="1470" y="1816"/>
                  </a:lnTo>
                  <a:lnTo>
                    <a:pt x="1472" y="1814"/>
                  </a:lnTo>
                  <a:lnTo>
                    <a:pt x="1474" y="1808"/>
                  </a:lnTo>
                  <a:lnTo>
                    <a:pt x="1484" y="1796"/>
                  </a:lnTo>
                  <a:lnTo>
                    <a:pt x="1492" y="1786"/>
                  </a:lnTo>
                  <a:lnTo>
                    <a:pt x="1500" y="1774"/>
                  </a:lnTo>
                  <a:lnTo>
                    <a:pt x="1504" y="1768"/>
                  </a:lnTo>
                  <a:lnTo>
                    <a:pt x="1506" y="1762"/>
                  </a:lnTo>
                  <a:lnTo>
                    <a:pt x="1506" y="1754"/>
                  </a:lnTo>
                  <a:lnTo>
                    <a:pt x="1506" y="1730"/>
                  </a:lnTo>
                  <a:lnTo>
                    <a:pt x="1510" y="1716"/>
                  </a:lnTo>
                  <a:lnTo>
                    <a:pt x="1514" y="1700"/>
                  </a:lnTo>
                  <a:lnTo>
                    <a:pt x="1518" y="1694"/>
                  </a:lnTo>
                  <a:lnTo>
                    <a:pt x="1522" y="1688"/>
                  </a:lnTo>
                  <a:lnTo>
                    <a:pt x="1540" y="1670"/>
                  </a:lnTo>
                  <a:lnTo>
                    <a:pt x="1554" y="1660"/>
                  </a:lnTo>
                  <a:lnTo>
                    <a:pt x="1578" y="1648"/>
                  </a:lnTo>
                  <a:lnTo>
                    <a:pt x="1590" y="1638"/>
                  </a:lnTo>
                  <a:lnTo>
                    <a:pt x="1598" y="1630"/>
                  </a:lnTo>
                  <a:lnTo>
                    <a:pt x="1604" y="1624"/>
                  </a:lnTo>
                  <a:lnTo>
                    <a:pt x="1608" y="1618"/>
                  </a:lnTo>
                  <a:lnTo>
                    <a:pt x="1612" y="1604"/>
                  </a:lnTo>
                  <a:lnTo>
                    <a:pt x="1616" y="1598"/>
                  </a:lnTo>
                  <a:lnTo>
                    <a:pt x="1622" y="1596"/>
                  </a:lnTo>
                  <a:lnTo>
                    <a:pt x="1636" y="1596"/>
                  </a:lnTo>
                  <a:lnTo>
                    <a:pt x="1644" y="1596"/>
                  </a:lnTo>
                  <a:lnTo>
                    <a:pt x="1652" y="1592"/>
                  </a:lnTo>
                  <a:lnTo>
                    <a:pt x="1666" y="1588"/>
                  </a:lnTo>
                  <a:lnTo>
                    <a:pt x="1676" y="1586"/>
                  </a:lnTo>
                  <a:lnTo>
                    <a:pt x="1686" y="1588"/>
                  </a:lnTo>
                  <a:lnTo>
                    <a:pt x="1688" y="1590"/>
                  </a:lnTo>
                  <a:lnTo>
                    <a:pt x="1694" y="1594"/>
                  </a:lnTo>
                  <a:lnTo>
                    <a:pt x="1700" y="1598"/>
                  </a:lnTo>
                  <a:lnTo>
                    <a:pt x="1702" y="1604"/>
                  </a:lnTo>
                  <a:lnTo>
                    <a:pt x="1706" y="1612"/>
                  </a:lnTo>
                  <a:lnTo>
                    <a:pt x="1708" y="1618"/>
                  </a:lnTo>
                  <a:lnTo>
                    <a:pt x="1714" y="1632"/>
                  </a:lnTo>
                  <a:lnTo>
                    <a:pt x="1728" y="1676"/>
                  </a:lnTo>
                  <a:lnTo>
                    <a:pt x="1732" y="1682"/>
                  </a:lnTo>
                  <a:lnTo>
                    <a:pt x="1738" y="1688"/>
                  </a:lnTo>
                  <a:lnTo>
                    <a:pt x="1744" y="1690"/>
                  </a:lnTo>
                  <a:lnTo>
                    <a:pt x="1750" y="1692"/>
                  </a:lnTo>
                  <a:lnTo>
                    <a:pt x="1758" y="1690"/>
                  </a:lnTo>
                  <a:lnTo>
                    <a:pt x="1764" y="1688"/>
                  </a:lnTo>
                  <a:lnTo>
                    <a:pt x="1770" y="1686"/>
                  </a:lnTo>
                  <a:lnTo>
                    <a:pt x="1776" y="1688"/>
                  </a:lnTo>
                  <a:lnTo>
                    <a:pt x="1780" y="1694"/>
                  </a:lnTo>
                  <a:lnTo>
                    <a:pt x="1782" y="1700"/>
                  </a:lnTo>
                  <a:lnTo>
                    <a:pt x="1788" y="1716"/>
                  </a:lnTo>
                  <a:lnTo>
                    <a:pt x="1790" y="1730"/>
                  </a:lnTo>
                  <a:lnTo>
                    <a:pt x="1790" y="1754"/>
                  </a:lnTo>
                  <a:lnTo>
                    <a:pt x="1790" y="1770"/>
                  </a:lnTo>
                  <a:lnTo>
                    <a:pt x="1790" y="1802"/>
                  </a:lnTo>
                  <a:lnTo>
                    <a:pt x="1792" y="1810"/>
                  </a:lnTo>
                  <a:lnTo>
                    <a:pt x="1796" y="1816"/>
                  </a:lnTo>
                  <a:lnTo>
                    <a:pt x="1804" y="1824"/>
                  </a:lnTo>
                  <a:lnTo>
                    <a:pt x="1814" y="1838"/>
                  </a:lnTo>
                  <a:lnTo>
                    <a:pt x="1816" y="1842"/>
                  </a:lnTo>
                  <a:lnTo>
                    <a:pt x="1822" y="1858"/>
                  </a:lnTo>
                  <a:lnTo>
                    <a:pt x="1826" y="1862"/>
                  </a:lnTo>
                  <a:lnTo>
                    <a:pt x="1834" y="1876"/>
                  </a:lnTo>
                  <a:lnTo>
                    <a:pt x="1842" y="1884"/>
                  </a:lnTo>
                  <a:lnTo>
                    <a:pt x="1854" y="1894"/>
                  </a:lnTo>
                  <a:lnTo>
                    <a:pt x="1872" y="1912"/>
                  </a:lnTo>
                  <a:lnTo>
                    <a:pt x="1878" y="1916"/>
                  </a:lnTo>
                  <a:lnTo>
                    <a:pt x="1880" y="1914"/>
                  </a:lnTo>
                  <a:lnTo>
                    <a:pt x="1884" y="1914"/>
                  </a:lnTo>
                  <a:lnTo>
                    <a:pt x="1886" y="1908"/>
                  </a:lnTo>
                  <a:lnTo>
                    <a:pt x="1886" y="1900"/>
                  </a:lnTo>
                  <a:lnTo>
                    <a:pt x="1880" y="1886"/>
                  </a:lnTo>
                  <a:lnTo>
                    <a:pt x="1874" y="1872"/>
                  </a:lnTo>
                  <a:lnTo>
                    <a:pt x="1872" y="1866"/>
                  </a:lnTo>
                  <a:lnTo>
                    <a:pt x="1862" y="1854"/>
                  </a:lnTo>
                  <a:lnTo>
                    <a:pt x="1854" y="1846"/>
                  </a:lnTo>
                  <a:lnTo>
                    <a:pt x="1842" y="1836"/>
                  </a:lnTo>
                  <a:lnTo>
                    <a:pt x="1836" y="1834"/>
                  </a:lnTo>
                  <a:lnTo>
                    <a:pt x="1824" y="1826"/>
                  </a:lnTo>
                  <a:lnTo>
                    <a:pt x="1820" y="1820"/>
                  </a:lnTo>
                  <a:lnTo>
                    <a:pt x="1818" y="1812"/>
                  </a:lnTo>
                  <a:lnTo>
                    <a:pt x="1812" y="1790"/>
                  </a:lnTo>
                  <a:lnTo>
                    <a:pt x="1810" y="1774"/>
                  </a:lnTo>
                  <a:lnTo>
                    <a:pt x="1810" y="1770"/>
                  </a:lnTo>
                  <a:lnTo>
                    <a:pt x="1812" y="1754"/>
                  </a:lnTo>
                  <a:lnTo>
                    <a:pt x="1816" y="1740"/>
                  </a:lnTo>
                  <a:lnTo>
                    <a:pt x="1818" y="1736"/>
                  </a:lnTo>
                  <a:lnTo>
                    <a:pt x="1820" y="1734"/>
                  </a:lnTo>
                  <a:lnTo>
                    <a:pt x="1824" y="1734"/>
                  </a:lnTo>
                  <a:lnTo>
                    <a:pt x="1826" y="1734"/>
                  </a:lnTo>
                  <a:lnTo>
                    <a:pt x="1842" y="1740"/>
                  </a:lnTo>
                  <a:lnTo>
                    <a:pt x="1848" y="1742"/>
                  </a:lnTo>
                  <a:lnTo>
                    <a:pt x="1854" y="1746"/>
                  </a:lnTo>
                  <a:lnTo>
                    <a:pt x="1858" y="1752"/>
                  </a:lnTo>
                  <a:lnTo>
                    <a:pt x="1864" y="1758"/>
                  </a:lnTo>
                  <a:lnTo>
                    <a:pt x="1872" y="1766"/>
                  </a:lnTo>
                  <a:lnTo>
                    <a:pt x="1884" y="1776"/>
                  </a:lnTo>
                  <a:lnTo>
                    <a:pt x="1888" y="1782"/>
                  </a:lnTo>
                  <a:lnTo>
                    <a:pt x="1894" y="1780"/>
                  </a:lnTo>
                  <a:lnTo>
                    <a:pt x="1898" y="1782"/>
                  </a:lnTo>
                  <a:lnTo>
                    <a:pt x="1902" y="1788"/>
                  </a:lnTo>
                  <a:lnTo>
                    <a:pt x="1904" y="1794"/>
                  </a:lnTo>
                  <a:lnTo>
                    <a:pt x="1906" y="1796"/>
                  </a:lnTo>
                  <a:lnTo>
                    <a:pt x="1908" y="1798"/>
                  </a:lnTo>
                  <a:lnTo>
                    <a:pt x="1912" y="1798"/>
                  </a:lnTo>
                  <a:lnTo>
                    <a:pt x="1914" y="1796"/>
                  </a:lnTo>
                  <a:lnTo>
                    <a:pt x="1940" y="1776"/>
                  </a:lnTo>
                  <a:lnTo>
                    <a:pt x="1952" y="1766"/>
                  </a:lnTo>
                  <a:lnTo>
                    <a:pt x="1962" y="1758"/>
                  </a:lnTo>
                  <a:lnTo>
                    <a:pt x="1964" y="1752"/>
                  </a:lnTo>
                  <a:lnTo>
                    <a:pt x="1964" y="1744"/>
                  </a:lnTo>
                  <a:lnTo>
                    <a:pt x="1950" y="1690"/>
                  </a:lnTo>
                  <a:lnTo>
                    <a:pt x="1946" y="1684"/>
                  </a:lnTo>
                  <a:lnTo>
                    <a:pt x="1942" y="1678"/>
                  </a:lnTo>
                  <a:lnTo>
                    <a:pt x="1932" y="1666"/>
                  </a:lnTo>
                  <a:lnTo>
                    <a:pt x="1922" y="1650"/>
                  </a:lnTo>
                  <a:lnTo>
                    <a:pt x="1914" y="1636"/>
                  </a:lnTo>
                  <a:lnTo>
                    <a:pt x="1912" y="1632"/>
                  </a:lnTo>
                  <a:lnTo>
                    <a:pt x="1910" y="1626"/>
                  </a:lnTo>
                  <a:lnTo>
                    <a:pt x="1912" y="1620"/>
                  </a:lnTo>
                  <a:lnTo>
                    <a:pt x="1924" y="1612"/>
                  </a:lnTo>
                  <a:lnTo>
                    <a:pt x="1930" y="1608"/>
                  </a:lnTo>
                  <a:lnTo>
                    <a:pt x="1942" y="1606"/>
                  </a:lnTo>
                  <a:lnTo>
                    <a:pt x="1948" y="1606"/>
                  </a:lnTo>
                  <a:lnTo>
                    <a:pt x="1954" y="1610"/>
                  </a:lnTo>
                  <a:lnTo>
                    <a:pt x="1970" y="1620"/>
                  </a:lnTo>
                  <a:lnTo>
                    <a:pt x="1972" y="1622"/>
                  </a:lnTo>
                  <a:lnTo>
                    <a:pt x="1974" y="1620"/>
                  </a:lnTo>
                  <a:lnTo>
                    <a:pt x="1976" y="1620"/>
                  </a:lnTo>
                  <a:lnTo>
                    <a:pt x="1976" y="1616"/>
                  </a:lnTo>
                  <a:lnTo>
                    <a:pt x="1976" y="1614"/>
                  </a:lnTo>
                  <a:lnTo>
                    <a:pt x="1978" y="1606"/>
                  </a:lnTo>
                  <a:lnTo>
                    <a:pt x="1984" y="1604"/>
                  </a:lnTo>
                  <a:lnTo>
                    <a:pt x="2008" y="1598"/>
                  </a:lnTo>
                  <a:lnTo>
                    <a:pt x="2014" y="1594"/>
                  </a:lnTo>
                  <a:lnTo>
                    <a:pt x="2020" y="1590"/>
                  </a:lnTo>
                  <a:lnTo>
                    <a:pt x="2024" y="1586"/>
                  </a:lnTo>
                  <a:lnTo>
                    <a:pt x="2030" y="1586"/>
                  </a:lnTo>
                  <a:lnTo>
                    <a:pt x="2040" y="1586"/>
                  </a:lnTo>
                  <a:lnTo>
                    <a:pt x="2052" y="1582"/>
                  </a:lnTo>
                  <a:lnTo>
                    <a:pt x="2056" y="1580"/>
                  </a:lnTo>
                  <a:lnTo>
                    <a:pt x="2072" y="1572"/>
                  </a:lnTo>
                  <a:lnTo>
                    <a:pt x="2076" y="1570"/>
                  </a:lnTo>
                  <a:lnTo>
                    <a:pt x="2090" y="1562"/>
                  </a:lnTo>
                  <a:lnTo>
                    <a:pt x="2106" y="1550"/>
                  </a:lnTo>
                  <a:lnTo>
                    <a:pt x="2112" y="1546"/>
                  </a:lnTo>
                  <a:lnTo>
                    <a:pt x="2116" y="1540"/>
                  </a:lnTo>
                  <a:lnTo>
                    <a:pt x="2120" y="1534"/>
                  </a:lnTo>
                  <a:lnTo>
                    <a:pt x="2126" y="1520"/>
                  </a:lnTo>
                  <a:lnTo>
                    <a:pt x="2130" y="1514"/>
                  </a:lnTo>
                  <a:lnTo>
                    <a:pt x="2138" y="1500"/>
                  </a:lnTo>
                  <a:lnTo>
                    <a:pt x="2148" y="1484"/>
                  </a:lnTo>
                  <a:lnTo>
                    <a:pt x="2150" y="1478"/>
                  </a:lnTo>
                  <a:lnTo>
                    <a:pt x="2152" y="1470"/>
                  </a:lnTo>
                  <a:lnTo>
                    <a:pt x="2152" y="1466"/>
                  </a:lnTo>
                  <a:lnTo>
                    <a:pt x="2150" y="1460"/>
                  </a:lnTo>
                  <a:lnTo>
                    <a:pt x="2148" y="1454"/>
                  </a:lnTo>
                  <a:lnTo>
                    <a:pt x="2146" y="1448"/>
                  </a:lnTo>
                  <a:lnTo>
                    <a:pt x="2148" y="1444"/>
                  </a:lnTo>
                  <a:lnTo>
                    <a:pt x="2150" y="1438"/>
                  </a:lnTo>
                  <a:lnTo>
                    <a:pt x="2148" y="1432"/>
                  </a:lnTo>
                  <a:lnTo>
                    <a:pt x="2146" y="1426"/>
                  </a:lnTo>
                  <a:lnTo>
                    <a:pt x="2140" y="1412"/>
                  </a:lnTo>
                  <a:lnTo>
                    <a:pt x="2126" y="1378"/>
                  </a:lnTo>
                  <a:lnTo>
                    <a:pt x="2122" y="1366"/>
                  </a:lnTo>
                  <a:lnTo>
                    <a:pt x="2124" y="1360"/>
                  </a:lnTo>
                  <a:lnTo>
                    <a:pt x="2128" y="1354"/>
                  </a:lnTo>
                  <a:lnTo>
                    <a:pt x="2136" y="1346"/>
                  </a:lnTo>
                  <a:lnTo>
                    <a:pt x="2150" y="1338"/>
                  </a:lnTo>
                  <a:lnTo>
                    <a:pt x="2154" y="1334"/>
                  </a:lnTo>
                  <a:lnTo>
                    <a:pt x="2160" y="1330"/>
                  </a:lnTo>
                  <a:lnTo>
                    <a:pt x="2162" y="1326"/>
                  </a:lnTo>
                  <a:lnTo>
                    <a:pt x="2160" y="1322"/>
                  </a:lnTo>
                  <a:lnTo>
                    <a:pt x="2154" y="1322"/>
                  </a:lnTo>
                  <a:lnTo>
                    <a:pt x="2140" y="1322"/>
                  </a:lnTo>
                  <a:lnTo>
                    <a:pt x="2128" y="1322"/>
                  </a:lnTo>
                  <a:lnTo>
                    <a:pt x="2118" y="1322"/>
                  </a:lnTo>
                  <a:lnTo>
                    <a:pt x="2114" y="1320"/>
                  </a:lnTo>
                  <a:lnTo>
                    <a:pt x="2110" y="1314"/>
                  </a:lnTo>
                  <a:lnTo>
                    <a:pt x="2106" y="1308"/>
                  </a:lnTo>
                  <a:lnTo>
                    <a:pt x="2098" y="1296"/>
                  </a:lnTo>
                  <a:lnTo>
                    <a:pt x="2096" y="1294"/>
                  </a:lnTo>
                  <a:lnTo>
                    <a:pt x="2096" y="1292"/>
                  </a:lnTo>
                  <a:lnTo>
                    <a:pt x="2100" y="1288"/>
                  </a:lnTo>
                  <a:lnTo>
                    <a:pt x="2106" y="1286"/>
                  </a:lnTo>
                  <a:lnTo>
                    <a:pt x="2120" y="1278"/>
                  </a:lnTo>
                  <a:lnTo>
                    <a:pt x="2126" y="1276"/>
                  </a:lnTo>
                  <a:lnTo>
                    <a:pt x="2138" y="1266"/>
                  </a:lnTo>
                  <a:lnTo>
                    <a:pt x="2146" y="1258"/>
                  </a:lnTo>
                  <a:lnTo>
                    <a:pt x="2152" y="1254"/>
                  </a:lnTo>
                  <a:lnTo>
                    <a:pt x="2158" y="1252"/>
                  </a:lnTo>
                  <a:lnTo>
                    <a:pt x="2158" y="1254"/>
                  </a:lnTo>
                  <a:lnTo>
                    <a:pt x="2160" y="1254"/>
                  </a:lnTo>
                  <a:lnTo>
                    <a:pt x="2158" y="1260"/>
                  </a:lnTo>
                  <a:lnTo>
                    <a:pt x="2156" y="1266"/>
                  </a:lnTo>
                  <a:lnTo>
                    <a:pt x="2154" y="1272"/>
                  </a:lnTo>
                  <a:lnTo>
                    <a:pt x="2158" y="1278"/>
                  </a:lnTo>
                  <a:lnTo>
                    <a:pt x="2162" y="1280"/>
                  </a:lnTo>
                  <a:lnTo>
                    <a:pt x="2166" y="1282"/>
                  </a:lnTo>
                  <a:lnTo>
                    <a:pt x="2180" y="1280"/>
                  </a:lnTo>
                  <a:lnTo>
                    <a:pt x="2194" y="1274"/>
                  </a:lnTo>
                  <a:lnTo>
                    <a:pt x="2202" y="1274"/>
                  </a:lnTo>
                  <a:lnTo>
                    <a:pt x="2208" y="1276"/>
                  </a:lnTo>
                  <a:lnTo>
                    <a:pt x="2214" y="1278"/>
                  </a:lnTo>
                  <a:lnTo>
                    <a:pt x="2220" y="1284"/>
                  </a:lnTo>
                  <a:lnTo>
                    <a:pt x="2224" y="1290"/>
                  </a:lnTo>
                  <a:lnTo>
                    <a:pt x="2228" y="1294"/>
                  </a:lnTo>
                  <a:lnTo>
                    <a:pt x="2230" y="1306"/>
                  </a:lnTo>
                  <a:lnTo>
                    <a:pt x="2230" y="1320"/>
                  </a:lnTo>
                  <a:lnTo>
                    <a:pt x="2230" y="1332"/>
                  </a:lnTo>
                  <a:lnTo>
                    <a:pt x="2228" y="1348"/>
                  </a:lnTo>
                  <a:lnTo>
                    <a:pt x="2224" y="1362"/>
                  </a:lnTo>
                  <a:lnTo>
                    <a:pt x="2222" y="1366"/>
                  </a:lnTo>
                  <a:lnTo>
                    <a:pt x="2224" y="1368"/>
                  </a:lnTo>
                  <a:lnTo>
                    <a:pt x="2226" y="1370"/>
                  </a:lnTo>
                  <a:lnTo>
                    <a:pt x="2228" y="1370"/>
                  </a:lnTo>
                  <a:lnTo>
                    <a:pt x="2232" y="1370"/>
                  </a:lnTo>
                  <a:lnTo>
                    <a:pt x="2240" y="1370"/>
                  </a:lnTo>
                  <a:lnTo>
                    <a:pt x="2248" y="1366"/>
                  </a:lnTo>
                  <a:lnTo>
                    <a:pt x="2252" y="1364"/>
                  </a:lnTo>
                  <a:lnTo>
                    <a:pt x="2264" y="1356"/>
                  </a:lnTo>
                  <a:lnTo>
                    <a:pt x="2274" y="1346"/>
                  </a:lnTo>
                  <a:lnTo>
                    <a:pt x="2278" y="1340"/>
                  </a:lnTo>
                  <a:lnTo>
                    <a:pt x="2276" y="1334"/>
                  </a:lnTo>
                  <a:lnTo>
                    <a:pt x="2264" y="1308"/>
                  </a:lnTo>
                  <a:lnTo>
                    <a:pt x="2260" y="1296"/>
                  </a:lnTo>
                  <a:lnTo>
                    <a:pt x="2260" y="1284"/>
                  </a:lnTo>
                  <a:lnTo>
                    <a:pt x="2260" y="1280"/>
                  </a:lnTo>
                  <a:lnTo>
                    <a:pt x="2260" y="1268"/>
                  </a:lnTo>
                  <a:lnTo>
                    <a:pt x="2256" y="1256"/>
                  </a:lnTo>
                  <a:lnTo>
                    <a:pt x="2254" y="1250"/>
                  </a:lnTo>
                  <a:lnTo>
                    <a:pt x="2252" y="1244"/>
                  </a:lnTo>
                  <a:lnTo>
                    <a:pt x="2256" y="1238"/>
                  </a:lnTo>
                  <a:lnTo>
                    <a:pt x="2266" y="1228"/>
                  </a:lnTo>
                  <a:lnTo>
                    <a:pt x="2274" y="1220"/>
                  </a:lnTo>
                  <a:lnTo>
                    <a:pt x="2280" y="1216"/>
                  </a:lnTo>
                  <a:lnTo>
                    <a:pt x="2286" y="1214"/>
                  </a:lnTo>
                  <a:lnTo>
                    <a:pt x="2290" y="1216"/>
                  </a:lnTo>
                  <a:lnTo>
                    <a:pt x="2292" y="1218"/>
                  </a:lnTo>
                  <a:lnTo>
                    <a:pt x="2292" y="1222"/>
                  </a:lnTo>
                  <a:lnTo>
                    <a:pt x="2294" y="1224"/>
                  </a:lnTo>
                  <a:lnTo>
                    <a:pt x="2304" y="1224"/>
                  </a:lnTo>
                  <a:lnTo>
                    <a:pt x="2310" y="1222"/>
                  </a:lnTo>
                  <a:lnTo>
                    <a:pt x="2314" y="1218"/>
                  </a:lnTo>
                  <a:lnTo>
                    <a:pt x="2320" y="1216"/>
                  </a:lnTo>
                  <a:lnTo>
                    <a:pt x="2326" y="1218"/>
                  </a:lnTo>
                  <a:lnTo>
                    <a:pt x="2332" y="1220"/>
                  </a:lnTo>
                  <a:lnTo>
                    <a:pt x="2338" y="1222"/>
                  </a:lnTo>
                  <a:lnTo>
                    <a:pt x="2344" y="1218"/>
                  </a:lnTo>
                  <a:lnTo>
                    <a:pt x="2362" y="1200"/>
                  </a:lnTo>
                  <a:lnTo>
                    <a:pt x="2374" y="1188"/>
                  </a:lnTo>
                  <a:lnTo>
                    <a:pt x="2382" y="1180"/>
                  </a:lnTo>
                  <a:lnTo>
                    <a:pt x="2392" y="1168"/>
                  </a:lnTo>
                  <a:lnTo>
                    <a:pt x="2422" y="1132"/>
                  </a:lnTo>
                  <a:lnTo>
                    <a:pt x="2430" y="1118"/>
                  </a:lnTo>
                  <a:lnTo>
                    <a:pt x="2442" y="1094"/>
                  </a:lnTo>
                  <a:lnTo>
                    <a:pt x="2446" y="1086"/>
                  </a:lnTo>
                  <a:lnTo>
                    <a:pt x="2446" y="1078"/>
                  </a:lnTo>
                  <a:lnTo>
                    <a:pt x="2446" y="1056"/>
                  </a:lnTo>
                  <a:lnTo>
                    <a:pt x="2448" y="1040"/>
                  </a:lnTo>
                  <a:lnTo>
                    <a:pt x="2454" y="996"/>
                  </a:lnTo>
                  <a:lnTo>
                    <a:pt x="2456" y="980"/>
                  </a:lnTo>
                  <a:lnTo>
                    <a:pt x="2456" y="978"/>
                  </a:lnTo>
                  <a:lnTo>
                    <a:pt x="2454" y="970"/>
                  </a:lnTo>
                  <a:lnTo>
                    <a:pt x="2450" y="964"/>
                  </a:lnTo>
                  <a:lnTo>
                    <a:pt x="2442" y="956"/>
                  </a:lnTo>
                  <a:lnTo>
                    <a:pt x="2436" y="952"/>
                  </a:lnTo>
                  <a:lnTo>
                    <a:pt x="2430" y="954"/>
                  </a:lnTo>
                  <a:lnTo>
                    <a:pt x="2414" y="964"/>
                  </a:lnTo>
                  <a:lnTo>
                    <a:pt x="2406" y="968"/>
                  </a:lnTo>
                  <a:lnTo>
                    <a:pt x="2400" y="966"/>
                  </a:lnTo>
                  <a:lnTo>
                    <a:pt x="2394" y="964"/>
                  </a:lnTo>
                  <a:lnTo>
                    <a:pt x="2388" y="958"/>
                  </a:lnTo>
                  <a:lnTo>
                    <a:pt x="2384" y="952"/>
                  </a:lnTo>
                  <a:lnTo>
                    <a:pt x="2382" y="948"/>
                  </a:lnTo>
                  <a:lnTo>
                    <a:pt x="2378" y="942"/>
                  </a:lnTo>
                  <a:lnTo>
                    <a:pt x="2372" y="940"/>
                  </a:lnTo>
                  <a:lnTo>
                    <a:pt x="2370" y="938"/>
                  </a:lnTo>
                  <a:lnTo>
                    <a:pt x="2372" y="936"/>
                  </a:lnTo>
                  <a:lnTo>
                    <a:pt x="2384" y="924"/>
                  </a:lnTo>
                  <a:lnTo>
                    <a:pt x="2402" y="906"/>
                  </a:lnTo>
                  <a:lnTo>
                    <a:pt x="2412" y="896"/>
                  </a:lnTo>
                  <a:lnTo>
                    <a:pt x="2420" y="888"/>
                  </a:lnTo>
                  <a:lnTo>
                    <a:pt x="2424" y="882"/>
                  </a:lnTo>
                  <a:lnTo>
                    <a:pt x="2426" y="876"/>
                  </a:lnTo>
                  <a:lnTo>
                    <a:pt x="2428" y="872"/>
                  </a:lnTo>
                  <a:lnTo>
                    <a:pt x="2432" y="866"/>
                  </a:lnTo>
                  <a:lnTo>
                    <a:pt x="2490" y="808"/>
                  </a:lnTo>
                  <a:lnTo>
                    <a:pt x="2496" y="804"/>
                  </a:lnTo>
                  <a:lnTo>
                    <a:pt x="2504" y="802"/>
                  </a:lnTo>
                  <a:lnTo>
                    <a:pt x="2506" y="802"/>
                  </a:lnTo>
                  <a:lnTo>
                    <a:pt x="2522" y="802"/>
                  </a:lnTo>
                  <a:lnTo>
                    <a:pt x="2556" y="802"/>
                  </a:lnTo>
                  <a:lnTo>
                    <a:pt x="2564" y="802"/>
                  </a:lnTo>
                  <a:lnTo>
                    <a:pt x="2570" y="800"/>
                  </a:lnTo>
                  <a:lnTo>
                    <a:pt x="2576" y="796"/>
                  </a:lnTo>
                  <a:lnTo>
                    <a:pt x="2584" y="794"/>
                  </a:lnTo>
                  <a:lnTo>
                    <a:pt x="2590" y="796"/>
                  </a:lnTo>
                  <a:lnTo>
                    <a:pt x="2604" y="800"/>
                  </a:lnTo>
                  <a:lnTo>
                    <a:pt x="2610" y="804"/>
                  </a:lnTo>
                  <a:lnTo>
                    <a:pt x="2612" y="810"/>
                  </a:lnTo>
                  <a:lnTo>
                    <a:pt x="2612" y="814"/>
                  </a:lnTo>
                  <a:lnTo>
                    <a:pt x="2614" y="818"/>
                  </a:lnTo>
                  <a:lnTo>
                    <a:pt x="2614" y="820"/>
                  </a:lnTo>
                  <a:lnTo>
                    <a:pt x="2618" y="820"/>
                  </a:lnTo>
                  <a:lnTo>
                    <a:pt x="2620" y="822"/>
                  </a:lnTo>
                  <a:lnTo>
                    <a:pt x="2654" y="814"/>
                  </a:lnTo>
                  <a:lnTo>
                    <a:pt x="2666" y="812"/>
                  </a:lnTo>
                  <a:lnTo>
                    <a:pt x="2668" y="812"/>
                  </a:lnTo>
                  <a:lnTo>
                    <a:pt x="2666" y="808"/>
                  </a:lnTo>
                  <a:lnTo>
                    <a:pt x="2664" y="802"/>
                  </a:lnTo>
                  <a:lnTo>
                    <a:pt x="2664" y="796"/>
                  </a:lnTo>
                  <a:lnTo>
                    <a:pt x="2668" y="782"/>
                  </a:lnTo>
                  <a:lnTo>
                    <a:pt x="2674" y="766"/>
                  </a:lnTo>
                  <a:lnTo>
                    <a:pt x="2678" y="752"/>
                  </a:lnTo>
                  <a:lnTo>
                    <a:pt x="2682" y="746"/>
                  </a:lnTo>
                  <a:lnTo>
                    <a:pt x="2688" y="740"/>
                  </a:lnTo>
                  <a:lnTo>
                    <a:pt x="2704" y="730"/>
                  </a:lnTo>
                  <a:lnTo>
                    <a:pt x="2710" y="726"/>
                  </a:lnTo>
                  <a:lnTo>
                    <a:pt x="2718" y="726"/>
                  </a:lnTo>
                  <a:lnTo>
                    <a:pt x="2742" y="732"/>
                  </a:lnTo>
                  <a:lnTo>
                    <a:pt x="2748" y="736"/>
                  </a:lnTo>
                  <a:lnTo>
                    <a:pt x="2754" y="742"/>
                  </a:lnTo>
                  <a:lnTo>
                    <a:pt x="2756" y="746"/>
                  </a:lnTo>
                  <a:lnTo>
                    <a:pt x="2758" y="750"/>
                  </a:lnTo>
                  <a:lnTo>
                    <a:pt x="2760" y="750"/>
                  </a:lnTo>
                  <a:lnTo>
                    <a:pt x="2762" y="750"/>
                  </a:lnTo>
                  <a:lnTo>
                    <a:pt x="2764" y="748"/>
                  </a:lnTo>
                  <a:lnTo>
                    <a:pt x="2774" y="740"/>
                  </a:lnTo>
                  <a:lnTo>
                    <a:pt x="2786" y="730"/>
                  </a:lnTo>
                  <a:lnTo>
                    <a:pt x="2812" y="710"/>
                  </a:lnTo>
                  <a:lnTo>
                    <a:pt x="2814" y="708"/>
                  </a:lnTo>
                  <a:lnTo>
                    <a:pt x="2816" y="708"/>
                  </a:lnTo>
                  <a:lnTo>
                    <a:pt x="2818" y="710"/>
                  </a:lnTo>
                  <a:lnTo>
                    <a:pt x="2818" y="714"/>
                  </a:lnTo>
                  <a:lnTo>
                    <a:pt x="2818" y="736"/>
                  </a:lnTo>
                  <a:lnTo>
                    <a:pt x="2816" y="744"/>
                  </a:lnTo>
                  <a:lnTo>
                    <a:pt x="2812" y="750"/>
                  </a:lnTo>
                  <a:lnTo>
                    <a:pt x="2794" y="768"/>
                  </a:lnTo>
                  <a:lnTo>
                    <a:pt x="2782" y="778"/>
                  </a:lnTo>
                  <a:lnTo>
                    <a:pt x="2776" y="780"/>
                  </a:lnTo>
                  <a:lnTo>
                    <a:pt x="2770" y="784"/>
                  </a:lnTo>
                  <a:lnTo>
                    <a:pt x="2764" y="790"/>
                  </a:lnTo>
                  <a:lnTo>
                    <a:pt x="2754" y="806"/>
                  </a:lnTo>
                  <a:lnTo>
                    <a:pt x="2744" y="818"/>
                  </a:lnTo>
                  <a:lnTo>
                    <a:pt x="2736" y="826"/>
                  </a:lnTo>
                  <a:lnTo>
                    <a:pt x="2724" y="838"/>
                  </a:lnTo>
                  <a:lnTo>
                    <a:pt x="2716" y="846"/>
                  </a:lnTo>
                  <a:lnTo>
                    <a:pt x="2710" y="850"/>
                  </a:lnTo>
                  <a:lnTo>
                    <a:pt x="2706" y="852"/>
                  </a:lnTo>
                  <a:lnTo>
                    <a:pt x="2702" y="854"/>
                  </a:lnTo>
                  <a:lnTo>
                    <a:pt x="2698" y="860"/>
                  </a:lnTo>
                  <a:lnTo>
                    <a:pt x="2684" y="904"/>
                  </a:lnTo>
                  <a:lnTo>
                    <a:pt x="2682" y="910"/>
                  </a:lnTo>
                  <a:lnTo>
                    <a:pt x="2682" y="918"/>
                  </a:lnTo>
                  <a:lnTo>
                    <a:pt x="2700" y="1020"/>
                  </a:lnTo>
                  <a:lnTo>
                    <a:pt x="2700" y="1022"/>
                  </a:lnTo>
                  <a:lnTo>
                    <a:pt x="2702" y="1024"/>
                  </a:lnTo>
                  <a:lnTo>
                    <a:pt x="2704" y="1024"/>
                  </a:lnTo>
                  <a:lnTo>
                    <a:pt x="2706" y="1022"/>
                  </a:lnTo>
                  <a:lnTo>
                    <a:pt x="2726" y="996"/>
                  </a:lnTo>
                  <a:lnTo>
                    <a:pt x="2734" y="984"/>
                  </a:lnTo>
                  <a:lnTo>
                    <a:pt x="2744" y="972"/>
                  </a:lnTo>
                  <a:lnTo>
                    <a:pt x="2746" y="966"/>
                  </a:lnTo>
                  <a:lnTo>
                    <a:pt x="2754" y="952"/>
                  </a:lnTo>
                  <a:lnTo>
                    <a:pt x="2756" y="948"/>
                  </a:lnTo>
                  <a:lnTo>
                    <a:pt x="2760" y="940"/>
                  </a:lnTo>
                  <a:lnTo>
                    <a:pt x="2766" y="936"/>
                  </a:lnTo>
                  <a:lnTo>
                    <a:pt x="2772" y="934"/>
                  </a:lnTo>
                  <a:lnTo>
                    <a:pt x="2776" y="928"/>
                  </a:lnTo>
                  <a:lnTo>
                    <a:pt x="2778" y="922"/>
                  </a:lnTo>
                  <a:lnTo>
                    <a:pt x="2778" y="918"/>
                  </a:lnTo>
                  <a:lnTo>
                    <a:pt x="2780" y="912"/>
                  </a:lnTo>
                  <a:lnTo>
                    <a:pt x="2784" y="906"/>
                  </a:lnTo>
                  <a:lnTo>
                    <a:pt x="2788" y="900"/>
                  </a:lnTo>
                  <a:lnTo>
                    <a:pt x="2790" y="894"/>
                  </a:lnTo>
                  <a:lnTo>
                    <a:pt x="2796" y="870"/>
                  </a:lnTo>
                  <a:lnTo>
                    <a:pt x="2798" y="856"/>
                  </a:lnTo>
                  <a:lnTo>
                    <a:pt x="2796" y="854"/>
                  </a:lnTo>
                  <a:lnTo>
                    <a:pt x="2790" y="852"/>
                  </a:lnTo>
                  <a:lnTo>
                    <a:pt x="2786" y="852"/>
                  </a:lnTo>
                  <a:lnTo>
                    <a:pt x="2784" y="852"/>
                  </a:lnTo>
                  <a:lnTo>
                    <a:pt x="2782" y="850"/>
                  </a:lnTo>
                  <a:lnTo>
                    <a:pt x="2782" y="848"/>
                  </a:lnTo>
                  <a:lnTo>
                    <a:pt x="2782" y="844"/>
                  </a:lnTo>
                  <a:lnTo>
                    <a:pt x="2796" y="810"/>
                  </a:lnTo>
                  <a:lnTo>
                    <a:pt x="2798" y="804"/>
                  </a:lnTo>
                  <a:lnTo>
                    <a:pt x="2804" y="798"/>
                  </a:lnTo>
                  <a:lnTo>
                    <a:pt x="2816" y="790"/>
                  </a:lnTo>
                  <a:lnTo>
                    <a:pt x="2820" y="786"/>
                  </a:lnTo>
                  <a:lnTo>
                    <a:pt x="2832" y="784"/>
                  </a:lnTo>
                  <a:lnTo>
                    <a:pt x="2838" y="784"/>
                  </a:lnTo>
                  <a:lnTo>
                    <a:pt x="2842" y="788"/>
                  </a:lnTo>
                  <a:lnTo>
                    <a:pt x="2844" y="790"/>
                  </a:lnTo>
                  <a:lnTo>
                    <a:pt x="2848" y="790"/>
                  </a:lnTo>
                  <a:lnTo>
                    <a:pt x="2854" y="788"/>
                  </a:lnTo>
                  <a:lnTo>
                    <a:pt x="2870" y="770"/>
                  </a:lnTo>
                  <a:lnTo>
                    <a:pt x="2874" y="768"/>
                  </a:lnTo>
                  <a:lnTo>
                    <a:pt x="2876" y="768"/>
                  </a:lnTo>
                  <a:lnTo>
                    <a:pt x="2880" y="768"/>
                  </a:lnTo>
                  <a:lnTo>
                    <a:pt x="2882" y="770"/>
                  </a:lnTo>
                  <a:lnTo>
                    <a:pt x="2900" y="788"/>
                  </a:lnTo>
                  <a:lnTo>
                    <a:pt x="2902" y="790"/>
                  </a:lnTo>
                  <a:lnTo>
                    <a:pt x="2906" y="790"/>
                  </a:lnTo>
                  <a:lnTo>
                    <a:pt x="2908" y="788"/>
                  </a:lnTo>
                  <a:lnTo>
                    <a:pt x="2908" y="786"/>
                  </a:lnTo>
                  <a:lnTo>
                    <a:pt x="2914" y="772"/>
                  </a:lnTo>
                  <a:lnTo>
                    <a:pt x="2918" y="766"/>
                  </a:lnTo>
                  <a:lnTo>
                    <a:pt x="2924" y="764"/>
                  </a:lnTo>
                  <a:lnTo>
                    <a:pt x="2928" y="764"/>
                  </a:lnTo>
                  <a:lnTo>
                    <a:pt x="2934" y="762"/>
                  </a:lnTo>
                  <a:lnTo>
                    <a:pt x="2940" y="758"/>
                  </a:lnTo>
                  <a:lnTo>
                    <a:pt x="2960" y="732"/>
                  </a:lnTo>
                  <a:lnTo>
                    <a:pt x="2966" y="726"/>
                  </a:lnTo>
                  <a:lnTo>
                    <a:pt x="2972" y="722"/>
                  </a:lnTo>
                  <a:lnTo>
                    <a:pt x="2996" y="708"/>
                  </a:lnTo>
                  <a:lnTo>
                    <a:pt x="3004" y="706"/>
                  </a:lnTo>
                  <a:lnTo>
                    <a:pt x="3012" y="706"/>
                  </a:lnTo>
                  <a:lnTo>
                    <a:pt x="3016" y="706"/>
                  </a:lnTo>
                  <a:lnTo>
                    <a:pt x="3024" y="706"/>
                  </a:lnTo>
                  <a:lnTo>
                    <a:pt x="3030" y="708"/>
                  </a:lnTo>
                  <a:lnTo>
                    <a:pt x="3036" y="712"/>
                  </a:lnTo>
                  <a:lnTo>
                    <a:pt x="3042" y="712"/>
                  </a:lnTo>
                  <a:lnTo>
                    <a:pt x="3044" y="710"/>
                  </a:lnTo>
                  <a:lnTo>
                    <a:pt x="3044" y="698"/>
                  </a:lnTo>
                  <a:lnTo>
                    <a:pt x="3044" y="694"/>
                  </a:lnTo>
                  <a:lnTo>
                    <a:pt x="3040" y="678"/>
                  </a:lnTo>
                  <a:lnTo>
                    <a:pt x="3036" y="664"/>
                  </a:lnTo>
                  <a:lnTo>
                    <a:pt x="3032" y="656"/>
                  </a:lnTo>
                  <a:lnTo>
                    <a:pt x="3028" y="650"/>
                  </a:lnTo>
                  <a:lnTo>
                    <a:pt x="3020" y="642"/>
                  </a:lnTo>
                  <a:lnTo>
                    <a:pt x="3018" y="640"/>
                  </a:lnTo>
                  <a:lnTo>
                    <a:pt x="3018" y="638"/>
                  </a:lnTo>
                  <a:lnTo>
                    <a:pt x="3018" y="634"/>
                  </a:lnTo>
                  <a:lnTo>
                    <a:pt x="3022" y="634"/>
                  </a:lnTo>
                  <a:lnTo>
                    <a:pt x="3026" y="630"/>
                  </a:lnTo>
                  <a:lnTo>
                    <a:pt x="3040" y="624"/>
                  </a:lnTo>
                  <a:lnTo>
                    <a:pt x="3046" y="620"/>
                  </a:lnTo>
                  <a:close/>
                  <a:moveTo>
                    <a:pt x="420" y="930"/>
                  </a:moveTo>
                  <a:lnTo>
                    <a:pt x="420" y="930"/>
                  </a:lnTo>
                  <a:lnTo>
                    <a:pt x="414" y="924"/>
                  </a:lnTo>
                  <a:lnTo>
                    <a:pt x="410" y="920"/>
                  </a:lnTo>
                  <a:lnTo>
                    <a:pt x="414" y="924"/>
                  </a:lnTo>
                  <a:lnTo>
                    <a:pt x="420" y="930"/>
                  </a:lnTo>
                  <a:close/>
                  <a:moveTo>
                    <a:pt x="938" y="1244"/>
                  </a:moveTo>
                  <a:lnTo>
                    <a:pt x="938" y="1244"/>
                  </a:lnTo>
                  <a:lnTo>
                    <a:pt x="934" y="1238"/>
                  </a:lnTo>
                  <a:lnTo>
                    <a:pt x="928" y="1236"/>
                  </a:lnTo>
                  <a:lnTo>
                    <a:pt x="924" y="1234"/>
                  </a:lnTo>
                  <a:lnTo>
                    <a:pt x="914" y="1234"/>
                  </a:lnTo>
                  <a:lnTo>
                    <a:pt x="902" y="1238"/>
                  </a:lnTo>
                  <a:lnTo>
                    <a:pt x="896" y="1240"/>
                  </a:lnTo>
                  <a:lnTo>
                    <a:pt x="890" y="1242"/>
                  </a:lnTo>
                  <a:lnTo>
                    <a:pt x="882" y="1244"/>
                  </a:lnTo>
                  <a:lnTo>
                    <a:pt x="878" y="1244"/>
                  </a:lnTo>
                  <a:lnTo>
                    <a:pt x="864" y="1244"/>
                  </a:lnTo>
                  <a:lnTo>
                    <a:pt x="852" y="1240"/>
                  </a:lnTo>
                  <a:lnTo>
                    <a:pt x="848" y="1238"/>
                  </a:lnTo>
                  <a:lnTo>
                    <a:pt x="836" y="1234"/>
                  </a:lnTo>
                  <a:lnTo>
                    <a:pt x="822" y="1234"/>
                  </a:lnTo>
                  <a:lnTo>
                    <a:pt x="800" y="1234"/>
                  </a:lnTo>
                  <a:lnTo>
                    <a:pt x="786" y="1234"/>
                  </a:lnTo>
                  <a:lnTo>
                    <a:pt x="774" y="1234"/>
                  </a:lnTo>
                  <a:lnTo>
                    <a:pt x="770" y="1234"/>
                  </a:lnTo>
                  <a:lnTo>
                    <a:pt x="764" y="1236"/>
                  </a:lnTo>
                  <a:lnTo>
                    <a:pt x="758" y="1238"/>
                  </a:lnTo>
                  <a:lnTo>
                    <a:pt x="746" y="1248"/>
                  </a:lnTo>
                  <a:lnTo>
                    <a:pt x="740" y="1250"/>
                  </a:lnTo>
                  <a:lnTo>
                    <a:pt x="734" y="1250"/>
                  </a:lnTo>
                  <a:lnTo>
                    <a:pt x="728" y="1248"/>
                  </a:lnTo>
                  <a:lnTo>
                    <a:pt x="722" y="1244"/>
                  </a:lnTo>
                  <a:lnTo>
                    <a:pt x="716" y="1240"/>
                  </a:lnTo>
                  <a:lnTo>
                    <a:pt x="702" y="1236"/>
                  </a:lnTo>
                  <a:lnTo>
                    <a:pt x="696" y="1232"/>
                  </a:lnTo>
                  <a:lnTo>
                    <a:pt x="694" y="1226"/>
                  </a:lnTo>
                  <a:lnTo>
                    <a:pt x="694" y="1222"/>
                  </a:lnTo>
                  <a:lnTo>
                    <a:pt x="696" y="1214"/>
                  </a:lnTo>
                  <a:lnTo>
                    <a:pt x="700" y="1208"/>
                  </a:lnTo>
                  <a:lnTo>
                    <a:pt x="708" y="1200"/>
                  </a:lnTo>
                  <a:lnTo>
                    <a:pt x="714" y="1194"/>
                  </a:lnTo>
                  <a:lnTo>
                    <a:pt x="714" y="1186"/>
                  </a:lnTo>
                  <a:lnTo>
                    <a:pt x="714" y="1172"/>
                  </a:lnTo>
                  <a:lnTo>
                    <a:pt x="714" y="1166"/>
                  </a:lnTo>
                  <a:lnTo>
                    <a:pt x="718" y="1160"/>
                  </a:lnTo>
                  <a:lnTo>
                    <a:pt x="724" y="1156"/>
                  </a:lnTo>
                  <a:lnTo>
                    <a:pt x="728" y="1150"/>
                  </a:lnTo>
                  <a:lnTo>
                    <a:pt x="740" y="1142"/>
                  </a:lnTo>
                  <a:lnTo>
                    <a:pt x="746" y="1140"/>
                  </a:lnTo>
                  <a:lnTo>
                    <a:pt x="754" y="1136"/>
                  </a:lnTo>
                  <a:lnTo>
                    <a:pt x="760" y="1136"/>
                  </a:lnTo>
                  <a:lnTo>
                    <a:pt x="764" y="1136"/>
                  </a:lnTo>
                  <a:lnTo>
                    <a:pt x="772" y="1138"/>
                  </a:lnTo>
                  <a:lnTo>
                    <a:pt x="778" y="1140"/>
                  </a:lnTo>
                  <a:lnTo>
                    <a:pt x="780" y="1146"/>
                  </a:lnTo>
                  <a:lnTo>
                    <a:pt x="778" y="1150"/>
                  </a:lnTo>
                  <a:lnTo>
                    <a:pt x="776" y="1152"/>
                  </a:lnTo>
                  <a:lnTo>
                    <a:pt x="776" y="1156"/>
                  </a:lnTo>
                  <a:lnTo>
                    <a:pt x="778" y="1160"/>
                  </a:lnTo>
                  <a:lnTo>
                    <a:pt x="786" y="1170"/>
                  </a:lnTo>
                  <a:lnTo>
                    <a:pt x="792" y="1172"/>
                  </a:lnTo>
                  <a:lnTo>
                    <a:pt x="800" y="1172"/>
                  </a:lnTo>
                  <a:lnTo>
                    <a:pt x="824" y="1158"/>
                  </a:lnTo>
                  <a:lnTo>
                    <a:pt x="832" y="1156"/>
                  </a:lnTo>
                  <a:lnTo>
                    <a:pt x="838" y="1158"/>
                  </a:lnTo>
                  <a:lnTo>
                    <a:pt x="862" y="1164"/>
                  </a:lnTo>
                  <a:lnTo>
                    <a:pt x="870" y="1166"/>
                  </a:lnTo>
                  <a:lnTo>
                    <a:pt x="874" y="1172"/>
                  </a:lnTo>
                  <a:lnTo>
                    <a:pt x="886" y="1188"/>
                  </a:lnTo>
                  <a:lnTo>
                    <a:pt x="888" y="1194"/>
                  </a:lnTo>
                  <a:lnTo>
                    <a:pt x="890" y="1200"/>
                  </a:lnTo>
                  <a:lnTo>
                    <a:pt x="892" y="1204"/>
                  </a:lnTo>
                  <a:lnTo>
                    <a:pt x="894" y="1210"/>
                  </a:lnTo>
                  <a:lnTo>
                    <a:pt x="900" y="1212"/>
                  </a:lnTo>
                  <a:lnTo>
                    <a:pt x="908" y="1214"/>
                  </a:lnTo>
                  <a:lnTo>
                    <a:pt x="912" y="1214"/>
                  </a:lnTo>
                  <a:lnTo>
                    <a:pt x="918" y="1216"/>
                  </a:lnTo>
                  <a:lnTo>
                    <a:pt x="924" y="1218"/>
                  </a:lnTo>
                  <a:lnTo>
                    <a:pt x="932" y="1232"/>
                  </a:lnTo>
                  <a:lnTo>
                    <a:pt x="936" y="1236"/>
                  </a:lnTo>
                  <a:lnTo>
                    <a:pt x="938" y="1244"/>
                  </a:lnTo>
                  <a:close/>
                  <a:moveTo>
                    <a:pt x="1094" y="1156"/>
                  </a:moveTo>
                  <a:lnTo>
                    <a:pt x="1094" y="1156"/>
                  </a:lnTo>
                  <a:lnTo>
                    <a:pt x="1078" y="1156"/>
                  </a:lnTo>
                  <a:lnTo>
                    <a:pt x="1074" y="1156"/>
                  </a:lnTo>
                  <a:lnTo>
                    <a:pt x="1068" y="1156"/>
                  </a:lnTo>
                  <a:lnTo>
                    <a:pt x="1062" y="1160"/>
                  </a:lnTo>
                  <a:lnTo>
                    <a:pt x="1058" y="1166"/>
                  </a:lnTo>
                  <a:lnTo>
                    <a:pt x="1058" y="1172"/>
                  </a:lnTo>
                  <a:lnTo>
                    <a:pt x="1064" y="1196"/>
                  </a:lnTo>
                  <a:lnTo>
                    <a:pt x="1068" y="1204"/>
                  </a:lnTo>
                  <a:lnTo>
                    <a:pt x="1072" y="1210"/>
                  </a:lnTo>
                  <a:lnTo>
                    <a:pt x="1080" y="1218"/>
                  </a:lnTo>
                  <a:lnTo>
                    <a:pt x="1084" y="1224"/>
                  </a:lnTo>
                  <a:lnTo>
                    <a:pt x="1086" y="1232"/>
                  </a:lnTo>
                  <a:lnTo>
                    <a:pt x="1086" y="1256"/>
                  </a:lnTo>
                  <a:lnTo>
                    <a:pt x="1086" y="1264"/>
                  </a:lnTo>
                  <a:lnTo>
                    <a:pt x="1080" y="1266"/>
                  </a:lnTo>
                  <a:lnTo>
                    <a:pt x="1020" y="1278"/>
                  </a:lnTo>
                  <a:lnTo>
                    <a:pt x="1014" y="1278"/>
                  </a:lnTo>
                  <a:lnTo>
                    <a:pt x="1010" y="1276"/>
                  </a:lnTo>
                  <a:lnTo>
                    <a:pt x="1006" y="1274"/>
                  </a:lnTo>
                  <a:lnTo>
                    <a:pt x="1002" y="1278"/>
                  </a:lnTo>
                  <a:lnTo>
                    <a:pt x="998" y="1280"/>
                  </a:lnTo>
                  <a:lnTo>
                    <a:pt x="990" y="1282"/>
                  </a:lnTo>
                  <a:lnTo>
                    <a:pt x="982" y="1284"/>
                  </a:lnTo>
                  <a:lnTo>
                    <a:pt x="976" y="1284"/>
                  </a:lnTo>
                  <a:lnTo>
                    <a:pt x="972" y="1284"/>
                  </a:lnTo>
                  <a:lnTo>
                    <a:pt x="962" y="1278"/>
                  </a:lnTo>
                  <a:lnTo>
                    <a:pt x="958" y="1272"/>
                  </a:lnTo>
                  <a:lnTo>
                    <a:pt x="954" y="1268"/>
                  </a:lnTo>
                  <a:lnTo>
                    <a:pt x="954" y="1266"/>
                  </a:lnTo>
                  <a:lnTo>
                    <a:pt x="954" y="1264"/>
                  </a:lnTo>
                  <a:lnTo>
                    <a:pt x="960" y="1264"/>
                  </a:lnTo>
                  <a:lnTo>
                    <a:pt x="968" y="1262"/>
                  </a:lnTo>
                  <a:lnTo>
                    <a:pt x="976" y="1260"/>
                  </a:lnTo>
                  <a:lnTo>
                    <a:pt x="980" y="1256"/>
                  </a:lnTo>
                  <a:lnTo>
                    <a:pt x="986" y="1256"/>
                  </a:lnTo>
                  <a:lnTo>
                    <a:pt x="992" y="1258"/>
                  </a:lnTo>
                  <a:lnTo>
                    <a:pt x="996" y="1264"/>
                  </a:lnTo>
                  <a:lnTo>
                    <a:pt x="998" y="1268"/>
                  </a:lnTo>
                  <a:lnTo>
                    <a:pt x="998" y="1270"/>
                  </a:lnTo>
                  <a:lnTo>
                    <a:pt x="1002" y="1266"/>
                  </a:lnTo>
                  <a:lnTo>
                    <a:pt x="1004" y="1260"/>
                  </a:lnTo>
                  <a:lnTo>
                    <a:pt x="1012" y="1248"/>
                  </a:lnTo>
                  <a:lnTo>
                    <a:pt x="1022" y="1240"/>
                  </a:lnTo>
                  <a:lnTo>
                    <a:pt x="1024" y="1234"/>
                  </a:lnTo>
                  <a:lnTo>
                    <a:pt x="1024" y="1226"/>
                  </a:lnTo>
                  <a:lnTo>
                    <a:pt x="1010" y="1202"/>
                  </a:lnTo>
                  <a:lnTo>
                    <a:pt x="1002" y="1188"/>
                  </a:lnTo>
                  <a:lnTo>
                    <a:pt x="974" y="1152"/>
                  </a:lnTo>
                  <a:lnTo>
                    <a:pt x="970" y="1146"/>
                  </a:lnTo>
                  <a:lnTo>
                    <a:pt x="972" y="1138"/>
                  </a:lnTo>
                  <a:lnTo>
                    <a:pt x="984" y="1122"/>
                  </a:lnTo>
                  <a:lnTo>
                    <a:pt x="988" y="1118"/>
                  </a:lnTo>
                  <a:lnTo>
                    <a:pt x="994" y="1112"/>
                  </a:lnTo>
                  <a:lnTo>
                    <a:pt x="1000" y="1110"/>
                  </a:lnTo>
                  <a:lnTo>
                    <a:pt x="1006" y="1108"/>
                  </a:lnTo>
                  <a:lnTo>
                    <a:pt x="1012" y="1112"/>
                  </a:lnTo>
                  <a:lnTo>
                    <a:pt x="1018" y="1114"/>
                  </a:lnTo>
                  <a:lnTo>
                    <a:pt x="1026" y="1116"/>
                  </a:lnTo>
                  <a:lnTo>
                    <a:pt x="1048" y="1116"/>
                  </a:lnTo>
                  <a:lnTo>
                    <a:pt x="1064" y="1116"/>
                  </a:lnTo>
                  <a:lnTo>
                    <a:pt x="1078" y="1116"/>
                  </a:lnTo>
                  <a:lnTo>
                    <a:pt x="1084" y="1118"/>
                  </a:lnTo>
                  <a:lnTo>
                    <a:pt x="1090" y="1122"/>
                  </a:lnTo>
                  <a:lnTo>
                    <a:pt x="1110" y="1148"/>
                  </a:lnTo>
                  <a:lnTo>
                    <a:pt x="1112" y="1152"/>
                  </a:lnTo>
                  <a:lnTo>
                    <a:pt x="1112" y="1154"/>
                  </a:lnTo>
                  <a:lnTo>
                    <a:pt x="1110" y="1154"/>
                  </a:lnTo>
                  <a:lnTo>
                    <a:pt x="1108" y="1156"/>
                  </a:lnTo>
                  <a:lnTo>
                    <a:pt x="1094" y="1156"/>
                  </a:lnTo>
                  <a:close/>
                  <a:moveTo>
                    <a:pt x="1098" y="350"/>
                  </a:moveTo>
                  <a:lnTo>
                    <a:pt x="1098" y="350"/>
                  </a:lnTo>
                  <a:lnTo>
                    <a:pt x="1102" y="354"/>
                  </a:lnTo>
                  <a:lnTo>
                    <a:pt x="1106" y="358"/>
                  </a:lnTo>
                  <a:lnTo>
                    <a:pt x="1108" y="362"/>
                  </a:lnTo>
                  <a:lnTo>
                    <a:pt x="1112" y="366"/>
                  </a:lnTo>
                  <a:lnTo>
                    <a:pt x="1118" y="368"/>
                  </a:lnTo>
                  <a:lnTo>
                    <a:pt x="1124" y="372"/>
                  </a:lnTo>
                  <a:lnTo>
                    <a:pt x="1132" y="372"/>
                  </a:lnTo>
                  <a:lnTo>
                    <a:pt x="1156" y="372"/>
                  </a:lnTo>
                  <a:lnTo>
                    <a:pt x="1158" y="372"/>
                  </a:lnTo>
                  <a:lnTo>
                    <a:pt x="1160" y="370"/>
                  </a:lnTo>
                  <a:lnTo>
                    <a:pt x="1160" y="368"/>
                  </a:lnTo>
                  <a:lnTo>
                    <a:pt x="1158" y="366"/>
                  </a:lnTo>
                  <a:lnTo>
                    <a:pt x="1150" y="358"/>
                  </a:lnTo>
                  <a:lnTo>
                    <a:pt x="1146" y="352"/>
                  </a:lnTo>
                  <a:lnTo>
                    <a:pt x="1142" y="346"/>
                  </a:lnTo>
                  <a:lnTo>
                    <a:pt x="1128" y="302"/>
                  </a:lnTo>
                  <a:lnTo>
                    <a:pt x="1126" y="294"/>
                  </a:lnTo>
                  <a:lnTo>
                    <a:pt x="1128" y="286"/>
                  </a:lnTo>
                  <a:lnTo>
                    <a:pt x="1140" y="262"/>
                  </a:lnTo>
                  <a:lnTo>
                    <a:pt x="1148" y="248"/>
                  </a:lnTo>
                  <a:lnTo>
                    <a:pt x="1180" y="184"/>
                  </a:lnTo>
                  <a:lnTo>
                    <a:pt x="1184" y="178"/>
                  </a:lnTo>
                  <a:lnTo>
                    <a:pt x="1190" y="172"/>
                  </a:lnTo>
                  <a:lnTo>
                    <a:pt x="1216" y="152"/>
                  </a:lnTo>
                  <a:lnTo>
                    <a:pt x="1226" y="140"/>
                  </a:lnTo>
                  <a:lnTo>
                    <a:pt x="1238" y="124"/>
                  </a:lnTo>
                  <a:lnTo>
                    <a:pt x="1244" y="120"/>
                  </a:lnTo>
                  <a:lnTo>
                    <a:pt x="1250" y="116"/>
                  </a:lnTo>
                  <a:lnTo>
                    <a:pt x="1264" y="110"/>
                  </a:lnTo>
                  <a:lnTo>
                    <a:pt x="1278" y="104"/>
                  </a:lnTo>
                  <a:lnTo>
                    <a:pt x="1294" y="94"/>
                  </a:lnTo>
                  <a:lnTo>
                    <a:pt x="1306" y="84"/>
                  </a:lnTo>
                  <a:lnTo>
                    <a:pt x="1334" y="56"/>
                  </a:lnTo>
                  <a:lnTo>
                    <a:pt x="1338" y="50"/>
                  </a:lnTo>
                  <a:lnTo>
                    <a:pt x="1336" y="42"/>
                  </a:lnTo>
                  <a:lnTo>
                    <a:pt x="1334" y="38"/>
                  </a:lnTo>
                  <a:lnTo>
                    <a:pt x="1328" y="32"/>
                  </a:lnTo>
                  <a:lnTo>
                    <a:pt x="1322" y="30"/>
                  </a:lnTo>
                  <a:lnTo>
                    <a:pt x="1308" y="30"/>
                  </a:lnTo>
                  <a:lnTo>
                    <a:pt x="1302" y="32"/>
                  </a:lnTo>
                  <a:lnTo>
                    <a:pt x="1296" y="36"/>
                  </a:lnTo>
                  <a:lnTo>
                    <a:pt x="1286" y="44"/>
                  </a:lnTo>
                  <a:lnTo>
                    <a:pt x="1276" y="54"/>
                  </a:lnTo>
                  <a:lnTo>
                    <a:pt x="1270" y="58"/>
                  </a:lnTo>
                  <a:lnTo>
                    <a:pt x="1264" y="62"/>
                  </a:lnTo>
                  <a:lnTo>
                    <a:pt x="1250" y="66"/>
                  </a:lnTo>
                  <a:lnTo>
                    <a:pt x="1234" y="70"/>
                  </a:lnTo>
                  <a:lnTo>
                    <a:pt x="1220" y="70"/>
                  </a:lnTo>
                  <a:lnTo>
                    <a:pt x="1214" y="70"/>
                  </a:lnTo>
                  <a:lnTo>
                    <a:pt x="1208" y="74"/>
                  </a:lnTo>
                  <a:lnTo>
                    <a:pt x="1198" y="84"/>
                  </a:lnTo>
                  <a:lnTo>
                    <a:pt x="1188" y="94"/>
                  </a:lnTo>
                  <a:lnTo>
                    <a:pt x="1160" y="122"/>
                  </a:lnTo>
                  <a:lnTo>
                    <a:pt x="1146" y="132"/>
                  </a:lnTo>
                  <a:lnTo>
                    <a:pt x="1142" y="134"/>
                  </a:lnTo>
                  <a:lnTo>
                    <a:pt x="1136" y="140"/>
                  </a:lnTo>
                  <a:lnTo>
                    <a:pt x="1134" y="146"/>
                  </a:lnTo>
                  <a:lnTo>
                    <a:pt x="1134" y="160"/>
                  </a:lnTo>
                  <a:lnTo>
                    <a:pt x="1132" y="166"/>
                  </a:lnTo>
                  <a:lnTo>
                    <a:pt x="1128" y="170"/>
                  </a:lnTo>
                  <a:lnTo>
                    <a:pt x="1122" y="174"/>
                  </a:lnTo>
                  <a:lnTo>
                    <a:pt x="1116" y="178"/>
                  </a:lnTo>
                  <a:lnTo>
                    <a:pt x="1110" y="184"/>
                  </a:lnTo>
                  <a:lnTo>
                    <a:pt x="1100" y="200"/>
                  </a:lnTo>
                  <a:lnTo>
                    <a:pt x="1096" y="206"/>
                  </a:lnTo>
                  <a:lnTo>
                    <a:pt x="1096" y="214"/>
                  </a:lnTo>
                  <a:lnTo>
                    <a:pt x="1096" y="218"/>
                  </a:lnTo>
                  <a:lnTo>
                    <a:pt x="1094" y="226"/>
                  </a:lnTo>
                  <a:lnTo>
                    <a:pt x="1092" y="232"/>
                  </a:lnTo>
                  <a:lnTo>
                    <a:pt x="1090" y="238"/>
                  </a:lnTo>
                  <a:lnTo>
                    <a:pt x="1082" y="252"/>
                  </a:lnTo>
                  <a:lnTo>
                    <a:pt x="1080" y="258"/>
                  </a:lnTo>
                  <a:lnTo>
                    <a:pt x="1076" y="266"/>
                  </a:lnTo>
                  <a:lnTo>
                    <a:pt x="1076" y="272"/>
                  </a:lnTo>
                  <a:lnTo>
                    <a:pt x="1076" y="286"/>
                  </a:lnTo>
                  <a:lnTo>
                    <a:pt x="1074" y="294"/>
                  </a:lnTo>
                  <a:lnTo>
                    <a:pt x="1072" y="302"/>
                  </a:lnTo>
                  <a:lnTo>
                    <a:pt x="1070" y="306"/>
                  </a:lnTo>
                  <a:lnTo>
                    <a:pt x="1068" y="314"/>
                  </a:lnTo>
                  <a:lnTo>
                    <a:pt x="1068" y="322"/>
                  </a:lnTo>
                  <a:lnTo>
                    <a:pt x="1074" y="336"/>
                  </a:lnTo>
                  <a:lnTo>
                    <a:pt x="1078" y="342"/>
                  </a:lnTo>
                  <a:lnTo>
                    <a:pt x="1084" y="346"/>
                  </a:lnTo>
                  <a:lnTo>
                    <a:pt x="1098" y="350"/>
                  </a:lnTo>
                  <a:close/>
                  <a:moveTo>
                    <a:pt x="148" y="1002"/>
                  </a:moveTo>
                  <a:lnTo>
                    <a:pt x="148" y="1002"/>
                  </a:lnTo>
                  <a:lnTo>
                    <a:pt x="162" y="994"/>
                  </a:lnTo>
                  <a:lnTo>
                    <a:pt x="168" y="992"/>
                  </a:lnTo>
                  <a:lnTo>
                    <a:pt x="172" y="988"/>
                  </a:lnTo>
                  <a:lnTo>
                    <a:pt x="174" y="980"/>
                  </a:lnTo>
                  <a:lnTo>
                    <a:pt x="174" y="978"/>
                  </a:lnTo>
                  <a:lnTo>
                    <a:pt x="174" y="962"/>
                  </a:lnTo>
                  <a:lnTo>
                    <a:pt x="174" y="958"/>
                  </a:lnTo>
                  <a:lnTo>
                    <a:pt x="176" y="950"/>
                  </a:lnTo>
                  <a:lnTo>
                    <a:pt x="180" y="944"/>
                  </a:lnTo>
                  <a:lnTo>
                    <a:pt x="182" y="940"/>
                  </a:lnTo>
                  <a:lnTo>
                    <a:pt x="180" y="936"/>
                  </a:lnTo>
                  <a:lnTo>
                    <a:pt x="176" y="930"/>
                  </a:lnTo>
                  <a:lnTo>
                    <a:pt x="174" y="926"/>
                  </a:lnTo>
                  <a:lnTo>
                    <a:pt x="172" y="922"/>
                  </a:lnTo>
                  <a:lnTo>
                    <a:pt x="170" y="920"/>
                  </a:lnTo>
                  <a:lnTo>
                    <a:pt x="164" y="920"/>
                  </a:lnTo>
                  <a:lnTo>
                    <a:pt x="160" y="916"/>
                  </a:lnTo>
                  <a:lnTo>
                    <a:pt x="158" y="914"/>
                  </a:lnTo>
                  <a:lnTo>
                    <a:pt x="154" y="914"/>
                  </a:lnTo>
                  <a:lnTo>
                    <a:pt x="148" y="916"/>
                  </a:lnTo>
                  <a:lnTo>
                    <a:pt x="140" y="924"/>
                  </a:lnTo>
                  <a:lnTo>
                    <a:pt x="136" y="930"/>
                  </a:lnTo>
                  <a:lnTo>
                    <a:pt x="134" y="936"/>
                  </a:lnTo>
                  <a:lnTo>
                    <a:pt x="132" y="938"/>
                  </a:lnTo>
                  <a:lnTo>
                    <a:pt x="126" y="940"/>
                  </a:lnTo>
                  <a:lnTo>
                    <a:pt x="124" y="940"/>
                  </a:lnTo>
                  <a:lnTo>
                    <a:pt x="120" y="940"/>
                  </a:lnTo>
                  <a:lnTo>
                    <a:pt x="118" y="942"/>
                  </a:lnTo>
                  <a:lnTo>
                    <a:pt x="118" y="944"/>
                  </a:lnTo>
                  <a:lnTo>
                    <a:pt x="118" y="948"/>
                  </a:lnTo>
                  <a:lnTo>
                    <a:pt x="122" y="952"/>
                  </a:lnTo>
                  <a:lnTo>
                    <a:pt x="122" y="958"/>
                  </a:lnTo>
                  <a:lnTo>
                    <a:pt x="120" y="960"/>
                  </a:lnTo>
                  <a:lnTo>
                    <a:pt x="118" y="960"/>
                  </a:lnTo>
                  <a:lnTo>
                    <a:pt x="120" y="964"/>
                  </a:lnTo>
                  <a:lnTo>
                    <a:pt x="124" y="970"/>
                  </a:lnTo>
                  <a:lnTo>
                    <a:pt x="124" y="974"/>
                  </a:lnTo>
                  <a:lnTo>
                    <a:pt x="124" y="978"/>
                  </a:lnTo>
                  <a:lnTo>
                    <a:pt x="120" y="984"/>
                  </a:lnTo>
                  <a:lnTo>
                    <a:pt x="116" y="988"/>
                  </a:lnTo>
                  <a:lnTo>
                    <a:pt x="116" y="994"/>
                  </a:lnTo>
                  <a:lnTo>
                    <a:pt x="116" y="1004"/>
                  </a:lnTo>
                  <a:lnTo>
                    <a:pt x="116" y="1008"/>
                  </a:lnTo>
                  <a:lnTo>
                    <a:pt x="120" y="1012"/>
                  </a:lnTo>
                  <a:lnTo>
                    <a:pt x="126" y="1016"/>
                  </a:lnTo>
                  <a:lnTo>
                    <a:pt x="132" y="1014"/>
                  </a:lnTo>
                  <a:lnTo>
                    <a:pt x="148" y="1002"/>
                  </a:lnTo>
                  <a:close/>
                  <a:moveTo>
                    <a:pt x="1506" y="1812"/>
                  </a:moveTo>
                  <a:lnTo>
                    <a:pt x="1506" y="1812"/>
                  </a:lnTo>
                  <a:lnTo>
                    <a:pt x="1506" y="1828"/>
                  </a:lnTo>
                  <a:lnTo>
                    <a:pt x="1506" y="1832"/>
                  </a:lnTo>
                  <a:lnTo>
                    <a:pt x="1508" y="1836"/>
                  </a:lnTo>
                  <a:lnTo>
                    <a:pt x="1510" y="1838"/>
                  </a:lnTo>
                  <a:lnTo>
                    <a:pt x="1512" y="1840"/>
                  </a:lnTo>
                  <a:lnTo>
                    <a:pt x="1514" y="1840"/>
                  </a:lnTo>
                  <a:lnTo>
                    <a:pt x="1518" y="1840"/>
                  </a:lnTo>
                  <a:lnTo>
                    <a:pt x="1524" y="1838"/>
                  </a:lnTo>
                  <a:lnTo>
                    <a:pt x="1530" y="1834"/>
                  </a:lnTo>
                  <a:lnTo>
                    <a:pt x="1532" y="1828"/>
                  </a:lnTo>
                  <a:lnTo>
                    <a:pt x="1532" y="1822"/>
                  </a:lnTo>
                  <a:lnTo>
                    <a:pt x="1530" y="1816"/>
                  </a:lnTo>
                  <a:lnTo>
                    <a:pt x="1514" y="1806"/>
                  </a:lnTo>
                  <a:lnTo>
                    <a:pt x="1510" y="1804"/>
                  </a:lnTo>
                  <a:lnTo>
                    <a:pt x="1508" y="1804"/>
                  </a:lnTo>
                  <a:lnTo>
                    <a:pt x="1508" y="1806"/>
                  </a:lnTo>
                  <a:lnTo>
                    <a:pt x="1506" y="1808"/>
                  </a:lnTo>
                  <a:lnTo>
                    <a:pt x="1506" y="1812"/>
                  </a:lnTo>
                  <a:close/>
                  <a:moveTo>
                    <a:pt x="1910" y="1994"/>
                  </a:moveTo>
                  <a:lnTo>
                    <a:pt x="1910" y="1994"/>
                  </a:lnTo>
                  <a:lnTo>
                    <a:pt x="1904" y="1980"/>
                  </a:lnTo>
                  <a:lnTo>
                    <a:pt x="1892" y="1964"/>
                  </a:lnTo>
                  <a:lnTo>
                    <a:pt x="1884" y="1952"/>
                  </a:lnTo>
                  <a:lnTo>
                    <a:pt x="1872" y="1942"/>
                  </a:lnTo>
                  <a:lnTo>
                    <a:pt x="1846" y="1914"/>
                  </a:lnTo>
                  <a:lnTo>
                    <a:pt x="1832" y="1904"/>
                  </a:lnTo>
                  <a:lnTo>
                    <a:pt x="1826" y="1902"/>
                  </a:lnTo>
                  <a:lnTo>
                    <a:pt x="1812" y="1896"/>
                  </a:lnTo>
                  <a:lnTo>
                    <a:pt x="1808" y="1892"/>
                  </a:lnTo>
                  <a:lnTo>
                    <a:pt x="1800" y="1888"/>
                  </a:lnTo>
                  <a:lnTo>
                    <a:pt x="1796" y="1882"/>
                  </a:lnTo>
                  <a:lnTo>
                    <a:pt x="1784" y="1866"/>
                  </a:lnTo>
                  <a:lnTo>
                    <a:pt x="1780" y="1862"/>
                  </a:lnTo>
                  <a:lnTo>
                    <a:pt x="1772" y="1860"/>
                  </a:lnTo>
                  <a:lnTo>
                    <a:pt x="1768" y="1860"/>
                  </a:lnTo>
                  <a:lnTo>
                    <a:pt x="1766" y="1860"/>
                  </a:lnTo>
                  <a:lnTo>
                    <a:pt x="1764" y="1862"/>
                  </a:lnTo>
                  <a:lnTo>
                    <a:pt x="1762" y="1864"/>
                  </a:lnTo>
                  <a:lnTo>
                    <a:pt x="1762" y="1868"/>
                  </a:lnTo>
                  <a:lnTo>
                    <a:pt x="1768" y="1890"/>
                  </a:lnTo>
                  <a:lnTo>
                    <a:pt x="1772" y="1898"/>
                  </a:lnTo>
                  <a:lnTo>
                    <a:pt x="1776" y="1904"/>
                  </a:lnTo>
                  <a:lnTo>
                    <a:pt x="1784" y="1912"/>
                  </a:lnTo>
                  <a:lnTo>
                    <a:pt x="1796" y="1924"/>
                  </a:lnTo>
                  <a:lnTo>
                    <a:pt x="1804" y="1932"/>
                  </a:lnTo>
                  <a:lnTo>
                    <a:pt x="1814" y="1942"/>
                  </a:lnTo>
                  <a:lnTo>
                    <a:pt x="1824" y="1956"/>
                  </a:lnTo>
                  <a:lnTo>
                    <a:pt x="1836" y="1980"/>
                  </a:lnTo>
                  <a:lnTo>
                    <a:pt x="1840" y="1986"/>
                  </a:lnTo>
                  <a:lnTo>
                    <a:pt x="1846" y="1992"/>
                  </a:lnTo>
                  <a:lnTo>
                    <a:pt x="1862" y="2002"/>
                  </a:lnTo>
                  <a:lnTo>
                    <a:pt x="1876" y="2012"/>
                  </a:lnTo>
                  <a:lnTo>
                    <a:pt x="1892" y="2022"/>
                  </a:lnTo>
                  <a:lnTo>
                    <a:pt x="1898" y="2024"/>
                  </a:lnTo>
                  <a:lnTo>
                    <a:pt x="1906" y="2022"/>
                  </a:lnTo>
                  <a:lnTo>
                    <a:pt x="1910" y="2020"/>
                  </a:lnTo>
                  <a:lnTo>
                    <a:pt x="1916" y="2016"/>
                  </a:lnTo>
                  <a:lnTo>
                    <a:pt x="1916" y="2008"/>
                  </a:lnTo>
                  <a:lnTo>
                    <a:pt x="1910" y="1994"/>
                  </a:lnTo>
                  <a:close/>
                  <a:moveTo>
                    <a:pt x="1004" y="2148"/>
                  </a:moveTo>
                  <a:lnTo>
                    <a:pt x="1004" y="2148"/>
                  </a:lnTo>
                  <a:lnTo>
                    <a:pt x="998" y="2154"/>
                  </a:lnTo>
                  <a:lnTo>
                    <a:pt x="994" y="2160"/>
                  </a:lnTo>
                  <a:lnTo>
                    <a:pt x="982" y="2176"/>
                  </a:lnTo>
                  <a:lnTo>
                    <a:pt x="978" y="2182"/>
                  </a:lnTo>
                  <a:lnTo>
                    <a:pt x="970" y="2186"/>
                  </a:lnTo>
                  <a:lnTo>
                    <a:pt x="966" y="2188"/>
                  </a:lnTo>
                  <a:lnTo>
                    <a:pt x="954" y="2198"/>
                  </a:lnTo>
                  <a:lnTo>
                    <a:pt x="950" y="2202"/>
                  </a:lnTo>
                  <a:lnTo>
                    <a:pt x="950" y="2210"/>
                  </a:lnTo>
                  <a:lnTo>
                    <a:pt x="956" y="2234"/>
                  </a:lnTo>
                  <a:lnTo>
                    <a:pt x="958" y="2242"/>
                  </a:lnTo>
                  <a:lnTo>
                    <a:pt x="956" y="2248"/>
                  </a:lnTo>
                  <a:lnTo>
                    <a:pt x="952" y="2264"/>
                  </a:lnTo>
                  <a:lnTo>
                    <a:pt x="946" y="2278"/>
                  </a:lnTo>
                  <a:lnTo>
                    <a:pt x="942" y="2284"/>
                  </a:lnTo>
                  <a:lnTo>
                    <a:pt x="940" y="2290"/>
                  </a:lnTo>
                  <a:lnTo>
                    <a:pt x="938" y="2298"/>
                  </a:lnTo>
                  <a:lnTo>
                    <a:pt x="938" y="2302"/>
                  </a:lnTo>
                  <a:lnTo>
                    <a:pt x="938" y="2318"/>
                  </a:lnTo>
                  <a:lnTo>
                    <a:pt x="938" y="2322"/>
                  </a:lnTo>
                  <a:lnTo>
                    <a:pt x="940" y="2328"/>
                  </a:lnTo>
                  <a:lnTo>
                    <a:pt x="944" y="2336"/>
                  </a:lnTo>
                  <a:lnTo>
                    <a:pt x="952" y="2344"/>
                  </a:lnTo>
                  <a:lnTo>
                    <a:pt x="958" y="2346"/>
                  </a:lnTo>
                  <a:lnTo>
                    <a:pt x="966" y="2346"/>
                  </a:lnTo>
                  <a:lnTo>
                    <a:pt x="970" y="2342"/>
                  </a:lnTo>
                  <a:lnTo>
                    <a:pt x="978" y="2340"/>
                  </a:lnTo>
                  <a:lnTo>
                    <a:pt x="986" y="2340"/>
                  </a:lnTo>
                  <a:lnTo>
                    <a:pt x="990" y="2340"/>
                  </a:lnTo>
                  <a:lnTo>
                    <a:pt x="996" y="2338"/>
                  </a:lnTo>
                  <a:lnTo>
                    <a:pt x="1000" y="2332"/>
                  </a:lnTo>
                  <a:lnTo>
                    <a:pt x="1034" y="2210"/>
                  </a:lnTo>
                  <a:lnTo>
                    <a:pt x="1036" y="2194"/>
                  </a:lnTo>
                  <a:lnTo>
                    <a:pt x="1036" y="2190"/>
                  </a:lnTo>
                  <a:lnTo>
                    <a:pt x="1036" y="2174"/>
                  </a:lnTo>
                  <a:lnTo>
                    <a:pt x="1036" y="2160"/>
                  </a:lnTo>
                  <a:lnTo>
                    <a:pt x="1036" y="2154"/>
                  </a:lnTo>
                  <a:lnTo>
                    <a:pt x="1034" y="2146"/>
                  </a:lnTo>
                  <a:lnTo>
                    <a:pt x="1030" y="2140"/>
                  </a:lnTo>
                  <a:lnTo>
                    <a:pt x="1028" y="2138"/>
                  </a:lnTo>
                  <a:lnTo>
                    <a:pt x="1026" y="2136"/>
                  </a:lnTo>
                  <a:lnTo>
                    <a:pt x="1024" y="2136"/>
                  </a:lnTo>
                  <a:lnTo>
                    <a:pt x="1020" y="2138"/>
                  </a:lnTo>
                  <a:lnTo>
                    <a:pt x="1004" y="2148"/>
                  </a:lnTo>
                  <a:close/>
                  <a:moveTo>
                    <a:pt x="184" y="906"/>
                  </a:moveTo>
                  <a:lnTo>
                    <a:pt x="184" y="906"/>
                  </a:lnTo>
                  <a:lnTo>
                    <a:pt x="186" y="902"/>
                  </a:lnTo>
                  <a:lnTo>
                    <a:pt x="188" y="900"/>
                  </a:lnTo>
                  <a:lnTo>
                    <a:pt x="192" y="902"/>
                  </a:lnTo>
                  <a:lnTo>
                    <a:pt x="194" y="908"/>
                  </a:lnTo>
                  <a:lnTo>
                    <a:pt x="194" y="912"/>
                  </a:lnTo>
                  <a:lnTo>
                    <a:pt x="194" y="926"/>
                  </a:lnTo>
                  <a:lnTo>
                    <a:pt x="194" y="928"/>
                  </a:lnTo>
                  <a:lnTo>
                    <a:pt x="198" y="930"/>
                  </a:lnTo>
                  <a:lnTo>
                    <a:pt x="208" y="930"/>
                  </a:lnTo>
                  <a:lnTo>
                    <a:pt x="212" y="932"/>
                  </a:lnTo>
                  <a:lnTo>
                    <a:pt x="218" y="934"/>
                  </a:lnTo>
                  <a:lnTo>
                    <a:pt x="222" y="940"/>
                  </a:lnTo>
                  <a:lnTo>
                    <a:pt x="222" y="944"/>
                  </a:lnTo>
                  <a:lnTo>
                    <a:pt x="222" y="954"/>
                  </a:lnTo>
                  <a:lnTo>
                    <a:pt x="220" y="960"/>
                  </a:lnTo>
                  <a:lnTo>
                    <a:pt x="216" y="964"/>
                  </a:lnTo>
                  <a:lnTo>
                    <a:pt x="210" y="966"/>
                  </a:lnTo>
                  <a:lnTo>
                    <a:pt x="198" y="974"/>
                  </a:lnTo>
                  <a:lnTo>
                    <a:pt x="196" y="978"/>
                  </a:lnTo>
                  <a:lnTo>
                    <a:pt x="198" y="980"/>
                  </a:lnTo>
                  <a:lnTo>
                    <a:pt x="202" y="980"/>
                  </a:lnTo>
                  <a:lnTo>
                    <a:pt x="204" y="984"/>
                  </a:lnTo>
                  <a:lnTo>
                    <a:pt x="202" y="988"/>
                  </a:lnTo>
                  <a:lnTo>
                    <a:pt x="198" y="994"/>
                  </a:lnTo>
                  <a:lnTo>
                    <a:pt x="194" y="998"/>
                  </a:lnTo>
                  <a:lnTo>
                    <a:pt x="194" y="1004"/>
                  </a:lnTo>
                  <a:lnTo>
                    <a:pt x="194" y="1008"/>
                  </a:lnTo>
                  <a:lnTo>
                    <a:pt x="198" y="1008"/>
                  </a:lnTo>
                  <a:lnTo>
                    <a:pt x="208" y="1008"/>
                  </a:lnTo>
                  <a:lnTo>
                    <a:pt x="210" y="1010"/>
                  </a:lnTo>
                  <a:lnTo>
                    <a:pt x="210" y="1016"/>
                  </a:lnTo>
                  <a:lnTo>
                    <a:pt x="206" y="1020"/>
                  </a:lnTo>
                  <a:lnTo>
                    <a:pt x="202" y="1028"/>
                  </a:lnTo>
                  <a:lnTo>
                    <a:pt x="196" y="1032"/>
                  </a:lnTo>
                  <a:lnTo>
                    <a:pt x="190" y="1034"/>
                  </a:lnTo>
                  <a:lnTo>
                    <a:pt x="186" y="1038"/>
                  </a:lnTo>
                  <a:lnTo>
                    <a:pt x="184" y="1042"/>
                  </a:lnTo>
                  <a:lnTo>
                    <a:pt x="186" y="1046"/>
                  </a:lnTo>
                  <a:lnTo>
                    <a:pt x="188" y="1048"/>
                  </a:lnTo>
                  <a:lnTo>
                    <a:pt x="192" y="1046"/>
                  </a:lnTo>
                  <a:lnTo>
                    <a:pt x="194" y="1042"/>
                  </a:lnTo>
                  <a:lnTo>
                    <a:pt x="194" y="1040"/>
                  </a:lnTo>
                  <a:lnTo>
                    <a:pt x="198" y="1038"/>
                  </a:lnTo>
                  <a:lnTo>
                    <a:pt x="208" y="1038"/>
                  </a:lnTo>
                  <a:lnTo>
                    <a:pt x="212" y="1036"/>
                  </a:lnTo>
                  <a:lnTo>
                    <a:pt x="218" y="1034"/>
                  </a:lnTo>
                  <a:lnTo>
                    <a:pt x="222" y="1032"/>
                  </a:lnTo>
                  <a:lnTo>
                    <a:pt x="228" y="1034"/>
                  </a:lnTo>
                  <a:lnTo>
                    <a:pt x="232" y="1036"/>
                  </a:lnTo>
                  <a:lnTo>
                    <a:pt x="238" y="1034"/>
                  </a:lnTo>
                  <a:lnTo>
                    <a:pt x="244" y="1030"/>
                  </a:lnTo>
                  <a:lnTo>
                    <a:pt x="250" y="1028"/>
                  </a:lnTo>
                  <a:lnTo>
                    <a:pt x="254" y="1028"/>
                  </a:lnTo>
                  <a:lnTo>
                    <a:pt x="262" y="1028"/>
                  </a:lnTo>
                  <a:lnTo>
                    <a:pt x="268" y="1024"/>
                  </a:lnTo>
                  <a:lnTo>
                    <a:pt x="274" y="1022"/>
                  </a:lnTo>
                  <a:lnTo>
                    <a:pt x="280" y="1018"/>
                  </a:lnTo>
                  <a:lnTo>
                    <a:pt x="282" y="1014"/>
                  </a:lnTo>
                  <a:lnTo>
                    <a:pt x="282" y="1008"/>
                  </a:lnTo>
                  <a:lnTo>
                    <a:pt x="286" y="1004"/>
                  </a:lnTo>
                  <a:lnTo>
                    <a:pt x="290" y="998"/>
                  </a:lnTo>
                  <a:lnTo>
                    <a:pt x="290" y="990"/>
                  </a:lnTo>
                  <a:lnTo>
                    <a:pt x="290" y="988"/>
                  </a:lnTo>
                  <a:lnTo>
                    <a:pt x="290" y="982"/>
                  </a:lnTo>
                  <a:lnTo>
                    <a:pt x="286" y="980"/>
                  </a:lnTo>
                  <a:lnTo>
                    <a:pt x="276" y="980"/>
                  </a:lnTo>
                  <a:lnTo>
                    <a:pt x="272" y="978"/>
                  </a:lnTo>
                  <a:lnTo>
                    <a:pt x="272" y="974"/>
                  </a:lnTo>
                  <a:lnTo>
                    <a:pt x="272" y="964"/>
                  </a:lnTo>
                  <a:lnTo>
                    <a:pt x="268" y="952"/>
                  </a:lnTo>
                  <a:lnTo>
                    <a:pt x="266" y="946"/>
                  </a:lnTo>
                  <a:lnTo>
                    <a:pt x="256" y="934"/>
                  </a:lnTo>
                  <a:lnTo>
                    <a:pt x="252" y="930"/>
                  </a:lnTo>
                  <a:lnTo>
                    <a:pt x="250" y="922"/>
                  </a:lnTo>
                  <a:lnTo>
                    <a:pt x="244" y="908"/>
                  </a:lnTo>
                  <a:lnTo>
                    <a:pt x="242" y="902"/>
                  </a:lnTo>
                  <a:lnTo>
                    <a:pt x="238" y="900"/>
                  </a:lnTo>
                  <a:lnTo>
                    <a:pt x="232" y="900"/>
                  </a:lnTo>
                  <a:lnTo>
                    <a:pt x="228" y="896"/>
                  </a:lnTo>
                  <a:lnTo>
                    <a:pt x="226" y="890"/>
                  </a:lnTo>
                  <a:lnTo>
                    <a:pt x="226" y="884"/>
                  </a:lnTo>
                  <a:lnTo>
                    <a:pt x="228" y="878"/>
                  </a:lnTo>
                  <a:lnTo>
                    <a:pt x="232" y="866"/>
                  </a:lnTo>
                  <a:lnTo>
                    <a:pt x="234" y="862"/>
                  </a:lnTo>
                  <a:lnTo>
                    <a:pt x="238" y="856"/>
                  </a:lnTo>
                  <a:lnTo>
                    <a:pt x="238" y="854"/>
                  </a:lnTo>
                  <a:lnTo>
                    <a:pt x="238" y="852"/>
                  </a:lnTo>
                  <a:lnTo>
                    <a:pt x="236" y="848"/>
                  </a:lnTo>
                  <a:lnTo>
                    <a:pt x="230" y="846"/>
                  </a:lnTo>
                  <a:lnTo>
                    <a:pt x="224" y="844"/>
                  </a:lnTo>
                  <a:lnTo>
                    <a:pt x="218" y="846"/>
                  </a:lnTo>
                  <a:lnTo>
                    <a:pt x="212" y="848"/>
                  </a:lnTo>
                  <a:lnTo>
                    <a:pt x="208" y="846"/>
                  </a:lnTo>
                  <a:lnTo>
                    <a:pt x="206" y="840"/>
                  </a:lnTo>
                  <a:lnTo>
                    <a:pt x="206" y="834"/>
                  </a:lnTo>
                  <a:lnTo>
                    <a:pt x="210" y="830"/>
                  </a:lnTo>
                  <a:lnTo>
                    <a:pt x="210" y="824"/>
                  </a:lnTo>
                  <a:lnTo>
                    <a:pt x="210" y="822"/>
                  </a:lnTo>
                  <a:lnTo>
                    <a:pt x="208" y="822"/>
                  </a:lnTo>
                  <a:lnTo>
                    <a:pt x="198" y="822"/>
                  </a:lnTo>
                  <a:lnTo>
                    <a:pt x="194" y="824"/>
                  </a:lnTo>
                  <a:lnTo>
                    <a:pt x="190" y="830"/>
                  </a:lnTo>
                  <a:lnTo>
                    <a:pt x="188" y="834"/>
                  </a:lnTo>
                  <a:lnTo>
                    <a:pt x="178" y="846"/>
                  </a:lnTo>
                  <a:lnTo>
                    <a:pt x="176" y="852"/>
                  </a:lnTo>
                  <a:lnTo>
                    <a:pt x="174" y="856"/>
                  </a:lnTo>
                  <a:lnTo>
                    <a:pt x="174" y="866"/>
                  </a:lnTo>
                  <a:lnTo>
                    <a:pt x="174" y="876"/>
                  </a:lnTo>
                  <a:lnTo>
                    <a:pt x="174" y="888"/>
                  </a:lnTo>
                  <a:lnTo>
                    <a:pt x="174" y="892"/>
                  </a:lnTo>
                  <a:lnTo>
                    <a:pt x="176" y="900"/>
                  </a:lnTo>
                  <a:lnTo>
                    <a:pt x="178" y="906"/>
                  </a:lnTo>
                  <a:lnTo>
                    <a:pt x="182" y="908"/>
                  </a:lnTo>
                  <a:lnTo>
                    <a:pt x="184" y="906"/>
                  </a:lnTo>
                  <a:close/>
                  <a:moveTo>
                    <a:pt x="3012" y="2570"/>
                  </a:moveTo>
                  <a:lnTo>
                    <a:pt x="3012" y="2570"/>
                  </a:lnTo>
                  <a:lnTo>
                    <a:pt x="3004" y="2572"/>
                  </a:lnTo>
                  <a:lnTo>
                    <a:pt x="2996" y="2570"/>
                  </a:lnTo>
                  <a:lnTo>
                    <a:pt x="2992" y="2568"/>
                  </a:lnTo>
                  <a:lnTo>
                    <a:pt x="2986" y="2562"/>
                  </a:lnTo>
                  <a:lnTo>
                    <a:pt x="2980" y="2556"/>
                  </a:lnTo>
                  <a:lnTo>
                    <a:pt x="2978" y="2552"/>
                  </a:lnTo>
                  <a:lnTo>
                    <a:pt x="2976" y="2544"/>
                  </a:lnTo>
                  <a:lnTo>
                    <a:pt x="2974" y="2536"/>
                  </a:lnTo>
                  <a:lnTo>
                    <a:pt x="2974" y="2532"/>
                  </a:lnTo>
                  <a:lnTo>
                    <a:pt x="2972" y="2526"/>
                  </a:lnTo>
                  <a:lnTo>
                    <a:pt x="2968" y="2522"/>
                  </a:lnTo>
                  <a:lnTo>
                    <a:pt x="2962" y="2518"/>
                  </a:lnTo>
                  <a:lnTo>
                    <a:pt x="2958" y="2518"/>
                  </a:lnTo>
                  <a:lnTo>
                    <a:pt x="2958" y="2522"/>
                  </a:lnTo>
                  <a:lnTo>
                    <a:pt x="2970" y="2548"/>
                  </a:lnTo>
                  <a:lnTo>
                    <a:pt x="2974" y="2554"/>
                  </a:lnTo>
                  <a:lnTo>
                    <a:pt x="2974" y="2562"/>
                  </a:lnTo>
                  <a:lnTo>
                    <a:pt x="2974" y="2566"/>
                  </a:lnTo>
                  <a:lnTo>
                    <a:pt x="2974" y="2574"/>
                  </a:lnTo>
                  <a:lnTo>
                    <a:pt x="2970" y="2580"/>
                  </a:lnTo>
                  <a:lnTo>
                    <a:pt x="2960" y="2596"/>
                  </a:lnTo>
                  <a:lnTo>
                    <a:pt x="2958" y="2600"/>
                  </a:lnTo>
                  <a:lnTo>
                    <a:pt x="2958" y="2602"/>
                  </a:lnTo>
                  <a:lnTo>
                    <a:pt x="2960" y="2604"/>
                  </a:lnTo>
                  <a:lnTo>
                    <a:pt x="2962" y="2606"/>
                  </a:lnTo>
                  <a:lnTo>
                    <a:pt x="2968" y="2610"/>
                  </a:lnTo>
                  <a:lnTo>
                    <a:pt x="2972" y="2614"/>
                  </a:lnTo>
                  <a:lnTo>
                    <a:pt x="2974" y="2620"/>
                  </a:lnTo>
                  <a:lnTo>
                    <a:pt x="2974" y="2624"/>
                  </a:lnTo>
                  <a:lnTo>
                    <a:pt x="2976" y="2632"/>
                  </a:lnTo>
                  <a:lnTo>
                    <a:pt x="2980" y="2638"/>
                  </a:lnTo>
                  <a:lnTo>
                    <a:pt x="2982" y="2638"/>
                  </a:lnTo>
                  <a:lnTo>
                    <a:pt x="2984" y="2638"/>
                  </a:lnTo>
                  <a:lnTo>
                    <a:pt x="2990" y="2636"/>
                  </a:lnTo>
                  <a:lnTo>
                    <a:pt x="2998" y="2628"/>
                  </a:lnTo>
                  <a:lnTo>
                    <a:pt x="3002" y="2622"/>
                  </a:lnTo>
                  <a:lnTo>
                    <a:pt x="3004" y="2614"/>
                  </a:lnTo>
                  <a:lnTo>
                    <a:pt x="3004" y="2610"/>
                  </a:lnTo>
                  <a:lnTo>
                    <a:pt x="3006" y="2604"/>
                  </a:lnTo>
                  <a:lnTo>
                    <a:pt x="3008" y="2598"/>
                  </a:lnTo>
                  <a:lnTo>
                    <a:pt x="3018" y="2588"/>
                  </a:lnTo>
                  <a:lnTo>
                    <a:pt x="3028" y="2578"/>
                  </a:lnTo>
                  <a:lnTo>
                    <a:pt x="3030" y="2574"/>
                  </a:lnTo>
                  <a:lnTo>
                    <a:pt x="3028" y="2568"/>
                  </a:lnTo>
                  <a:lnTo>
                    <a:pt x="3024" y="2566"/>
                  </a:lnTo>
                  <a:lnTo>
                    <a:pt x="3016" y="2568"/>
                  </a:lnTo>
                  <a:lnTo>
                    <a:pt x="3012" y="2570"/>
                  </a:lnTo>
                  <a:close/>
                  <a:moveTo>
                    <a:pt x="490" y="1328"/>
                  </a:moveTo>
                  <a:lnTo>
                    <a:pt x="490" y="1328"/>
                  </a:lnTo>
                  <a:lnTo>
                    <a:pt x="494" y="1328"/>
                  </a:lnTo>
                  <a:lnTo>
                    <a:pt x="496" y="1328"/>
                  </a:lnTo>
                  <a:lnTo>
                    <a:pt x="498" y="1326"/>
                  </a:lnTo>
                  <a:lnTo>
                    <a:pt x="498" y="1324"/>
                  </a:lnTo>
                  <a:lnTo>
                    <a:pt x="498" y="1320"/>
                  </a:lnTo>
                  <a:lnTo>
                    <a:pt x="498" y="1306"/>
                  </a:lnTo>
                  <a:lnTo>
                    <a:pt x="496" y="1304"/>
                  </a:lnTo>
                  <a:lnTo>
                    <a:pt x="490" y="1302"/>
                  </a:lnTo>
                  <a:lnTo>
                    <a:pt x="486" y="1302"/>
                  </a:lnTo>
                  <a:lnTo>
                    <a:pt x="470" y="1304"/>
                  </a:lnTo>
                  <a:lnTo>
                    <a:pt x="456" y="1310"/>
                  </a:lnTo>
                  <a:lnTo>
                    <a:pt x="454" y="1312"/>
                  </a:lnTo>
                  <a:lnTo>
                    <a:pt x="456" y="1314"/>
                  </a:lnTo>
                  <a:lnTo>
                    <a:pt x="470" y="1320"/>
                  </a:lnTo>
                  <a:lnTo>
                    <a:pt x="486" y="1326"/>
                  </a:lnTo>
                  <a:lnTo>
                    <a:pt x="490" y="1328"/>
                  </a:lnTo>
                  <a:close/>
                  <a:moveTo>
                    <a:pt x="2940" y="2636"/>
                  </a:moveTo>
                  <a:lnTo>
                    <a:pt x="2940" y="2636"/>
                  </a:lnTo>
                  <a:lnTo>
                    <a:pt x="2938" y="2636"/>
                  </a:lnTo>
                  <a:lnTo>
                    <a:pt x="2936" y="2636"/>
                  </a:lnTo>
                  <a:lnTo>
                    <a:pt x="2932" y="2640"/>
                  </a:lnTo>
                  <a:lnTo>
                    <a:pt x="2928" y="2644"/>
                  </a:lnTo>
                  <a:lnTo>
                    <a:pt x="2922" y="2658"/>
                  </a:lnTo>
                  <a:lnTo>
                    <a:pt x="2920" y="2664"/>
                  </a:lnTo>
                  <a:lnTo>
                    <a:pt x="2910" y="2676"/>
                  </a:lnTo>
                  <a:lnTo>
                    <a:pt x="2906" y="2680"/>
                  </a:lnTo>
                  <a:lnTo>
                    <a:pt x="2898" y="2684"/>
                  </a:lnTo>
                  <a:lnTo>
                    <a:pt x="2884" y="2688"/>
                  </a:lnTo>
                  <a:lnTo>
                    <a:pt x="2878" y="2692"/>
                  </a:lnTo>
                  <a:lnTo>
                    <a:pt x="2872" y="2698"/>
                  </a:lnTo>
                  <a:lnTo>
                    <a:pt x="2870" y="2704"/>
                  </a:lnTo>
                  <a:lnTo>
                    <a:pt x="2864" y="2718"/>
                  </a:lnTo>
                  <a:lnTo>
                    <a:pt x="2860" y="2732"/>
                  </a:lnTo>
                  <a:lnTo>
                    <a:pt x="2858" y="2740"/>
                  </a:lnTo>
                  <a:lnTo>
                    <a:pt x="2862" y="2746"/>
                  </a:lnTo>
                  <a:lnTo>
                    <a:pt x="2874" y="2754"/>
                  </a:lnTo>
                  <a:lnTo>
                    <a:pt x="2880" y="2756"/>
                  </a:lnTo>
                  <a:lnTo>
                    <a:pt x="2886" y="2758"/>
                  </a:lnTo>
                  <a:lnTo>
                    <a:pt x="2894" y="2756"/>
                  </a:lnTo>
                  <a:lnTo>
                    <a:pt x="2898" y="2754"/>
                  </a:lnTo>
                  <a:lnTo>
                    <a:pt x="2904" y="2750"/>
                  </a:lnTo>
                  <a:lnTo>
                    <a:pt x="2908" y="2742"/>
                  </a:lnTo>
                  <a:lnTo>
                    <a:pt x="2914" y="2728"/>
                  </a:lnTo>
                  <a:lnTo>
                    <a:pt x="2916" y="2712"/>
                  </a:lnTo>
                  <a:lnTo>
                    <a:pt x="2916" y="2708"/>
                  </a:lnTo>
                  <a:lnTo>
                    <a:pt x="2918" y="2702"/>
                  </a:lnTo>
                  <a:lnTo>
                    <a:pt x="2922" y="2696"/>
                  </a:lnTo>
                  <a:lnTo>
                    <a:pt x="2930" y="2686"/>
                  </a:lnTo>
                  <a:lnTo>
                    <a:pt x="2940" y="2676"/>
                  </a:lnTo>
                  <a:lnTo>
                    <a:pt x="2952" y="2668"/>
                  </a:lnTo>
                  <a:lnTo>
                    <a:pt x="2958" y="2666"/>
                  </a:lnTo>
                  <a:lnTo>
                    <a:pt x="2962" y="2660"/>
                  </a:lnTo>
                  <a:lnTo>
                    <a:pt x="2964" y="2654"/>
                  </a:lnTo>
                  <a:lnTo>
                    <a:pt x="2964" y="2650"/>
                  </a:lnTo>
                  <a:lnTo>
                    <a:pt x="2964" y="2646"/>
                  </a:lnTo>
                  <a:lnTo>
                    <a:pt x="2962" y="2644"/>
                  </a:lnTo>
                  <a:lnTo>
                    <a:pt x="2960" y="2642"/>
                  </a:lnTo>
                  <a:lnTo>
                    <a:pt x="2956" y="2642"/>
                  </a:lnTo>
                  <a:lnTo>
                    <a:pt x="2954" y="2642"/>
                  </a:lnTo>
                  <a:lnTo>
                    <a:pt x="2946" y="2640"/>
                  </a:lnTo>
                  <a:lnTo>
                    <a:pt x="2940" y="2636"/>
                  </a:lnTo>
                  <a:close/>
                  <a:moveTo>
                    <a:pt x="406" y="1248"/>
                  </a:moveTo>
                  <a:lnTo>
                    <a:pt x="406" y="1248"/>
                  </a:lnTo>
                  <a:lnTo>
                    <a:pt x="402" y="1254"/>
                  </a:lnTo>
                  <a:lnTo>
                    <a:pt x="400" y="1260"/>
                  </a:lnTo>
                  <a:lnTo>
                    <a:pt x="400" y="1274"/>
                  </a:lnTo>
                  <a:lnTo>
                    <a:pt x="400" y="1278"/>
                  </a:lnTo>
                  <a:lnTo>
                    <a:pt x="402" y="1280"/>
                  </a:lnTo>
                  <a:lnTo>
                    <a:pt x="404" y="1282"/>
                  </a:lnTo>
                  <a:lnTo>
                    <a:pt x="408" y="1282"/>
                  </a:lnTo>
                  <a:lnTo>
                    <a:pt x="412" y="1282"/>
                  </a:lnTo>
                  <a:lnTo>
                    <a:pt x="416" y="1282"/>
                  </a:lnTo>
                  <a:lnTo>
                    <a:pt x="418" y="1280"/>
                  </a:lnTo>
                  <a:lnTo>
                    <a:pt x="420" y="1278"/>
                  </a:lnTo>
                  <a:lnTo>
                    <a:pt x="420" y="1274"/>
                  </a:lnTo>
                  <a:lnTo>
                    <a:pt x="420" y="1270"/>
                  </a:lnTo>
                  <a:lnTo>
                    <a:pt x="418" y="1262"/>
                  </a:lnTo>
                  <a:lnTo>
                    <a:pt x="416" y="1256"/>
                  </a:lnTo>
                  <a:lnTo>
                    <a:pt x="414" y="1250"/>
                  </a:lnTo>
                  <a:lnTo>
                    <a:pt x="412" y="1248"/>
                  </a:lnTo>
                  <a:lnTo>
                    <a:pt x="410" y="1246"/>
                  </a:lnTo>
                  <a:lnTo>
                    <a:pt x="408" y="1246"/>
                  </a:lnTo>
                  <a:lnTo>
                    <a:pt x="406" y="1248"/>
                  </a:lnTo>
                  <a:close/>
                  <a:moveTo>
                    <a:pt x="2286" y="1412"/>
                  </a:moveTo>
                  <a:lnTo>
                    <a:pt x="2286" y="1412"/>
                  </a:lnTo>
                  <a:lnTo>
                    <a:pt x="2290" y="1424"/>
                  </a:lnTo>
                  <a:lnTo>
                    <a:pt x="2290" y="1426"/>
                  </a:lnTo>
                  <a:lnTo>
                    <a:pt x="2292" y="1426"/>
                  </a:lnTo>
                  <a:lnTo>
                    <a:pt x="2296" y="1426"/>
                  </a:lnTo>
                  <a:lnTo>
                    <a:pt x="2302" y="1422"/>
                  </a:lnTo>
                  <a:lnTo>
                    <a:pt x="2306" y="1418"/>
                  </a:lnTo>
                  <a:lnTo>
                    <a:pt x="2308" y="1410"/>
                  </a:lnTo>
                  <a:lnTo>
                    <a:pt x="2308" y="1408"/>
                  </a:lnTo>
                  <a:lnTo>
                    <a:pt x="2308" y="1394"/>
                  </a:lnTo>
                  <a:lnTo>
                    <a:pt x="2308" y="1392"/>
                  </a:lnTo>
                  <a:lnTo>
                    <a:pt x="2306" y="1392"/>
                  </a:lnTo>
                  <a:lnTo>
                    <a:pt x="2302" y="1392"/>
                  </a:lnTo>
                  <a:lnTo>
                    <a:pt x="2288" y="1396"/>
                  </a:lnTo>
                  <a:lnTo>
                    <a:pt x="2284" y="1398"/>
                  </a:lnTo>
                  <a:lnTo>
                    <a:pt x="2284" y="1400"/>
                  </a:lnTo>
                  <a:lnTo>
                    <a:pt x="2282" y="1404"/>
                  </a:lnTo>
                  <a:lnTo>
                    <a:pt x="2284" y="1406"/>
                  </a:lnTo>
                  <a:lnTo>
                    <a:pt x="2286" y="1412"/>
                  </a:lnTo>
                  <a:close/>
                  <a:moveTo>
                    <a:pt x="414" y="1210"/>
                  </a:moveTo>
                  <a:lnTo>
                    <a:pt x="414" y="1210"/>
                  </a:lnTo>
                  <a:lnTo>
                    <a:pt x="412" y="1208"/>
                  </a:lnTo>
                  <a:lnTo>
                    <a:pt x="410" y="1206"/>
                  </a:lnTo>
                  <a:lnTo>
                    <a:pt x="406" y="1206"/>
                  </a:lnTo>
                  <a:lnTo>
                    <a:pt x="404" y="1208"/>
                  </a:lnTo>
                  <a:lnTo>
                    <a:pt x="398" y="1210"/>
                  </a:lnTo>
                  <a:lnTo>
                    <a:pt x="396" y="1212"/>
                  </a:lnTo>
                  <a:lnTo>
                    <a:pt x="394" y="1214"/>
                  </a:lnTo>
                  <a:lnTo>
                    <a:pt x="394" y="1216"/>
                  </a:lnTo>
                  <a:lnTo>
                    <a:pt x="396" y="1220"/>
                  </a:lnTo>
                  <a:lnTo>
                    <a:pt x="404" y="1228"/>
                  </a:lnTo>
                  <a:lnTo>
                    <a:pt x="410" y="1230"/>
                  </a:lnTo>
                  <a:lnTo>
                    <a:pt x="412" y="1230"/>
                  </a:lnTo>
                  <a:lnTo>
                    <a:pt x="416" y="1228"/>
                  </a:lnTo>
                  <a:lnTo>
                    <a:pt x="418" y="1224"/>
                  </a:lnTo>
                  <a:lnTo>
                    <a:pt x="416" y="1216"/>
                  </a:lnTo>
                  <a:lnTo>
                    <a:pt x="414" y="1210"/>
                  </a:lnTo>
                  <a:close/>
                  <a:moveTo>
                    <a:pt x="2302" y="1960"/>
                  </a:moveTo>
                  <a:lnTo>
                    <a:pt x="2302" y="1960"/>
                  </a:lnTo>
                  <a:lnTo>
                    <a:pt x="2302" y="1962"/>
                  </a:lnTo>
                  <a:lnTo>
                    <a:pt x="2302" y="1966"/>
                  </a:lnTo>
                  <a:lnTo>
                    <a:pt x="2304" y="1968"/>
                  </a:lnTo>
                  <a:lnTo>
                    <a:pt x="2306" y="1970"/>
                  </a:lnTo>
                  <a:lnTo>
                    <a:pt x="2312" y="1974"/>
                  </a:lnTo>
                  <a:lnTo>
                    <a:pt x="2324" y="1982"/>
                  </a:lnTo>
                  <a:lnTo>
                    <a:pt x="2326" y="1988"/>
                  </a:lnTo>
                  <a:lnTo>
                    <a:pt x="2328" y="1994"/>
                  </a:lnTo>
                  <a:lnTo>
                    <a:pt x="2328" y="1998"/>
                  </a:lnTo>
                  <a:lnTo>
                    <a:pt x="2328" y="2002"/>
                  </a:lnTo>
                  <a:lnTo>
                    <a:pt x="2330" y="2004"/>
                  </a:lnTo>
                  <a:lnTo>
                    <a:pt x="2334" y="2006"/>
                  </a:lnTo>
                  <a:lnTo>
                    <a:pt x="2336" y="2006"/>
                  </a:lnTo>
                  <a:lnTo>
                    <a:pt x="2340" y="2006"/>
                  </a:lnTo>
                  <a:lnTo>
                    <a:pt x="2352" y="2006"/>
                  </a:lnTo>
                  <a:lnTo>
                    <a:pt x="2358" y="2008"/>
                  </a:lnTo>
                  <a:lnTo>
                    <a:pt x="2364" y="2010"/>
                  </a:lnTo>
                  <a:lnTo>
                    <a:pt x="2380" y="2022"/>
                  </a:lnTo>
                  <a:lnTo>
                    <a:pt x="2394" y="2030"/>
                  </a:lnTo>
                  <a:lnTo>
                    <a:pt x="2420" y="2042"/>
                  </a:lnTo>
                  <a:lnTo>
                    <a:pt x="2424" y="2046"/>
                  </a:lnTo>
                  <a:lnTo>
                    <a:pt x="2426" y="2050"/>
                  </a:lnTo>
                  <a:lnTo>
                    <a:pt x="2424" y="2054"/>
                  </a:lnTo>
                  <a:lnTo>
                    <a:pt x="2420" y="2058"/>
                  </a:lnTo>
                  <a:lnTo>
                    <a:pt x="2414" y="2062"/>
                  </a:lnTo>
                  <a:lnTo>
                    <a:pt x="2410" y="2064"/>
                  </a:lnTo>
                  <a:lnTo>
                    <a:pt x="2414" y="2066"/>
                  </a:lnTo>
                  <a:lnTo>
                    <a:pt x="2418" y="2066"/>
                  </a:lnTo>
                  <a:lnTo>
                    <a:pt x="2426" y="2066"/>
                  </a:lnTo>
                  <a:lnTo>
                    <a:pt x="2434" y="2068"/>
                  </a:lnTo>
                  <a:lnTo>
                    <a:pt x="2438" y="2072"/>
                  </a:lnTo>
                  <a:lnTo>
                    <a:pt x="2452" y="2078"/>
                  </a:lnTo>
                  <a:lnTo>
                    <a:pt x="2458" y="2082"/>
                  </a:lnTo>
                  <a:lnTo>
                    <a:pt x="2470" y="2084"/>
                  </a:lnTo>
                  <a:lnTo>
                    <a:pt x="2476" y="2084"/>
                  </a:lnTo>
                  <a:lnTo>
                    <a:pt x="2480" y="2080"/>
                  </a:lnTo>
                  <a:lnTo>
                    <a:pt x="2488" y="2070"/>
                  </a:lnTo>
                  <a:lnTo>
                    <a:pt x="2502" y="2062"/>
                  </a:lnTo>
                  <a:lnTo>
                    <a:pt x="2508" y="2058"/>
                  </a:lnTo>
                  <a:lnTo>
                    <a:pt x="2514" y="2058"/>
                  </a:lnTo>
                  <a:lnTo>
                    <a:pt x="2522" y="2058"/>
                  </a:lnTo>
                  <a:lnTo>
                    <a:pt x="2526" y="2062"/>
                  </a:lnTo>
                  <a:lnTo>
                    <a:pt x="2540" y="2070"/>
                  </a:lnTo>
                  <a:lnTo>
                    <a:pt x="2558" y="2088"/>
                  </a:lnTo>
                  <a:lnTo>
                    <a:pt x="2570" y="2098"/>
                  </a:lnTo>
                  <a:lnTo>
                    <a:pt x="2576" y="2100"/>
                  </a:lnTo>
                  <a:lnTo>
                    <a:pt x="2578" y="2102"/>
                  </a:lnTo>
                  <a:lnTo>
                    <a:pt x="2580" y="2100"/>
                  </a:lnTo>
                  <a:lnTo>
                    <a:pt x="2582" y="2100"/>
                  </a:lnTo>
                  <a:lnTo>
                    <a:pt x="2582" y="2096"/>
                  </a:lnTo>
                  <a:lnTo>
                    <a:pt x="2582" y="2082"/>
                  </a:lnTo>
                  <a:lnTo>
                    <a:pt x="2580" y="2076"/>
                  </a:lnTo>
                  <a:lnTo>
                    <a:pt x="2576" y="2072"/>
                  </a:lnTo>
                  <a:lnTo>
                    <a:pt x="2560" y="2068"/>
                  </a:lnTo>
                  <a:lnTo>
                    <a:pt x="2556" y="2064"/>
                  </a:lnTo>
                  <a:lnTo>
                    <a:pt x="2554" y="2058"/>
                  </a:lnTo>
                  <a:lnTo>
                    <a:pt x="2554" y="2054"/>
                  </a:lnTo>
                  <a:lnTo>
                    <a:pt x="2554" y="2046"/>
                  </a:lnTo>
                  <a:lnTo>
                    <a:pt x="2558" y="2040"/>
                  </a:lnTo>
                  <a:lnTo>
                    <a:pt x="2560" y="2038"/>
                  </a:lnTo>
                  <a:lnTo>
                    <a:pt x="2560" y="2036"/>
                  </a:lnTo>
                  <a:lnTo>
                    <a:pt x="2556" y="2034"/>
                  </a:lnTo>
                  <a:lnTo>
                    <a:pt x="2542" y="2028"/>
                  </a:lnTo>
                  <a:lnTo>
                    <a:pt x="2534" y="2024"/>
                  </a:lnTo>
                  <a:lnTo>
                    <a:pt x="2530" y="2018"/>
                  </a:lnTo>
                  <a:lnTo>
                    <a:pt x="2528" y="2014"/>
                  </a:lnTo>
                  <a:lnTo>
                    <a:pt x="2524" y="2006"/>
                  </a:lnTo>
                  <a:lnTo>
                    <a:pt x="2518" y="2002"/>
                  </a:lnTo>
                  <a:lnTo>
                    <a:pt x="2502" y="1992"/>
                  </a:lnTo>
                  <a:lnTo>
                    <a:pt x="2486" y="1984"/>
                  </a:lnTo>
                  <a:lnTo>
                    <a:pt x="2424" y="1968"/>
                  </a:lnTo>
                  <a:lnTo>
                    <a:pt x="2416" y="1968"/>
                  </a:lnTo>
                  <a:lnTo>
                    <a:pt x="2410" y="1972"/>
                  </a:lnTo>
                  <a:lnTo>
                    <a:pt x="2394" y="1982"/>
                  </a:lnTo>
                  <a:lnTo>
                    <a:pt x="2386" y="1986"/>
                  </a:lnTo>
                  <a:lnTo>
                    <a:pt x="2378" y="1986"/>
                  </a:lnTo>
                  <a:lnTo>
                    <a:pt x="2376" y="1986"/>
                  </a:lnTo>
                  <a:lnTo>
                    <a:pt x="2368" y="1986"/>
                  </a:lnTo>
                  <a:lnTo>
                    <a:pt x="2362" y="1982"/>
                  </a:lnTo>
                  <a:lnTo>
                    <a:pt x="2354" y="1972"/>
                  </a:lnTo>
                  <a:lnTo>
                    <a:pt x="2342" y="1962"/>
                  </a:lnTo>
                  <a:lnTo>
                    <a:pt x="2334" y="1954"/>
                  </a:lnTo>
                  <a:lnTo>
                    <a:pt x="2328" y="1950"/>
                  </a:lnTo>
                  <a:lnTo>
                    <a:pt x="2320" y="1948"/>
                  </a:lnTo>
                  <a:lnTo>
                    <a:pt x="2316" y="1948"/>
                  </a:lnTo>
                  <a:lnTo>
                    <a:pt x="2310" y="1950"/>
                  </a:lnTo>
                  <a:lnTo>
                    <a:pt x="2306" y="1954"/>
                  </a:lnTo>
                  <a:lnTo>
                    <a:pt x="2302" y="1960"/>
                  </a:lnTo>
                  <a:close/>
                  <a:moveTo>
                    <a:pt x="2606" y="2298"/>
                  </a:moveTo>
                  <a:lnTo>
                    <a:pt x="2606" y="2298"/>
                  </a:lnTo>
                  <a:lnTo>
                    <a:pt x="2602" y="2290"/>
                  </a:lnTo>
                  <a:lnTo>
                    <a:pt x="2598" y="2284"/>
                  </a:lnTo>
                  <a:lnTo>
                    <a:pt x="2594" y="2280"/>
                  </a:lnTo>
                  <a:lnTo>
                    <a:pt x="2590" y="2272"/>
                  </a:lnTo>
                  <a:lnTo>
                    <a:pt x="2586" y="2258"/>
                  </a:lnTo>
                  <a:lnTo>
                    <a:pt x="2582" y="2252"/>
                  </a:lnTo>
                  <a:lnTo>
                    <a:pt x="2576" y="2248"/>
                  </a:lnTo>
                  <a:lnTo>
                    <a:pt x="2562" y="2244"/>
                  </a:lnTo>
                  <a:lnTo>
                    <a:pt x="2548" y="2236"/>
                  </a:lnTo>
                  <a:lnTo>
                    <a:pt x="2532" y="2226"/>
                  </a:lnTo>
                  <a:lnTo>
                    <a:pt x="2526" y="2220"/>
                  </a:lnTo>
                  <a:lnTo>
                    <a:pt x="2522" y="2214"/>
                  </a:lnTo>
                  <a:lnTo>
                    <a:pt x="2516" y="2180"/>
                  </a:lnTo>
                  <a:lnTo>
                    <a:pt x="2514" y="2174"/>
                  </a:lnTo>
                  <a:lnTo>
                    <a:pt x="2510" y="2168"/>
                  </a:lnTo>
                  <a:lnTo>
                    <a:pt x="2500" y="2158"/>
                  </a:lnTo>
                  <a:lnTo>
                    <a:pt x="2496" y="2152"/>
                  </a:lnTo>
                  <a:lnTo>
                    <a:pt x="2492" y="2146"/>
                  </a:lnTo>
                  <a:lnTo>
                    <a:pt x="2488" y="2130"/>
                  </a:lnTo>
                  <a:lnTo>
                    <a:pt x="2486" y="2128"/>
                  </a:lnTo>
                  <a:lnTo>
                    <a:pt x="2484" y="2128"/>
                  </a:lnTo>
                  <a:lnTo>
                    <a:pt x="2482" y="2128"/>
                  </a:lnTo>
                  <a:lnTo>
                    <a:pt x="2480" y="2128"/>
                  </a:lnTo>
                  <a:lnTo>
                    <a:pt x="2472" y="2138"/>
                  </a:lnTo>
                  <a:lnTo>
                    <a:pt x="2468" y="2144"/>
                  </a:lnTo>
                  <a:lnTo>
                    <a:pt x="2466" y="2150"/>
                  </a:lnTo>
                  <a:lnTo>
                    <a:pt x="2466" y="2184"/>
                  </a:lnTo>
                  <a:lnTo>
                    <a:pt x="2464" y="2192"/>
                  </a:lnTo>
                  <a:lnTo>
                    <a:pt x="2460" y="2198"/>
                  </a:lnTo>
                  <a:lnTo>
                    <a:pt x="2452" y="2206"/>
                  </a:lnTo>
                  <a:lnTo>
                    <a:pt x="2446" y="2210"/>
                  </a:lnTo>
                  <a:lnTo>
                    <a:pt x="2438" y="2212"/>
                  </a:lnTo>
                  <a:lnTo>
                    <a:pt x="2434" y="2212"/>
                  </a:lnTo>
                  <a:lnTo>
                    <a:pt x="2428" y="2210"/>
                  </a:lnTo>
                  <a:lnTo>
                    <a:pt x="2422" y="2204"/>
                  </a:lnTo>
                  <a:lnTo>
                    <a:pt x="2412" y="2188"/>
                  </a:lnTo>
                  <a:lnTo>
                    <a:pt x="2406" y="2184"/>
                  </a:lnTo>
                  <a:lnTo>
                    <a:pt x="2398" y="2182"/>
                  </a:lnTo>
                  <a:lnTo>
                    <a:pt x="2396" y="2182"/>
                  </a:lnTo>
                  <a:lnTo>
                    <a:pt x="2388" y="2180"/>
                  </a:lnTo>
                  <a:lnTo>
                    <a:pt x="2380" y="2178"/>
                  </a:lnTo>
                  <a:lnTo>
                    <a:pt x="2374" y="2176"/>
                  </a:lnTo>
                  <a:lnTo>
                    <a:pt x="2372" y="2174"/>
                  </a:lnTo>
                  <a:lnTo>
                    <a:pt x="2370" y="2172"/>
                  </a:lnTo>
                  <a:lnTo>
                    <a:pt x="2370" y="2168"/>
                  </a:lnTo>
                  <a:lnTo>
                    <a:pt x="2372" y="2164"/>
                  </a:lnTo>
                  <a:lnTo>
                    <a:pt x="2374" y="2160"/>
                  </a:lnTo>
                  <a:lnTo>
                    <a:pt x="2382" y="2146"/>
                  </a:lnTo>
                  <a:lnTo>
                    <a:pt x="2384" y="2140"/>
                  </a:lnTo>
                  <a:lnTo>
                    <a:pt x="2384" y="2138"/>
                  </a:lnTo>
                  <a:lnTo>
                    <a:pt x="2384" y="2134"/>
                  </a:lnTo>
                  <a:lnTo>
                    <a:pt x="2382" y="2132"/>
                  </a:lnTo>
                  <a:lnTo>
                    <a:pt x="2380" y="2132"/>
                  </a:lnTo>
                  <a:lnTo>
                    <a:pt x="2356" y="2126"/>
                  </a:lnTo>
                  <a:lnTo>
                    <a:pt x="2340" y="2124"/>
                  </a:lnTo>
                  <a:lnTo>
                    <a:pt x="2336" y="2124"/>
                  </a:lnTo>
                  <a:lnTo>
                    <a:pt x="2330" y="2124"/>
                  </a:lnTo>
                  <a:lnTo>
                    <a:pt x="2324" y="2128"/>
                  </a:lnTo>
                  <a:lnTo>
                    <a:pt x="2312" y="2136"/>
                  </a:lnTo>
                  <a:lnTo>
                    <a:pt x="2306" y="2140"/>
                  </a:lnTo>
                  <a:lnTo>
                    <a:pt x="2292" y="2146"/>
                  </a:lnTo>
                  <a:lnTo>
                    <a:pt x="2286" y="2150"/>
                  </a:lnTo>
                  <a:lnTo>
                    <a:pt x="2280" y="2154"/>
                  </a:lnTo>
                  <a:lnTo>
                    <a:pt x="2276" y="2160"/>
                  </a:lnTo>
                  <a:lnTo>
                    <a:pt x="2274" y="2164"/>
                  </a:lnTo>
                  <a:lnTo>
                    <a:pt x="2270" y="2170"/>
                  </a:lnTo>
                  <a:lnTo>
                    <a:pt x="2264" y="2172"/>
                  </a:lnTo>
                  <a:lnTo>
                    <a:pt x="2252" y="2168"/>
                  </a:lnTo>
                  <a:lnTo>
                    <a:pt x="2248" y="2166"/>
                  </a:lnTo>
                  <a:lnTo>
                    <a:pt x="2240" y="2164"/>
                  </a:lnTo>
                  <a:lnTo>
                    <a:pt x="2234" y="2166"/>
                  </a:lnTo>
                  <a:lnTo>
                    <a:pt x="2228" y="2168"/>
                  </a:lnTo>
                  <a:lnTo>
                    <a:pt x="2214" y="2176"/>
                  </a:lnTo>
                  <a:lnTo>
                    <a:pt x="2198" y="2188"/>
                  </a:lnTo>
                  <a:lnTo>
                    <a:pt x="2184" y="2196"/>
                  </a:lnTo>
                  <a:lnTo>
                    <a:pt x="2178" y="2198"/>
                  </a:lnTo>
                  <a:lnTo>
                    <a:pt x="2164" y="2206"/>
                  </a:lnTo>
                  <a:lnTo>
                    <a:pt x="2160" y="2208"/>
                  </a:lnTo>
                  <a:lnTo>
                    <a:pt x="2154" y="2212"/>
                  </a:lnTo>
                  <a:lnTo>
                    <a:pt x="2150" y="2220"/>
                  </a:lnTo>
                  <a:lnTo>
                    <a:pt x="2144" y="2234"/>
                  </a:lnTo>
                  <a:lnTo>
                    <a:pt x="2140" y="2238"/>
                  </a:lnTo>
                  <a:lnTo>
                    <a:pt x="2134" y="2240"/>
                  </a:lnTo>
                  <a:lnTo>
                    <a:pt x="2130" y="2240"/>
                  </a:lnTo>
                  <a:lnTo>
                    <a:pt x="2124" y="2242"/>
                  </a:lnTo>
                  <a:lnTo>
                    <a:pt x="2116" y="2246"/>
                  </a:lnTo>
                  <a:lnTo>
                    <a:pt x="2100" y="2256"/>
                  </a:lnTo>
                  <a:lnTo>
                    <a:pt x="2086" y="2264"/>
                  </a:lnTo>
                  <a:lnTo>
                    <a:pt x="2062" y="2276"/>
                  </a:lnTo>
                  <a:lnTo>
                    <a:pt x="2048" y="2286"/>
                  </a:lnTo>
                  <a:lnTo>
                    <a:pt x="2040" y="2294"/>
                  </a:lnTo>
                  <a:lnTo>
                    <a:pt x="2030" y="2306"/>
                  </a:lnTo>
                  <a:lnTo>
                    <a:pt x="2028" y="2312"/>
                  </a:lnTo>
                  <a:lnTo>
                    <a:pt x="2026" y="2320"/>
                  </a:lnTo>
                  <a:lnTo>
                    <a:pt x="2028" y="2326"/>
                  </a:lnTo>
                  <a:lnTo>
                    <a:pt x="2032" y="2340"/>
                  </a:lnTo>
                  <a:lnTo>
                    <a:pt x="2034" y="2356"/>
                  </a:lnTo>
                  <a:lnTo>
                    <a:pt x="2034" y="2360"/>
                  </a:lnTo>
                  <a:lnTo>
                    <a:pt x="2036" y="2376"/>
                  </a:lnTo>
                  <a:lnTo>
                    <a:pt x="2052" y="2428"/>
                  </a:lnTo>
                  <a:lnTo>
                    <a:pt x="2054" y="2444"/>
                  </a:lnTo>
                  <a:lnTo>
                    <a:pt x="2054" y="2448"/>
                  </a:lnTo>
                  <a:lnTo>
                    <a:pt x="2054" y="2464"/>
                  </a:lnTo>
                  <a:lnTo>
                    <a:pt x="2054" y="2488"/>
                  </a:lnTo>
                  <a:lnTo>
                    <a:pt x="2056" y="2494"/>
                  </a:lnTo>
                  <a:lnTo>
                    <a:pt x="2060" y="2500"/>
                  </a:lnTo>
                  <a:lnTo>
                    <a:pt x="2068" y="2510"/>
                  </a:lnTo>
                  <a:lnTo>
                    <a:pt x="2074" y="2514"/>
                  </a:lnTo>
                  <a:lnTo>
                    <a:pt x="2082" y="2514"/>
                  </a:lnTo>
                  <a:lnTo>
                    <a:pt x="2086" y="2514"/>
                  </a:lnTo>
                  <a:lnTo>
                    <a:pt x="2100" y="2512"/>
                  </a:lnTo>
                  <a:lnTo>
                    <a:pt x="2116" y="2508"/>
                  </a:lnTo>
                  <a:lnTo>
                    <a:pt x="2130" y="2502"/>
                  </a:lnTo>
                  <a:lnTo>
                    <a:pt x="2136" y="2498"/>
                  </a:lnTo>
                  <a:lnTo>
                    <a:pt x="2142" y="2496"/>
                  </a:lnTo>
                  <a:lnTo>
                    <a:pt x="2150" y="2496"/>
                  </a:lnTo>
                  <a:lnTo>
                    <a:pt x="2154" y="2496"/>
                  </a:lnTo>
                  <a:lnTo>
                    <a:pt x="2170" y="2492"/>
                  </a:lnTo>
                  <a:lnTo>
                    <a:pt x="2184" y="2488"/>
                  </a:lnTo>
                  <a:lnTo>
                    <a:pt x="2190" y="2484"/>
                  </a:lnTo>
                  <a:lnTo>
                    <a:pt x="2192" y="2480"/>
                  </a:lnTo>
                  <a:lnTo>
                    <a:pt x="2194" y="2476"/>
                  </a:lnTo>
                  <a:lnTo>
                    <a:pt x="2198" y="2472"/>
                  </a:lnTo>
                  <a:lnTo>
                    <a:pt x="2232" y="2460"/>
                  </a:lnTo>
                  <a:lnTo>
                    <a:pt x="2240" y="2458"/>
                  </a:lnTo>
                  <a:lnTo>
                    <a:pt x="2248" y="2456"/>
                  </a:lnTo>
                  <a:lnTo>
                    <a:pt x="2272" y="2456"/>
                  </a:lnTo>
                  <a:lnTo>
                    <a:pt x="2288" y="2458"/>
                  </a:lnTo>
                  <a:lnTo>
                    <a:pt x="2330" y="2464"/>
                  </a:lnTo>
                  <a:lnTo>
                    <a:pt x="2338" y="2468"/>
                  </a:lnTo>
                  <a:lnTo>
                    <a:pt x="2344" y="2472"/>
                  </a:lnTo>
                  <a:lnTo>
                    <a:pt x="2362" y="2490"/>
                  </a:lnTo>
                  <a:lnTo>
                    <a:pt x="2374" y="2500"/>
                  </a:lnTo>
                  <a:lnTo>
                    <a:pt x="2382" y="2510"/>
                  </a:lnTo>
                  <a:lnTo>
                    <a:pt x="2388" y="2514"/>
                  </a:lnTo>
                  <a:lnTo>
                    <a:pt x="2396" y="2514"/>
                  </a:lnTo>
                  <a:lnTo>
                    <a:pt x="2398" y="2514"/>
                  </a:lnTo>
                  <a:lnTo>
                    <a:pt x="2406" y="2516"/>
                  </a:lnTo>
                  <a:lnTo>
                    <a:pt x="2410" y="2522"/>
                  </a:lnTo>
                  <a:lnTo>
                    <a:pt x="2414" y="2528"/>
                  </a:lnTo>
                  <a:lnTo>
                    <a:pt x="2422" y="2540"/>
                  </a:lnTo>
                  <a:lnTo>
                    <a:pt x="2430" y="2548"/>
                  </a:lnTo>
                  <a:lnTo>
                    <a:pt x="2442" y="2558"/>
                  </a:lnTo>
                  <a:lnTo>
                    <a:pt x="2458" y="2570"/>
                  </a:lnTo>
                  <a:lnTo>
                    <a:pt x="2474" y="2576"/>
                  </a:lnTo>
                  <a:lnTo>
                    <a:pt x="2488" y="2580"/>
                  </a:lnTo>
                  <a:lnTo>
                    <a:pt x="2494" y="2582"/>
                  </a:lnTo>
                  <a:lnTo>
                    <a:pt x="2502" y="2580"/>
                  </a:lnTo>
                  <a:lnTo>
                    <a:pt x="2508" y="2578"/>
                  </a:lnTo>
                  <a:lnTo>
                    <a:pt x="2514" y="2576"/>
                  </a:lnTo>
                  <a:lnTo>
                    <a:pt x="2520" y="2580"/>
                  </a:lnTo>
                  <a:lnTo>
                    <a:pt x="2528" y="2588"/>
                  </a:lnTo>
                  <a:lnTo>
                    <a:pt x="2534" y="2592"/>
                  </a:lnTo>
                  <a:lnTo>
                    <a:pt x="2538" y="2594"/>
                  </a:lnTo>
                  <a:lnTo>
                    <a:pt x="2544" y="2592"/>
                  </a:lnTo>
                  <a:lnTo>
                    <a:pt x="2550" y="2588"/>
                  </a:lnTo>
                  <a:lnTo>
                    <a:pt x="2558" y="2580"/>
                  </a:lnTo>
                  <a:lnTo>
                    <a:pt x="2570" y="2570"/>
                  </a:lnTo>
                  <a:lnTo>
                    <a:pt x="2576" y="2568"/>
                  </a:lnTo>
                  <a:lnTo>
                    <a:pt x="2588" y="2564"/>
                  </a:lnTo>
                  <a:lnTo>
                    <a:pt x="2592" y="2562"/>
                  </a:lnTo>
                  <a:lnTo>
                    <a:pt x="2592" y="2556"/>
                  </a:lnTo>
                  <a:lnTo>
                    <a:pt x="2592" y="2552"/>
                  </a:lnTo>
                  <a:lnTo>
                    <a:pt x="2594" y="2544"/>
                  </a:lnTo>
                  <a:lnTo>
                    <a:pt x="2596" y="2538"/>
                  </a:lnTo>
                  <a:lnTo>
                    <a:pt x="2608" y="2512"/>
                  </a:lnTo>
                  <a:lnTo>
                    <a:pt x="2616" y="2498"/>
                  </a:lnTo>
                  <a:lnTo>
                    <a:pt x="2638" y="2434"/>
                  </a:lnTo>
                  <a:lnTo>
                    <a:pt x="2642" y="2418"/>
                  </a:lnTo>
                  <a:lnTo>
                    <a:pt x="2642" y="2396"/>
                  </a:lnTo>
                  <a:lnTo>
                    <a:pt x="2642" y="2380"/>
                  </a:lnTo>
                  <a:lnTo>
                    <a:pt x="2642" y="2366"/>
                  </a:lnTo>
                  <a:lnTo>
                    <a:pt x="2642" y="2350"/>
                  </a:lnTo>
                  <a:lnTo>
                    <a:pt x="2642" y="2346"/>
                  </a:lnTo>
                  <a:lnTo>
                    <a:pt x="2640" y="2340"/>
                  </a:lnTo>
                  <a:lnTo>
                    <a:pt x="2636" y="2334"/>
                  </a:lnTo>
                  <a:lnTo>
                    <a:pt x="2620" y="2324"/>
                  </a:lnTo>
                  <a:lnTo>
                    <a:pt x="2614" y="2318"/>
                  </a:lnTo>
                  <a:lnTo>
                    <a:pt x="2610" y="2312"/>
                  </a:lnTo>
                  <a:lnTo>
                    <a:pt x="2606" y="2298"/>
                  </a:lnTo>
                  <a:close/>
                  <a:moveTo>
                    <a:pt x="2522" y="2632"/>
                  </a:moveTo>
                  <a:lnTo>
                    <a:pt x="2522" y="2632"/>
                  </a:lnTo>
                  <a:lnTo>
                    <a:pt x="2520" y="2634"/>
                  </a:lnTo>
                  <a:lnTo>
                    <a:pt x="2518" y="2634"/>
                  </a:lnTo>
                  <a:lnTo>
                    <a:pt x="2516" y="2638"/>
                  </a:lnTo>
                  <a:lnTo>
                    <a:pt x="2518" y="2640"/>
                  </a:lnTo>
                  <a:lnTo>
                    <a:pt x="2522" y="2654"/>
                  </a:lnTo>
                  <a:lnTo>
                    <a:pt x="2524" y="2670"/>
                  </a:lnTo>
                  <a:lnTo>
                    <a:pt x="2524" y="2674"/>
                  </a:lnTo>
                  <a:lnTo>
                    <a:pt x="2526" y="2680"/>
                  </a:lnTo>
                  <a:lnTo>
                    <a:pt x="2532" y="2684"/>
                  </a:lnTo>
                  <a:lnTo>
                    <a:pt x="2538" y="2688"/>
                  </a:lnTo>
                  <a:lnTo>
                    <a:pt x="2540" y="2688"/>
                  </a:lnTo>
                  <a:lnTo>
                    <a:pt x="2544" y="2688"/>
                  </a:lnTo>
                  <a:lnTo>
                    <a:pt x="2546" y="2686"/>
                  </a:lnTo>
                  <a:lnTo>
                    <a:pt x="2548" y="2684"/>
                  </a:lnTo>
                  <a:lnTo>
                    <a:pt x="2550" y="2678"/>
                  </a:lnTo>
                  <a:lnTo>
                    <a:pt x="2556" y="2664"/>
                  </a:lnTo>
                  <a:lnTo>
                    <a:pt x="2562" y="2650"/>
                  </a:lnTo>
                  <a:lnTo>
                    <a:pt x="2564" y="2634"/>
                  </a:lnTo>
                  <a:lnTo>
                    <a:pt x="2564" y="2632"/>
                  </a:lnTo>
                  <a:lnTo>
                    <a:pt x="2564" y="2628"/>
                  </a:lnTo>
                  <a:lnTo>
                    <a:pt x="2562" y="2626"/>
                  </a:lnTo>
                  <a:lnTo>
                    <a:pt x="2560" y="2626"/>
                  </a:lnTo>
                  <a:lnTo>
                    <a:pt x="2556" y="2626"/>
                  </a:lnTo>
                  <a:lnTo>
                    <a:pt x="2552" y="2630"/>
                  </a:lnTo>
                  <a:lnTo>
                    <a:pt x="2544" y="2632"/>
                  </a:lnTo>
                  <a:lnTo>
                    <a:pt x="2536" y="2632"/>
                  </a:lnTo>
                  <a:lnTo>
                    <a:pt x="2522" y="2632"/>
                  </a:lnTo>
                  <a:close/>
                  <a:moveTo>
                    <a:pt x="2478" y="958"/>
                  </a:moveTo>
                  <a:lnTo>
                    <a:pt x="2478" y="958"/>
                  </a:lnTo>
                  <a:lnTo>
                    <a:pt x="2476" y="954"/>
                  </a:lnTo>
                  <a:lnTo>
                    <a:pt x="2476" y="958"/>
                  </a:lnTo>
                  <a:lnTo>
                    <a:pt x="2476" y="962"/>
                  </a:lnTo>
                  <a:lnTo>
                    <a:pt x="2474" y="976"/>
                  </a:lnTo>
                  <a:lnTo>
                    <a:pt x="2468" y="992"/>
                  </a:lnTo>
                  <a:lnTo>
                    <a:pt x="2468" y="998"/>
                  </a:lnTo>
                  <a:lnTo>
                    <a:pt x="2470" y="1006"/>
                  </a:lnTo>
                  <a:lnTo>
                    <a:pt x="2472" y="1012"/>
                  </a:lnTo>
                  <a:lnTo>
                    <a:pt x="2474" y="1018"/>
                  </a:lnTo>
                  <a:lnTo>
                    <a:pt x="2476" y="1026"/>
                  </a:lnTo>
                  <a:lnTo>
                    <a:pt x="2476" y="1088"/>
                  </a:lnTo>
                  <a:lnTo>
                    <a:pt x="2476" y="1104"/>
                  </a:lnTo>
                  <a:lnTo>
                    <a:pt x="2476" y="1118"/>
                  </a:lnTo>
                  <a:lnTo>
                    <a:pt x="2478" y="1124"/>
                  </a:lnTo>
                  <a:lnTo>
                    <a:pt x="2484" y="1128"/>
                  </a:lnTo>
                  <a:lnTo>
                    <a:pt x="2498" y="1134"/>
                  </a:lnTo>
                  <a:lnTo>
                    <a:pt x="2502" y="1134"/>
                  </a:lnTo>
                  <a:lnTo>
                    <a:pt x="2500" y="1130"/>
                  </a:lnTo>
                  <a:lnTo>
                    <a:pt x="2490" y="1114"/>
                  </a:lnTo>
                  <a:lnTo>
                    <a:pt x="2486" y="1106"/>
                  </a:lnTo>
                  <a:lnTo>
                    <a:pt x="2486" y="1098"/>
                  </a:lnTo>
                  <a:lnTo>
                    <a:pt x="2486" y="1094"/>
                  </a:lnTo>
                  <a:lnTo>
                    <a:pt x="2486" y="1088"/>
                  </a:lnTo>
                  <a:lnTo>
                    <a:pt x="2488" y="1080"/>
                  </a:lnTo>
                  <a:lnTo>
                    <a:pt x="2492" y="1074"/>
                  </a:lnTo>
                  <a:lnTo>
                    <a:pt x="2496" y="1070"/>
                  </a:lnTo>
                  <a:lnTo>
                    <a:pt x="2498" y="1070"/>
                  </a:lnTo>
                  <a:lnTo>
                    <a:pt x="2500" y="1072"/>
                  </a:lnTo>
                  <a:lnTo>
                    <a:pt x="2502" y="1074"/>
                  </a:lnTo>
                  <a:lnTo>
                    <a:pt x="2502" y="1070"/>
                  </a:lnTo>
                  <a:lnTo>
                    <a:pt x="2488" y="1006"/>
                  </a:lnTo>
                  <a:lnTo>
                    <a:pt x="2486" y="990"/>
                  </a:lnTo>
                  <a:lnTo>
                    <a:pt x="2486" y="988"/>
                  </a:lnTo>
                  <a:lnTo>
                    <a:pt x="2482" y="972"/>
                  </a:lnTo>
                  <a:lnTo>
                    <a:pt x="2478" y="958"/>
                  </a:lnTo>
                  <a:close/>
                  <a:moveTo>
                    <a:pt x="2460" y="1170"/>
                  </a:moveTo>
                  <a:lnTo>
                    <a:pt x="2460" y="1170"/>
                  </a:lnTo>
                  <a:lnTo>
                    <a:pt x="2458" y="1176"/>
                  </a:lnTo>
                  <a:lnTo>
                    <a:pt x="2456" y="1182"/>
                  </a:lnTo>
                  <a:lnTo>
                    <a:pt x="2456" y="1196"/>
                  </a:lnTo>
                  <a:lnTo>
                    <a:pt x="2454" y="1204"/>
                  </a:lnTo>
                  <a:lnTo>
                    <a:pt x="2452" y="1212"/>
                  </a:lnTo>
                  <a:lnTo>
                    <a:pt x="2450" y="1216"/>
                  </a:lnTo>
                  <a:lnTo>
                    <a:pt x="2446" y="1224"/>
                  </a:lnTo>
                  <a:lnTo>
                    <a:pt x="2446" y="1232"/>
                  </a:lnTo>
                  <a:lnTo>
                    <a:pt x="2446" y="1236"/>
                  </a:lnTo>
                  <a:lnTo>
                    <a:pt x="2448" y="1238"/>
                  </a:lnTo>
                  <a:lnTo>
                    <a:pt x="2450" y="1236"/>
                  </a:lnTo>
                  <a:lnTo>
                    <a:pt x="2460" y="1220"/>
                  </a:lnTo>
                  <a:lnTo>
                    <a:pt x="2464" y="1218"/>
                  </a:lnTo>
                  <a:lnTo>
                    <a:pt x="2466" y="1218"/>
                  </a:lnTo>
                  <a:lnTo>
                    <a:pt x="2468" y="1218"/>
                  </a:lnTo>
                  <a:lnTo>
                    <a:pt x="2472" y="1220"/>
                  </a:lnTo>
                  <a:lnTo>
                    <a:pt x="2480" y="1228"/>
                  </a:lnTo>
                  <a:lnTo>
                    <a:pt x="2482" y="1230"/>
                  </a:lnTo>
                  <a:lnTo>
                    <a:pt x="2484" y="1230"/>
                  </a:lnTo>
                  <a:lnTo>
                    <a:pt x="2486" y="1228"/>
                  </a:lnTo>
                  <a:lnTo>
                    <a:pt x="2488" y="1226"/>
                  </a:lnTo>
                  <a:lnTo>
                    <a:pt x="2492" y="1220"/>
                  </a:lnTo>
                  <a:lnTo>
                    <a:pt x="2496" y="1214"/>
                  </a:lnTo>
                  <a:lnTo>
                    <a:pt x="2502" y="1210"/>
                  </a:lnTo>
                  <a:lnTo>
                    <a:pt x="2508" y="1208"/>
                  </a:lnTo>
                  <a:lnTo>
                    <a:pt x="2520" y="1198"/>
                  </a:lnTo>
                  <a:lnTo>
                    <a:pt x="2528" y="1190"/>
                  </a:lnTo>
                  <a:lnTo>
                    <a:pt x="2530" y="1188"/>
                  </a:lnTo>
                  <a:lnTo>
                    <a:pt x="2530" y="1186"/>
                  </a:lnTo>
                  <a:lnTo>
                    <a:pt x="2528" y="1184"/>
                  </a:lnTo>
                  <a:lnTo>
                    <a:pt x="2526" y="1184"/>
                  </a:lnTo>
                  <a:lnTo>
                    <a:pt x="2522" y="1184"/>
                  </a:lnTo>
                  <a:lnTo>
                    <a:pt x="2506" y="1182"/>
                  </a:lnTo>
                  <a:lnTo>
                    <a:pt x="2492" y="1178"/>
                  </a:lnTo>
                  <a:lnTo>
                    <a:pt x="2478" y="1170"/>
                  </a:lnTo>
                  <a:lnTo>
                    <a:pt x="2472" y="1168"/>
                  </a:lnTo>
                  <a:lnTo>
                    <a:pt x="2466" y="1168"/>
                  </a:lnTo>
                  <a:lnTo>
                    <a:pt x="2460" y="1170"/>
                  </a:lnTo>
                  <a:close/>
                  <a:moveTo>
                    <a:pt x="2438" y="1284"/>
                  </a:moveTo>
                  <a:lnTo>
                    <a:pt x="2438" y="1284"/>
                  </a:lnTo>
                  <a:lnTo>
                    <a:pt x="2432" y="1300"/>
                  </a:lnTo>
                  <a:lnTo>
                    <a:pt x="2430" y="1304"/>
                  </a:lnTo>
                  <a:lnTo>
                    <a:pt x="2426" y="1310"/>
                  </a:lnTo>
                  <a:lnTo>
                    <a:pt x="2420" y="1316"/>
                  </a:lnTo>
                  <a:lnTo>
                    <a:pt x="2414" y="1318"/>
                  </a:lnTo>
                  <a:lnTo>
                    <a:pt x="2400" y="1326"/>
                  </a:lnTo>
                  <a:lnTo>
                    <a:pt x="2374" y="1346"/>
                  </a:lnTo>
                  <a:lnTo>
                    <a:pt x="2368" y="1350"/>
                  </a:lnTo>
                  <a:lnTo>
                    <a:pt x="2360" y="1350"/>
                  </a:lnTo>
                  <a:lnTo>
                    <a:pt x="2356" y="1350"/>
                  </a:lnTo>
                  <a:lnTo>
                    <a:pt x="2340" y="1354"/>
                  </a:lnTo>
                  <a:lnTo>
                    <a:pt x="2326" y="1358"/>
                  </a:lnTo>
                  <a:lnTo>
                    <a:pt x="2320" y="1362"/>
                  </a:lnTo>
                  <a:lnTo>
                    <a:pt x="2318" y="1366"/>
                  </a:lnTo>
                  <a:lnTo>
                    <a:pt x="2322" y="1378"/>
                  </a:lnTo>
                  <a:lnTo>
                    <a:pt x="2326" y="1392"/>
                  </a:lnTo>
                  <a:lnTo>
                    <a:pt x="2328" y="1394"/>
                  </a:lnTo>
                  <a:lnTo>
                    <a:pt x="2330" y="1396"/>
                  </a:lnTo>
                  <a:lnTo>
                    <a:pt x="2332" y="1396"/>
                  </a:lnTo>
                  <a:lnTo>
                    <a:pt x="2334" y="1394"/>
                  </a:lnTo>
                  <a:lnTo>
                    <a:pt x="2342" y="1386"/>
                  </a:lnTo>
                  <a:lnTo>
                    <a:pt x="2348" y="1382"/>
                  </a:lnTo>
                  <a:lnTo>
                    <a:pt x="2354" y="1380"/>
                  </a:lnTo>
                  <a:lnTo>
                    <a:pt x="2358" y="1378"/>
                  </a:lnTo>
                  <a:lnTo>
                    <a:pt x="2362" y="1376"/>
                  </a:lnTo>
                  <a:lnTo>
                    <a:pt x="2366" y="1374"/>
                  </a:lnTo>
                  <a:lnTo>
                    <a:pt x="2368" y="1376"/>
                  </a:lnTo>
                  <a:lnTo>
                    <a:pt x="2370" y="1376"/>
                  </a:lnTo>
                  <a:lnTo>
                    <a:pt x="2374" y="1374"/>
                  </a:lnTo>
                  <a:lnTo>
                    <a:pt x="2382" y="1366"/>
                  </a:lnTo>
                  <a:lnTo>
                    <a:pt x="2388" y="1362"/>
                  </a:lnTo>
                  <a:lnTo>
                    <a:pt x="2392" y="1360"/>
                  </a:lnTo>
                  <a:lnTo>
                    <a:pt x="2404" y="1360"/>
                  </a:lnTo>
                  <a:lnTo>
                    <a:pt x="2408" y="1360"/>
                  </a:lnTo>
                  <a:lnTo>
                    <a:pt x="2422" y="1360"/>
                  </a:lnTo>
                  <a:lnTo>
                    <a:pt x="2432" y="1360"/>
                  </a:lnTo>
                  <a:lnTo>
                    <a:pt x="2436" y="1360"/>
                  </a:lnTo>
                  <a:lnTo>
                    <a:pt x="2440" y="1356"/>
                  </a:lnTo>
                  <a:lnTo>
                    <a:pt x="2444" y="1350"/>
                  </a:lnTo>
                  <a:lnTo>
                    <a:pt x="2446" y="1342"/>
                  </a:lnTo>
                  <a:lnTo>
                    <a:pt x="2446" y="1330"/>
                  </a:lnTo>
                  <a:lnTo>
                    <a:pt x="2446" y="1322"/>
                  </a:lnTo>
                  <a:lnTo>
                    <a:pt x="2450" y="1314"/>
                  </a:lnTo>
                  <a:lnTo>
                    <a:pt x="2452" y="1308"/>
                  </a:lnTo>
                  <a:lnTo>
                    <a:pt x="2458" y="1294"/>
                  </a:lnTo>
                  <a:lnTo>
                    <a:pt x="2462" y="1280"/>
                  </a:lnTo>
                  <a:lnTo>
                    <a:pt x="2464" y="1272"/>
                  </a:lnTo>
                  <a:lnTo>
                    <a:pt x="2460" y="1266"/>
                  </a:lnTo>
                  <a:lnTo>
                    <a:pt x="2450" y="1250"/>
                  </a:lnTo>
                  <a:lnTo>
                    <a:pt x="2448" y="1246"/>
                  </a:lnTo>
                  <a:lnTo>
                    <a:pt x="2446" y="1246"/>
                  </a:lnTo>
                  <a:lnTo>
                    <a:pt x="2446" y="1248"/>
                  </a:lnTo>
                  <a:lnTo>
                    <a:pt x="2444" y="1260"/>
                  </a:lnTo>
                  <a:lnTo>
                    <a:pt x="2438" y="1284"/>
                  </a:lnTo>
                  <a:close/>
                </a:path>
              </a:pathLst>
            </a:custGeom>
            <a:grpFill/>
            <a:ln>
              <a:noFill/>
            </a:ln>
          </p:spPr>
          <p:txBody>
            <a:bodyPr spcFirstLastPara="1" wrap="square" lIns="91425" tIns="45700" rIns="91425" bIns="45700" anchor="t" anchorCtr="0">
              <a:noAutofit/>
            </a:bodyPr>
            <a:lstStyle/>
            <a:p>
              <a:endParaRPr sz="1400" b="1" dirty="0">
                <a:solidFill>
                  <a:schemeClr val="lt1"/>
                </a:solidFill>
                <a:latin typeface="Arial"/>
                <a:ea typeface="Arial"/>
                <a:cs typeface="Arial"/>
                <a:sym typeface="Arial"/>
              </a:endParaRPr>
            </a:p>
          </p:txBody>
        </p:sp>
        <p:sp>
          <p:nvSpPr>
            <p:cNvPr id="36" name="Google Shape;443;p5">
              <a:extLst>
                <a:ext uri="{FF2B5EF4-FFF2-40B4-BE49-F238E27FC236}">
                  <a16:creationId xmlns:a16="http://schemas.microsoft.com/office/drawing/2014/main" id="{A1958613-3634-4ED8-A00D-49847202F72B}"/>
                </a:ext>
              </a:extLst>
            </p:cNvPr>
            <p:cNvSpPr/>
            <p:nvPr/>
          </p:nvSpPr>
          <p:spPr>
            <a:xfrm>
              <a:off x="56" y="1036"/>
              <a:ext cx="2211" cy="3018"/>
            </a:xfrm>
            <a:custGeom>
              <a:avLst/>
              <a:gdLst/>
              <a:ahLst/>
              <a:cxnLst/>
              <a:rect l="l" t="t" r="r" b="b"/>
              <a:pathLst>
                <a:path w="2211" h="3018" extrusionOk="0">
                  <a:moveTo>
                    <a:pt x="1636" y="295"/>
                  </a:moveTo>
                  <a:lnTo>
                    <a:pt x="1639" y="300"/>
                  </a:lnTo>
                  <a:lnTo>
                    <a:pt x="1639" y="303"/>
                  </a:lnTo>
                  <a:lnTo>
                    <a:pt x="1639" y="308"/>
                  </a:lnTo>
                  <a:lnTo>
                    <a:pt x="1636" y="310"/>
                  </a:lnTo>
                  <a:lnTo>
                    <a:pt x="1636" y="313"/>
                  </a:lnTo>
                  <a:lnTo>
                    <a:pt x="1634" y="315"/>
                  </a:lnTo>
                  <a:lnTo>
                    <a:pt x="1636" y="320"/>
                  </a:lnTo>
                  <a:lnTo>
                    <a:pt x="1636" y="323"/>
                  </a:lnTo>
                  <a:lnTo>
                    <a:pt x="1641" y="328"/>
                  </a:lnTo>
                  <a:lnTo>
                    <a:pt x="1644" y="333"/>
                  </a:lnTo>
                  <a:lnTo>
                    <a:pt x="1649" y="335"/>
                  </a:lnTo>
                  <a:lnTo>
                    <a:pt x="1651" y="338"/>
                  </a:lnTo>
                  <a:lnTo>
                    <a:pt x="1656" y="340"/>
                  </a:lnTo>
                  <a:lnTo>
                    <a:pt x="1664" y="340"/>
                  </a:lnTo>
                  <a:lnTo>
                    <a:pt x="1669" y="340"/>
                  </a:lnTo>
                  <a:lnTo>
                    <a:pt x="1679" y="340"/>
                  </a:lnTo>
                  <a:lnTo>
                    <a:pt x="1687" y="338"/>
                  </a:lnTo>
                  <a:lnTo>
                    <a:pt x="1697" y="338"/>
                  </a:lnTo>
                  <a:lnTo>
                    <a:pt x="1704" y="338"/>
                  </a:lnTo>
                  <a:lnTo>
                    <a:pt x="1712" y="338"/>
                  </a:lnTo>
                  <a:lnTo>
                    <a:pt x="1719" y="340"/>
                  </a:lnTo>
                  <a:lnTo>
                    <a:pt x="1724" y="343"/>
                  </a:lnTo>
                  <a:lnTo>
                    <a:pt x="1729" y="348"/>
                  </a:lnTo>
                  <a:lnTo>
                    <a:pt x="1732" y="356"/>
                  </a:lnTo>
                  <a:lnTo>
                    <a:pt x="1737" y="363"/>
                  </a:lnTo>
                  <a:lnTo>
                    <a:pt x="1740" y="368"/>
                  </a:lnTo>
                  <a:lnTo>
                    <a:pt x="1745" y="373"/>
                  </a:lnTo>
                  <a:lnTo>
                    <a:pt x="1750" y="378"/>
                  </a:lnTo>
                  <a:lnTo>
                    <a:pt x="1752" y="386"/>
                  </a:lnTo>
                  <a:lnTo>
                    <a:pt x="1757" y="391"/>
                  </a:lnTo>
                  <a:lnTo>
                    <a:pt x="1760" y="401"/>
                  </a:lnTo>
                  <a:lnTo>
                    <a:pt x="1760" y="411"/>
                  </a:lnTo>
                  <a:lnTo>
                    <a:pt x="1760" y="424"/>
                  </a:lnTo>
                  <a:lnTo>
                    <a:pt x="1757" y="431"/>
                  </a:lnTo>
                  <a:lnTo>
                    <a:pt x="1757" y="439"/>
                  </a:lnTo>
                  <a:lnTo>
                    <a:pt x="1757" y="444"/>
                  </a:lnTo>
                  <a:lnTo>
                    <a:pt x="1757" y="449"/>
                  </a:lnTo>
                  <a:lnTo>
                    <a:pt x="1757" y="451"/>
                  </a:lnTo>
                  <a:lnTo>
                    <a:pt x="1760" y="451"/>
                  </a:lnTo>
                  <a:lnTo>
                    <a:pt x="1765" y="454"/>
                  </a:lnTo>
                  <a:lnTo>
                    <a:pt x="1770" y="454"/>
                  </a:lnTo>
                  <a:lnTo>
                    <a:pt x="1775" y="454"/>
                  </a:lnTo>
                  <a:lnTo>
                    <a:pt x="1777" y="456"/>
                  </a:lnTo>
                  <a:lnTo>
                    <a:pt x="1782" y="456"/>
                  </a:lnTo>
                  <a:lnTo>
                    <a:pt x="1782" y="459"/>
                  </a:lnTo>
                  <a:lnTo>
                    <a:pt x="1782" y="461"/>
                  </a:lnTo>
                  <a:lnTo>
                    <a:pt x="1780" y="464"/>
                  </a:lnTo>
                  <a:lnTo>
                    <a:pt x="1772" y="464"/>
                  </a:lnTo>
                  <a:lnTo>
                    <a:pt x="1767" y="466"/>
                  </a:lnTo>
                  <a:lnTo>
                    <a:pt x="1765" y="469"/>
                  </a:lnTo>
                  <a:lnTo>
                    <a:pt x="1765" y="471"/>
                  </a:lnTo>
                  <a:lnTo>
                    <a:pt x="1767" y="471"/>
                  </a:lnTo>
                  <a:lnTo>
                    <a:pt x="1770" y="474"/>
                  </a:lnTo>
                  <a:lnTo>
                    <a:pt x="1775" y="477"/>
                  </a:lnTo>
                  <a:lnTo>
                    <a:pt x="1777" y="477"/>
                  </a:lnTo>
                  <a:lnTo>
                    <a:pt x="1775" y="477"/>
                  </a:lnTo>
                  <a:lnTo>
                    <a:pt x="1770" y="477"/>
                  </a:lnTo>
                  <a:lnTo>
                    <a:pt x="1765" y="479"/>
                  </a:lnTo>
                  <a:lnTo>
                    <a:pt x="1762" y="482"/>
                  </a:lnTo>
                  <a:lnTo>
                    <a:pt x="1757" y="484"/>
                  </a:lnTo>
                  <a:lnTo>
                    <a:pt x="1755" y="487"/>
                  </a:lnTo>
                  <a:lnTo>
                    <a:pt x="1755" y="489"/>
                  </a:lnTo>
                  <a:lnTo>
                    <a:pt x="1757" y="494"/>
                  </a:lnTo>
                  <a:lnTo>
                    <a:pt x="1762" y="497"/>
                  </a:lnTo>
                  <a:lnTo>
                    <a:pt x="1767" y="499"/>
                  </a:lnTo>
                  <a:lnTo>
                    <a:pt x="1772" y="502"/>
                  </a:lnTo>
                  <a:lnTo>
                    <a:pt x="1780" y="502"/>
                  </a:lnTo>
                  <a:lnTo>
                    <a:pt x="1785" y="502"/>
                  </a:lnTo>
                  <a:lnTo>
                    <a:pt x="1790" y="499"/>
                  </a:lnTo>
                  <a:lnTo>
                    <a:pt x="1792" y="497"/>
                  </a:lnTo>
                  <a:lnTo>
                    <a:pt x="1795" y="494"/>
                  </a:lnTo>
                  <a:lnTo>
                    <a:pt x="1798" y="492"/>
                  </a:lnTo>
                  <a:lnTo>
                    <a:pt x="1800" y="489"/>
                  </a:lnTo>
                  <a:lnTo>
                    <a:pt x="1800" y="487"/>
                  </a:lnTo>
                  <a:lnTo>
                    <a:pt x="1803" y="484"/>
                  </a:lnTo>
                  <a:lnTo>
                    <a:pt x="1805" y="484"/>
                  </a:lnTo>
                  <a:lnTo>
                    <a:pt x="1808" y="484"/>
                  </a:lnTo>
                  <a:lnTo>
                    <a:pt x="1810" y="482"/>
                  </a:lnTo>
                  <a:lnTo>
                    <a:pt x="1815" y="487"/>
                  </a:lnTo>
                  <a:lnTo>
                    <a:pt x="1815" y="494"/>
                  </a:lnTo>
                  <a:lnTo>
                    <a:pt x="1815" y="504"/>
                  </a:lnTo>
                  <a:lnTo>
                    <a:pt x="1813" y="512"/>
                  </a:lnTo>
                  <a:lnTo>
                    <a:pt x="1810" y="514"/>
                  </a:lnTo>
                  <a:lnTo>
                    <a:pt x="1805" y="514"/>
                  </a:lnTo>
                  <a:lnTo>
                    <a:pt x="1803" y="517"/>
                  </a:lnTo>
                  <a:lnTo>
                    <a:pt x="1798" y="519"/>
                  </a:lnTo>
                  <a:lnTo>
                    <a:pt x="1792" y="522"/>
                  </a:lnTo>
                  <a:lnTo>
                    <a:pt x="1787" y="527"/>
                  </a:lnTo>
                  <a:lnTo>
                    <a:pt x="1785" y="529"/>
                  </a:lnTo>
                  <a:lnTo>
                    <a:pt x="1780" y="532"/>
                  </a:lnTo>
                  <a:lnTo>
                    <a:pt x="1777" y="537"/>
                  </a:lnTo>
                  <a:lnTo>
                    <a:pt x="1777" y="545"/>
                  </a:lnTo>
                  <a:lnTo>
                    <a:pt x="1775" y="555"/>
                  </a:lnTo>
                  <a:lnTo>
                    <a:pt x="1772" y="565"/>
                  </a:lnTo>
                  <a:lnTo>
                    <a:pt x="1772" y="572"/>
                  </a:lnTo>
                  <a:lnTo>
                    <a:pt x="1772" y="582"/>
                  </a:lnTo>
                  <a:lnTo>
                    <a:pt x="1775" y="587"/>
                  </a:lnTo>
                  <a:lnTo>
                    <a:pt x="1775" y="593"/>
                  </a:lnTo>
                  <a:lnTo>
                    <a:pt x="1777" y="598"/>
                  </a:lnTo>
                  <a:lnTo>
                    <a:pt x="1782" y="600"/>
                  </a:lnTo>
                  <a:lnTo>
                    <a:pt x="1787" y="605"/>
                  </a:lnTo>
                  <a:lnTo>
                    <a:pt x="1792" y="608"/>
                  </a:lnTo>
                  <a:lnTo>
                    <a:pt x="1795" y="613"/>
                  </a:lnTo>
                  <a:lnTo>
                    <a:pt x="1800" y="618"/>
                  </a:lnTo>
                  <a:lnTo>
                    <a:pt x="1803" y="625"/>
                  </a:lnTo>
                  <a:lnTo>
                    <a:pt x="1803" y="630"/>
                  </a:lnTo>
                  <a:lnTo>
                    <a:pt x="1803" y="638"/>
                  </a:lnTo>
                  <a:lnTo>
                    <a:pt x="1805" y="643"/>
                  </a:lnTo>
                  <a:lnTo>
                    <a:pt x="1810" y="648"/>
                  </a:lnTo>
                  <a:lnTo>
                    <a:pt x="1815" y="653"/>
                  </a:lnTo>
                  <a:lnTo>
                    <a:pt x="1820" y="658"/>
                  </a:lnTo>
                  <a:lnTo>
                    <a:pt x="1825" y="661"/>
                  </a:lnTo>
                  <a:lnTo>
                    <a:pt x="1833" y="666"/>
                  </a:lnTo>
                  <a:lnTo>
                    <a:pt x="1838" y="671"/>
                  </a:lnTo>
                  <a:lnTo>
                    <a:pt x="1843" y="673"/>
                  </a:lnTo>
                  <a:lnTo>
                    <a:pt x="1848" y="678"/>
                  </a:lnTo>
                  <a:lnTo>
                    <a:pt x="1856" y="683"/>
                  </a:lnTo>
                  <a:lnTo>
                    <a:pt x="1863" y="691"/>
                  </a:lnTo>
                  <a:lnTo>
                    <a:pt x="1871" y="693"/>
                  </a:lnTo>
                  <a:lnTo>
                    <a:pt x="1881" y="698"/>
                  </a:lnTo>
                  <a:lnTo>
                    <a:pt x="1888" y="698"/>
                  </a:lnTo>
                  <a:lnTo>
                    <a:pt x="1896" y="698"/>
                  </a:lnTo>
                  <a:lnTo>
                    <a:pt x="1903" y="696"/>
                  </a:lnTo>
                  <a:lnTo>
                    <a:pt x="1908" y="696"/>
                  </a:lnTo>
                  <a:lnTo>
                    <a:pt x="1914" y="696"/>
                  </a:lnTo>
                  <a:lnTo>
                    <a:pt x="1919" y="696"/>
                  </a:lnTo>
                  <a:lnTo>
                    <a:pt x="1924" y="698"/>
                  </a:lnTo>
                  <a:lnTo>
                    <a:pt x="1926" y="701"/>
                  </a:lnTo>
                  <a:lnTo>
                    <a:pt x="1929" y="703"/>
                  </a:lnTo>
                  <a:lnTo>
                    <a:pt x="1931" y="706"/>
                  </a:lnTo>
                  <a:lnTo>
                    <a:pt x="1931" y="708"/>
                  </a:lnTo>
                  <a:lnTo>
                    <a:pt x="1934" y="708"/>
                  </a:lnTo>
                  <a:lnTo>
                    <a:pt x="1936" y="711"/>
                  </a:lnTo>
                  <a:lnTo>
                    <a:pt x="1939" y="711"/>
                  </a:lnTo>
                  <a:lnTo>
                    <a:pt x="1944" y="711"/>
                  </a:lnTo>
                  <a:lnTo>
                    <a:pt x="1949" y="711"/>
                  </a:lnTo>
                  <a:lnTo>
                    <a:pt x="1954" y="711"/>
                  </a:lnTo>
                  <a:lnTo>
                    <a:pt x="1956" y="711"/>
                  </a:lnTo>
                  <a:lnTo>
                    <a:pt x="1964" y="708"/>
                  </a:lnTo>
                  <a:lnTo>
                    <a:pt x="1966" y="708"/>
                  </a:lnTo>
                  <a:lnTo>
                    <a:pt x="1971" y="706"/>
                  </a:lnTo>
                  <a:lnTo>
                    <a:pt x="1977" y="703"/>
                  </a:lnTo>
                  <a:lnTo>
                    <a:pt x="1979" y="701"/>
                  </a:lnTo>
                  <a:lnTo>
                    <a:pt x="1982" y="698"/>
                  </a:lnTo>
                  <a:lnTo>
                    <a:pt x="1984" y="693"/>
                  </a:lnTo>
                  <a:lnTo>
                    <a:pt x="1984" y="691"/>
                  </a:lnTo>
                  <a:lnTo>
                    <a:pt x="1984" y="681"/>
                  </a:lnTo>
                  <a:lnTo>
                    <a:pt x="1984" y="673"/>
                  </a:lnTo>
                  <a:lnTo>
                    <a:pt x="1984" y="668"/>
                  </a:lnTo>
                  <a:lnTo>
                    <a:pt x="1984" y="666"/>
                  </a:lnTo>
                  <a:lnTo>
                    <a:pt x="1984" y="661"/>
                  </a:lnTo>
                  <a:lnTo>
                    <a:pt x="1987" y="658"/>
                  </a:lnTo>
                  <a:lnTo>
                    <a:pt x="1989" y="656"/>
                  </a:lnTo>
                  <a:lnTo>
                    <a:pt x="1992" y="653"/>
                  </a:lnTo>
                  <a:lnTo>
                    <a:pt x="1994" y="648"/>
                  </a:lnTo>
                  <a:lnTo>
                    <a:pt x="1992" y="640"/>
                  </a:lnTo>
                  <a:lnTo>
                    <a:pt x="1989" y="633"/>
                  </a:lnTo>
                  <a:lnTo>
                    <a:pt x="1989" y="628"/>
                  </a:lnTo>
                  <a:lnTo>
                    <a:pt x="1992" y="625"/>
                  </a:lnTo>
                  <a:lnTo>
                    <a:pt x="1994" y="620"/>
                  </a:lnTo>
                  <a:lnTo>
                    <a:pt x="1999" y="615"/>
                  </a:lnTo>
                  <a:lnTo>
                    <a:pt x="2004" y="608"/>
                  </a:lnTo>
                  <a:lnTo>
                    <a:pt x="2007" y="600"/>
                  </a:lnTo>
                  <a:lnTo>
                    <a:pt x="2009" y="593"/>
                  </a:lnTo>
                  <a:lnTo>
                    <a:pt x="2012" y="585"/>
                  </a:lnTo>
                  <a:lnTo>
                    <a:pt x="2009" y="580"/>
                  </a:lnTo>
                  <a:lnTo>
                    <a:pt x="2009" y="572"/>
                  </a:lnTo>
                  <a:lnTo>
                    <a:pt x="2012" y="565"/>
                  </a:lnTo>
                  <a:lnTo>
                    <a:pt x="2014" y="560"/>
                  </a:lnTo>
                  <a:lnTo>
                    <a:pt x="2022" y="552"/>
                  </a:lnTo>
                  <a:lnTo>
                    <a:pt x="2027" y="545"/>
                  </a:lnTo>
                  <a:lnTo>
                    <a:pt x="2035" y="540"/>
                  </a:lnTo>
                  <a:lnTo>
                    <a:pt x="2042" y="535"/>
                  </a:lnTo>
                  <a:lnTo>
                    <a:pt x="2047" y="532"/>
                  </a:lnTo>
                  <a:lnTo>
                    <a:pt x="2052" y="529"/>
                  </a:lnTo>
                  <a:lnTo>
                    <a:pt x="2057" y="527"/>
                  </a:lnTo>
                  <a:lnTo>
                    <a:pt x="2065" y="524"/>
                  </a:lnTo>
                  <a:lnTo>
                    <a:pt x="2072" y="517"/>
                  </a:lnTo>
                  <a:lnTo>
                    <a:pt x="2080" y="512"/>
                  </a:lnTo>
                  <a:lnTo>
                    <a:pt x="2087" y="502"/>
                  </a:lnTo>
                  <a:lnTo>
                    <a:pt x="2093" y="494"/>
                  </a:lnTo>
                  <a:lnTo>
                    <a:pt x="2098" y="484"/>
                  </a:lnTo>
                  <a:lnTo>
                    <a:pt x="2100" y="474"/>
                  </a:lnTo>
                  <a:lnTo>
                    <a:pt x="2105" y="466"/>
                  </a:lnTo>
                  <a:lnTo>
                    <a:pt x="2108" y="461"/>
                  </a:lnTo>
                  <a:lnTo>
                    <a:pt x="2108" y="456"/>
                  </a:lnTo>
                  <a:lnTo>
                    <a:pt x="2113" y="454"/>
                  </a:lnTo>
                  <a:lnTo>
                    <a:pt x="2118" y="451"/>
                  </a:lnTo>
                  <a:lnTo>
                    <a:pt x="2123" y="449"/>
                  </a:lnTo>
                  <a:lnTo>
                    <a:pt x="2125" y="446"/>
                  </a:lnTo>
                  <a:lnTo>
                    <a:pt x="2130" y="444"/>
                  </a:lnTo>
                  <a:lnTo>
                    <a:pt x="2135" y="439"/>
                  </a:lnTo>
                  <a:lnTo>
                    <a:pt x="2140" y="434"/>
                  </a:lnTo>
                  <a:lnTo>
                    <a:pt x="2148" y="429"/>
                  </a:lnTo>
                  <a:lnTo>
                    <a:pt x="2156" y="424"/>
                  </a:lnTo>
                  <a:lnTo>
                    <a:pt x="2163" y="416"/>
                  </a:lnTo>
                  <a:lnTo>
                    <a:pt x="2171" y="411"/>
                  </a:lnTo>
                  <a:lnTo>
                    <a:pt x="2176" y="403"/>
                  </a:lnTo>
                  <a:lnTo>
                    <a:pt x="2183" y="396"/>
                  </a:lnTo>
                  <a:lnTo>
                    <a:pt x="2191" y="391"/>
                  </a:lnTo>
                  <a:lnTo>
                    <a:pt x="2196" y="386"/>
                  </a:lnTo>
                  <a:lnTo>
                    <a:pt x="2198" y="378"/>
                  </a:lnTo>
                  <a:lnTo>
                    <a:pt x="2203" y="376"/>
                  </a:lnTo>
                  <a:lnTo>
                    <a:pt x="2203" y="371"/>
                  </a:lnTo>
                  <a:lnTo>
                    <a:pt x="2206" y="368"/>
                  </a:lnTo>
                  <a:lnTo>
                    <a:pt x="2203" y="366"/>
                  </a:lnTo>
                  <a:lnTo>
                    <a:pt x="2196" y="363"/>
                  </a:lnTo>
                  <a:lnTo>
                    <a:pt x="2188" y="363"/>
                  </a:lnTo>
                  <a:lnTo>
                    <a:pt x="2178" y="366"/>
                  </a:lnTo>
                  <a:lnTo>
                    <a:pt x="2168" y="368"/>
                  </a:lnTo>
                  <a:lnTo>
                    <a:pt x="2161" y="371"/>
                  </a:lnTo>
                  <a:lnTo>
                    <a:pt x="2150" y="376"/>
                  </a:lnTo>
                  <a:lnTo>
                    <a:pt x="2143" y="381"/>
                  </a:lnTo>
                  <a:lnTo>
                    <a:pt x="2140" y="383"/>
                  </a:lnTo>
                  <a:lnTo>
                    <a:pt x="2140" y="381"/>
                  </a:lnTo>
                  <a:lnTo>
                    <a:pt x="2143" y="378"/>
                  </a:lnTo>
                  <a:lnTo>
                    <a:pt x="2145" y="376"/>
                  </a:lnTo>
                  <a:lnTo>
                    <a:pt x="2145" y="371"/>
                  </a:lnTo>
                  <a:lnTo>
                    <a:pt x="2143" y="366"/>
                  </a:lnTo>
                  <a:lnTo>
                    <a:pt x="2138" y="366"/>
                  </a:lnTo>
                  <a:lnTo>
                    <a:pt x="2128" y="366"/>
                  </a:lnTo>
                  <a:lnTo>
                    <a:pt x="2125" y="368"/>
                  </a:lnTo>
                  <a:lnTo>
                    <a:pt x="2125" y="366"/>
                  </a:lnTo>
                  <a:lnTo>
                    <a:pt x="2130" y="363"/>
                  </a:lnTo>
                  <a:lnTo>
                    <a:pt x="2140" y="358"/>
                  </a:lnTo>
                  <a:lnTo>
                    <a:pt x="2150" y="356"/>
                  </a:lnTo>
                  <a:lnTo>
                    <a:pt x="2158" y="353"/>
                  </a:lnTo>
                  <a:lnTo>
                    <a:pt x="2166" y="350"/>
                  </a:lnTo>
                  <a:lnTo>
                    <a:pt x="2171" y="353"/>
                  </a:lnTo>
                  <a:lnTo>
                    <a:pt x="2173" y="353"/>
                  </a:lnTo>
                  <a:lnTo>
                    <a:pt x="2178" y="356"/>
                  </a:lnTo>
                  <a:lnTo>
                    <a:pt x="2183" y="353"/>
                  </a:lnTo>
                  <a:lnTo>
                    <a:pt x="2188" y="353"/>
                  </a:lnTo>
                  <a:lnTo>
                    <a:pt x="2193" y="350"/>
                  </a:lnTo>
                  <a:lnTo>
                    <a:pt x="2198" y="345"/>
                  </a:lnTo>
                  <a:lnTo>
                    <a:pt x="2201" y="343"/>
                  </a:lnTo>
                  <a:lnTo>
                    <a:pt x="2201" y="338"/>
                  </a:lnTo>
                  <a:lnTo>
                    <a:pt x="2198" y="333"/>
                  </a:lnTo>
                  <a:lnTo>
                    <a:pt x="2196" y="330"/>
                  </a:lnTo>
                  <a:lnTo>
                    <a:pt x="2193" y="328"/>
                  </a:lnTo>
                  <a:lnTo>
                    <a:pt x="2188" y="325"/>
                  </a:lnTo>
                  <a:lnTo>
                    <a:pt x="2183" y="325"/>
                  </a:lnTo>
                  <a:lnTo>
                    <a:pt x="2176" y="323"/>
                  </a:lnTo>
                  <a:lnTo>
                    <a:pt x="2168" y="323"/>
                  </a:lnTo>
                  <a:lnTo>
                    <a:pt x="2161" y="323"/>
                  </a:lnTo>
                  <a:lnTo>
                    <a:pt x="2153" y="323"/>
                  </a:lnTo>
                  <a:lnTo>
                    <a:pt x="2145" y="323"/>
                  </a:lnTo>
                  <a:lnTo>
                    <a:pt x="2140" y="323"/>
                  </a:lnTo>
                  <a:lnTo>
                    <a:pt x="2138" y="325"/>
                  </a:lnTo>
                  <a:lnTo>
                    <a:pt x="2135" y="325"/>
                  </a:lnTo>
                  <a:lnTo>
                    <a:pt x="2135" y="323"/>
                  </a:lnTo>
                  <a:lnTo>
                    <a:pt x="2138" y="320"/>
                  </a:lnTo>
                  <a:lnTo>
                    <a:pt x="2143" y="318"/>
                  </a:lnTo>
                  <a:lnTo>
                    <a:pt x="2148" y="318"/>
                  </a:lnTo>
                  <a:lnTo>
                    <a:pt x="2153" y="318"/>
                  </a:lnTo>
                  <a:lnTo>
                    <a:pt x="2158" y="318"/>
                  </a:lnTo>
                  <a:lnTo>
                    <a:pt x="2161" y="315"/>
                  </a:lnTo>
                  <a:lnTo>
                    <a:pt x="2161" y="313"/>
                  </a:lnTo>
                  <a:lnTo>
                    <a:pt x="2156" y="310"/>
                  </a:lnTo>
                  <a:lnTo>
                    <a:pt x="2150" y="308"/>
                  </a:lnTo>
                  <a:lnTo>
                    <a:pt x="2145" y="305"/>
                  </a:lnTo>
                  <a:lnTo>
                    <a:pt x="2140" y="303"/>
                  </a:lnTo>
                  <a:lnTo>
                    <a:pt x="2135" y="303"/>
                  </a:lnTo>
                  <a:lnTo>
                    <a:pt x="2133" y="300"/>
                  </a:lnTo>
                  <a:lnTo>
                    <a:pt x="2133" y="298"/>
                  </a:lnTo>
                  <a:lnTo>
                    <a:pt x="2138" y="295"/>
                  </a:lnTo>
                  <a:lnTo>
                    <a:pt x="2143" y="292"/>
                  </a:lnTo>
                  <a:lnTo>
                    <a:pt x="2148" y="290"/>
                  </a:lnTo>
                  <a:lnTo>
                    <a:pt x="2150" y="285"/>
                  </a:lnTo>
                  <a:lnTo>
                    <a:pt x="2153" y="282"/>
                  </a:lnTo>
                  <a:lnTo>
                    <a:pt x="2156" y="277"/>
                  </a:lnTo>
                  <a:lnTo>
                    <a:pt x="2156" y="275"/>
                  </a:lnTo>
                  <a:lnTo>
                    <a:pt x="2153" y="272"/>
                  </a:lnTo>
                  <a:lnTo>
                    <a:pt x="2153" y="270"/>
                  </a:lnTo>
                  <a:lnTo>
                    <a:pt x="2150" y="267"/>
                  </a:lnTo>
                  <a:lnTo>
                    <a:pt x="2150" y="265"/>
                  </a:lnTo>
                  <a:lnTo>
                    <a:pt x="2150" y="260"/>
                  </a:lnTo>
                  <a:lnTo>
                    <a:pt x="2153" y="257"/>
                  </a:lnTo>
                  <a:lnTo>
                    <a:pt x="2153" y="255"/>
                  </a:lnTo>
                  <a:lnTo>
                    <a:pt x="2153" y="252"/>
                  </a:lnTo>
                  <a:lnTo>
                    <a:pt x="2150" y="250"/>
                  </a:lnTo>
                  <a:lnTo>
                    <a:pt x="2148" y="250"/>
                  </a:lnTo>
                  <a:lnTo>
                    <a:pt x="2143" y="247"/>
                  </a:lnTo>
                  <a:lnTo>
                    <a:pt x="2140" y="245"/>
                  </a:lnTo>
                  <a:lnTo>
                    <a:pt x="2140" y="242"/>
                  </a:lnTo>
                  <a:lnTo>
                    <a:pt x="2140" y="240"/>
                  </a:lnTo>
                  <a:lnTo>
                    <a:pt x="2140" y="237"/>
                  </a:lnTo>
                  <a:lnTo>
                    <a:pt x="2138" y="234"/>
                  </a:lnTo>
                  <a:lnTo>
                    <a:pt x="2133" y="234"/>
                  </a:lnTo>
                  <a:lnTo>
                    <a:pt x="2128" y="232"/>
                  </a:lnTo>
                  <a:lnTo>
                    <a:pt x="2120" y="232"/>
                  </a:lnTo>
                  <a:lnTo>
                    <a:pt x="2113" y="229"/>
                  </a:lnTo>
                  <a:lnTo>
                    <a:pt x="2105" y="229"/>
                  </a:lnTo>
                  <a:lnTo>
                    <a:pt x="2100" y="227"/>
                  </a:lnTo>
                  <a:lnTo>
                    <a:pt x="2095" y="224"/>
                  </a:lnTo>
                  <a:lnTo>
                    <a:pt x="2095" y="219"/>
                  </a:lnTo>
                  <a:lnTo>
                    <a:pt x="2100" y="217"/>
                  </a:lnTo>
                  <a:lnTo>
                    <a:pt x="2105" y="212"/>
                  </a:lnTo>
                  <a:lnTo>
                    <a:pt x="2108" y="207"/>
                  </a:lnTo>
                  <a:lnTo>
                    <a:pt x="2110" y="204"/>
                  </a:lnTo>
                  <a:lnTo>
                    <a:pt x="2108" y="202"/>
                  </a:lnTo>
                  <a:lnTo>
                    <a:pt x="2105" y="202"/>
                  </a:lnTo>
                  <a:lnTo>
                    <a:pt x="2103" y="199"/>
                  </a:lnTo>
                  <a:lnTo>
                    <a:pt x="2098" y="202"/>
                  </a:lnTo>
                  <a:lnTo>
                    <a:pt x="2093" y="202"/>
                  </a:lnTo>
                  <a:lnTo>
                    <a:pt x="2087" y="202"/>
                  </a:lnTo>
                  <a:lnTo>
                    <a:pt x="2085" y="202"/>
                  </a:lnTo>
                  <a:lnTo>
                    <a:pt x="2082" y="199"/>
                  </a:lnTo>
                  <a:lnTo>
                    <a:pt x="2082" y="197"/>
                  </a:lnTo>
                  <a:lnTo>
                    <a:pt x="2080" y="197"/>
                  </a:lnTo>
                  <a:lnTo>
                    <a:pt x="2077" y="194"/>
                  </a:lnTo>
                  <a:lnTo>
                    <a:pt x="2075" y="194"/>
                  </a:lnTo>
                  <a:lnTo>
                    <a:pt x="2070" y="194"/>
                  </a:lnTo>
                  <a:lnTo>
                    <a:pt x="2062" y="194"/>
                  </a:lnTo>
                  <a:lnTo>
                    <a:pt x="2055" y="184"/>
                  </a:lnTo>
                  <a:lnTo>
                    <a:pt x="2052" y="174"/>
                  </a:lnTo>
                  <a:lnTo>
                    <a:pt x="2050" y="161"/>
                  </a:lnTo>
                  <a:lnTo>
                    <a:pt x="2050" y="154"/>
                  </a:lnTo>
                  <a:lnTo>
                    <a:pt x="2050" y="146"/>
                  </a:lnTo>
                  <a:lnTo>
                    <a:pt x="2050" y="141"/>
                  </a:lnTo>
                  <a:lnTo>
                    <a:pt x="2047" y="134"/>
                  </a:lnTo>
                  <a:lnTo>
                    <a:pt x="2045" y="129"/>
                  </a:lnTo>
                  <a:lnTo>
                    <a:pt x="2045" y="121"/>
                  </a:lnTo>
                  <a:lnTo>
                    <a:pt x="2047" y="111"/>
                  </a:lnTo>
                  <a:lnTo>
                    <a:pt x="2047" y="103"/>
                  </a:lnTo>
                  <a:lnTo>
                    <a:pt x="2047" y="101"/>
                  </a:lnTo>
                  <a:lnTo>
                    <a:pt x="2045" y="98"/>
                  </a:lnTo>
                  <a:lnTo>
                    <a:pt x="2042" y="98"/>
                  </a:lnTo>
                  <a:lnTo>
                    <a:pt x="2040" y="96"/>
                  </a:lnTo>
                  <a:lnTo>
                    <a:pt x="2035" y="96"/>
                  </a:lnTo>
                  <a:lnTo>
                    <a:pt x="2032" y="98"/>
                  </a:lnTo>
                  <a:lnTo>
                    <a:pt x="2029" y="98"/>
                  </a:lnTo>
                  <a:lnTo>
                    <a:pt x="2027" y="98"/>
                  </a:lnTo>
                  <a:lnTo>
                    <a:pt x="2022" y="101"/>
                  </a:lnTo>
                  <a:lnTo>
                    <a:pt x="2017" y="103"/>
                  </a:lnTo>
                  <a:lnTo>
                    <a:pt x="2014" y="106"/>
                  </a:lnTo>
                  <a:lnTo>
                    <a:pt x="2012" y="111"/>
                  </a:lnTo>
                  <a:lnTo>
                    <a:pt x="2009" y="113"/>
                  </a:lnTo>
                  <a:lnTo>
                    <a:pt x="2007" y="116"/>
                  </a:lnTo>
                  <a:lnTo>
                    <a:pt x="2004" y="121"/>
                  </a:lnTo>
                  <a:lnTo>
                    <a:pt x="2004" y="124"/>
                  </a:lnTo>
                  <a:lnTo>
                    <a:pt x="2002" y="129"/>
                  </a:lnTo>
                  <a:lnTo>
                    <a:pt x="1999" y="131"/>
                  </a:lnTo>
                  <a:lnTo>
                    <a:pt x="1997" y="131"/>
                  </a:lnTo>
                  <a:lnTo>
                    <a:pt x="1994" y="131"/>
                  </a:lnTo>
                  <a:lnTo>
                    <a:pt x="1992" y="134"/>
                  </a:lnTo>
                  <a:lnTo>
                    <a:pt x="1992" y="131"/>
                  </a:lnTo>
                  <a:lnTo>
                    <a:pt x="1989" y="131"/>
                  </a:lnTo>
                  <a:lnTo>
                    <a:pt x="1987" y="129"/>
                  </a:lnTo>
                  <a:lnTo>
                    <a:pt x="1984" y="126"/>
                  </a:lnTo>
                  <a:lnTo>
                    <a:pt x="1982" y="126"/>
                  </a:lnTo>
                  <a:lnTo>
                    <a:pt x="1979" y="126"/>
                  </a:lnTo>
                  <a:lnTo>
                    <a:pt x="1977" y="129"/>
                  </a:lnTo>
                  <a:lnTo>
                    <a:pt x="1974" y="131"/>
                  </a:lnTo>
                  <a:lnTo>
                    <a:pt x="1971" y="134"/>
                  </a:lnTo>
                  <a:lnTo>
                    <a:pt x="1969" y="136"/>
                  </a:lnTo>
                  <a:lnTo>
                    <a:pt x="1964" y="141"/>
                  </a:lnTo>
                  <a:lnTo>
                    <a:pt x="1964" y="139"/>
                  </a:lnTo>
                  <a:lnTo>
                    <a:pt x="1964" y="136"/>
                  </a:lnTo>
                  <a:lnTo>
                    <a:pt x="1964" y="134"/>
                  </a:lnTo>
                  <a:lnTo>
                    <a:pt x="1961" y="131"/>
                  </a:lnTo>
                  <a:lnTo>
                    <a:pt x="1954" y="131"/>
                  </a:lnTo>
                  <a:lnTo>
                    <a:pt x="1946" y="134"/>
                  </a:lnTo>
                  <a:lnTo>
                    <a:pt x="1946" y="131"/>
                  </a:lnTo>
                  <a:lnTo>
                    <a:pt x="1951" y="129"/>
                  </a:lnTo>
                  <a:lnTo>
                    <a:pt x="1954" y="124"/>
                  </a:lnTo>
                  <a:lnTo>
                    <a:pt x="1959" y="119"/>
                  </a:lnTo>
                  <a:lnTo>
                    <a:pt x="1961" y="116"/>
                  </a:lnTo>
                  <a:lnTo>
                    <a:pt x="1964" y="111"/>
                  </a:lnTo>
                  <a:lnTo>
                    <a:pt x="1961" y="108"/>
                  </a:lnTo>
                  <a:lnTo>
                    <a:pt x="1954" y="108"/>
                  </a:lnTo>
                  <a:lnTo>
                    <a:pt x="1949" y="111"/>
                  </a:lnTo>
                  <a:lnTo>
                    <a:pt x="1944" y="111"/>
                  </a:lnTo>
                  <a:lnTo>
                    <a:pt x="1939" y="111"/>
                  </a:lnTo>
                  <a:lnTo>
                    <a:pt x="1934" y="108"/>
                  </a:lnTo>
                  <a:lnTo>
                    <a:pt x="1931" y="108"/>
                  </a:lnTo>
                  <a:lnTo>
                    <a:pt x="1926" y="108"/>
                  </a:lnTo>
                  <a:lnTo>
                    <a:pt x="1924" y="108"/>
                  </a:lnTo>
                  <a:lnTo>
                    <a:pt x="1919" y="108"/>
                  </a:lnTo>
                  <a:lnTo>
                    <a:pt x="1916" y="108"/>
                  </a:lnTo>
                  <a:lnTo>
                    <a:pt x="1914" y="111"/>
                  </a:lnTo>
                  <a:lnTo>
                    <a:pt x="1911" y="111"/>
                  </a:lnTo>
                  <a:lnTo>
                    <a:pt x="1906" y="111"/>
                  </a:lnTo>
                  <a:lnTo>
                    <a:pt x="1898" y="116"/>
                  </a:lnTo>
                  <a:lnTo>
                    <a:pt x="1888" y="121"/>
                  </a:lnTo>
                  <a:lnTo>
                    <a:pt x="1876" y="126"/>
                  </a:lnTo>
                  <a:lnTo>
                    <a:pt x="1866" y="129"/>
                  </a:lnTo>
                  <a:lnTo>
                    <a:pt x="1853" y="134"/>
                  </a:lnTo>
                  <a:lnTo>
                    <a:pt x="1845" y="139"/>
                  </a:lnTo>
                  <a:lnTo>
                    <a:pt x="1838" y="144"/>
                  </a:lnTo>
                  <a:lnTo>
                    <a:pt x="1835" y="149"/>
                  </a:lnTo>
                  <a:lnTo>
                    <a:pt x="1833" y="151"/>
                  </a:lnTo>
                  <a:lnTo>
                    <a:pt x="1830" y="156"/>
                  </a:lnTo>
                  <a:lnTo>
                    <a:pt x="1830" y="159"/>
                  </a:lnTo>
                  <a:lnTo>
                    <a:pt x="1828" y="161"/>
                  </a:lnTo>
                  <a:lnTo>
                    <a:pt x="1825" y="164"/>
                  </a:lnTo>
                  <a:lnTo>
                    <a:pt x="1820" y="166"/>
                  </a:lnTo>
                  <a:lnTo>
                    <a:pt x="1815" y="166"/>
                  </a:lnTo>
                  <a:lnTo>
                    <a:pt x="1808" y="166"/>
                  </a:lnTo>
                  <a:lnTo>
                    <a:pt x="1800" y="169"/>
                  </a:lnTo>
                  <a:lnTo>
                    <a:pt x="1792" y="169"/>
                  </a:lnTo>
                  <a:lnTo>
                    <a:pt x="1782" y="174"/>
                  </a:lnTo>
                  <a:lnTo>
                    <a:pt x="1775" y="176"/>
                  </a:lnTo>
                  <a:lnTo>
                    <a:pt x="1767" y="182"/>
                  </a:lnTo>
                  <a:lnTo>
                    <a:pt x="1760" y="184"/>
                  </a:lnTo>
                  <a:lnTo>
                    <a:pt x="1755" y="189"/>
                  </a:lnTo>
                  <a:lnTo>
                    <a:pt x="1752" y="192"/>
                  </a:lnTo>
                  <a:lnTo>
                    <a:pt x="1750" y="197"/>
                  </a:lnTo>
                  <a:lnTo>
                    <a:pt x="1745" y="202"/>
                  </a:lnTo>
                  <a:lnTo>
                    <a:pt x="1737" y="207"/>
                  </a:lnTo>
                  <a:lnTo>
                    <a:pt x="1727" y="212"/>
                  </a:lnTo>
                  <a:lnTo>
                    <a:pt x="1719" y="217"/>
                  </a:lnTo>
                  <a:lnTo>
                    <a:pt x="1712" y="222"/>
                  </a:lnTo>
                  <a:lnTo>
                    <a:pt x="1707" y="229"/>
                  </a:lnTo>
                  <a:lnTo>
                    <a:pt x="1704" y="234"/>
                  </a:lnTo>
                  <a:lnTo>
                    <a:pt x="1704" y="240"/>
                  </a:lnTo>
                  <a:lnTo>
                    <a:pt x="1702" y="247"/>
                  </a:lnTo>
                  <a:lnTo>
                    <a:pt x="1697" y="252"/>
                  </a:lnTo>
                  <a:lnTo>
                    <a:pt x="1692" y="255"/>
                  </a:lnTo>
                  <a:lnTo>
                    <a:pt x="1684" y="260"/>
                  </a:lnTo>
                  <a:lnTo>
                    <a:pt x="1677" y="262"/>
                  </a:lnTo>
                  <a:lnTo>
                    <a:pt x="1669" y="265"/>
                  </a:lnTo>
                  <a:lnTo>
                    <a:pt x="1659" y="267"/>
                  </a:lnTo>
                  <a:lnTo>
                    <a:pt x="1651" y="270"/>
                  </a:lnTo>
                  <a:lnTo>
                    <a:pt x="1646" y="272"/>
                  </a:lnTo>
                  <a:lnTo>
                    <a:pt x="1639" y="277"/>
                  </a:lnTo>
                  <a:lnTo>
                    <a:pt x="1636" y="280"/>
                  </a:lnTo>
                  <a:lnTo>
                    <a:pt x="1634" y="282"/>
                  </a:lnTo>
                  <a:lnTo>
                    <a:pt x="1634" y="287"/>
                  </a:lnTo>
                  <a:lnTo>
                    <a:pt x="1634" y="290"/>
                  </a:lnTo>
                  <a:lnTo>
                    <a:pt x="1636" y="295"/>
                  </a:lnTo>
                  <a:close/>
                  <a:moveTo>
                    <a:pt x="1258" y="159"/>
                  </a:moveTo>
                  <a:lnTo>
                    <a:pt x="1258" y="159"/>
                  </a:lnTo>
                  <a:lnTo>
                    <a:pt x="1261" y="159"/>
                  </a:lnTo>
                  <a:lnTo>
                    <a:pt x="1263" y="164"/>
                  </a:lnTo>
                  <a:lnTo>
                    <a:pt x="1271" y="166"/>
                  </a:lnTo>
                  <a:lnTo>
                    <a:pt x="1278" y="166"/>
                  </a:lnTo>
                  <a:lnTo>
                    <a:pt x="1283" y="161"/>
                  </a:lnTo>
                  <a:lnTo>
                    <a:pt x="1288" y="159"/>
                  </a:lnTo>
                  <a:lnTo>
                    <a:pt x="1291" y="156"/>
                  </a:lnTo>
                  <a:lnTo>
                    <a:pt x="1293" y="154"/>
                  </a:lnTo>
                  <a:lnTo>
                    <a:pt x="1296" y="156"/>
                  </a:lnTo>
                  <a:lnTo>
                    <a:pt x="1301" y="159"/>
                  </a:lnTo>
                  <a:lnTo>
                    <a:pt x="1306" y="164"/>
                  </a:lnTo>
                  <a:lnTo>
                    <a:pt x="1311" y="169"/>
                  </a:lnTo>
                  <a:lnTo>
                    <a:pt x="1316" y="174"/>
                  </a:lnTo>
                  <a:lnTo>
                    <a:pt x="1316" y="176"/>
                  </a:lnTo>
                  <a:lnTo>
                    <a:pt x="1311" y="174"/>
                  </a:lnTo>
                  <a:lnTo>
                    <a:pt x="1306" y="171"/>
                  </a:lnTo>
                  <a:lnTo>
                    <a:pt x="1298" y="169"/>
                  </a:lnTo>
                  <a:lnTo>
                    <a:pt x="1296" y="171"/>
                  </a:lnTo>
                  <a:lnTo>
                    <a:pt x="1296" y="176"/>
                  </a:lnTo>
                  <a:lnTo>
                    <a:pt x="1296" y="182"/>
                  </a:lnTo>
                  <a:lnTo>
                    <a:pt x="1301" y="184"/>
                  </a:lnTo>
                  <a:lnTo>
                    <a:pt x="1303" y="189"/>
                  </a:lnTo>
                  <a:lnTo>
                    <a:pt x="1303" y="194"/>
                  </a:lnTo>
                  <a:lnTo>
                    <a:pt x="1301" y="197"/>
                  </a:lnTo>
                  <a:lnTo>
                    <a:pt x="1296" y="199"/>
                  </a:lnTo>
                  <a:lnTo>
                    <a:pt x="1293" y="202"/>
                  </a:lnTo>
                  <a:lnTo>
                    <a:pt x="1291" y="204"/>
                  </a:lnTo>
                  <a:lnTo>
                    <a:pt x="1293" y="209"/>
                  </a:lnTo>
                  <a:lnTo>
                    <a:pt x="1296" y="214"/>
                  </a:lnTo>
                  <a:lnTo>
                    <a:pt x="1298" y="214"/>
                  </a:lnTo>
                  <a:lnTo>
                    <a:pt x="1306" y="214"/>
                  </a:lnTo>
                  <a:lnTo>
                    <a:pt x="1313" y="214"/>
                  </a:lnTo>
                  <a:lnTo>
                    <a:pt x="1321" y="214"/>
                  </a:lnTo>
                  <a:lnTo>
                    <a:pt x="1326" y="214"/>
                  </a:lnTo>
                  <a:lnTo>
                    <a:pt x="1331" y="212"/>
                  </a:lnTo>
                  <a:lnTo>
                    <a:pt x="1336" y="209"/>
                  </a:lnTo>
                  <a:lnTo>
                    <a:pt x="1341" y="207"/>
                  </a:lnTo>
                  <a:lnTo>
                    <a:pt x="1346" y="204"/>
                  </a:lnTo>
                  <a:lnTo>
                    <a:pt x="1351" y="204"/>
                  </a:lnTo>
                  <a:lnTo>
                    <a:pt x="1356" y="207"/>
                  </a:lnTo>
                  <a:lnTo>
                    <a:pt x="1359" y="207"/>
                  </a:lnTo>
                  <a:lnTo>
                    <a:pt x="1364" y="207"/>
                  </a:lnTo>
                  <a:lnTo>
                    <a:pt x="1366" y="204"/>
                  </a:lnTo>
                  <a:lnTo>
                    <a:pt x="1371" y="199"/>
                  </a:lnTo>
                  <a:lnTo>
                    <a:pt x="1374" y="197"/>
                  </a:lnTo>
                  <a:lnTo>
                    <a:pt x="1377" y="194"/>
                  </a:lnTo>
                  <a:lnTo>
                    <a:pt x="1374" y="189"/>
                  </a:lnTo>
                  <a:lnTo>
                    <a:pt x="1369" y="187"/>
                  </a:lnTo>
                  <a:lnTo>
                    <a:pt x="1361" y="184"/>
                  </a:lnTo>
                  <a:lnTo>
                    <a:pt x="1359" y="182"/>
                  </a:lnTo>
                  <a:lnTo>
                    <a:pt x="1356" y="179"/>
                  </a:lnTo>
                  <a:lnTo>
                    <a:pt x="1359" y="176"/>
                  </a:lnTo>
                  <a:lnTo>
                    <a:pt x="1364" y="174"/>
                  </a:lnTo>
                  <a:lnTo>
                    <a:pt x="1364" y="171"/>
                  </a:lnTo>
                  <a:lnTo>
                    <a:pt x="1366" y="166"/>
                  </a:lnTo>
                  <a:lnTo>
                    <a:pt x="1364" y="161"/>
                  </a:lnTo>
                  <a:lnTo>
                    <a:pt x="1364" y="159"/>
                  </a:lnTo>
                  <a:lnTo>
                    <a:pt x="1364" y="156"/>
                  </a:lnTo>
                  <a:lnTo>
                    <a:pt x="1364" y="154"/>
                  </a:lnTo>
                  <a:lnTo>
                    <a:pt x="1366" y="151"/>
                  </a:lnTo>
                  <a:lnTo>
                    <a:pt x="1371" y="144"/>
                  </a:lnTo>
                  <a:lnTo>
                    <a:pt x="1377" y="136"/>
                  </a:lnTo>
                  <a:lnTo>
                    <a:pt x="1374" y="129"/>
                  </a:lnTo>
                  <a:lnTo>
                    <a:pt x="1366" y="124"/>
                  </a:lnTo>
                  <a:lnTo>
                    <a:pt x="1359" y="119"/>
                  </a:lnTo>
                  <a:lnTo>
                    <a:pt x="1354" y="116"/>
                  </a:lnTo>
                  <a:lnTo>
                    <a:pt x="1354" y="111"/>
                  </a:lnTo>
                  <a:lnTo>
                    <a:pt x="1359" y="108"/>
                  </a:lnTo>
                  <a:lnTo>
                    <a:pt x="1366" y="103"/>
                  </a:lnTo>
                  <a:lnTo>
                    <a:pt x="1371" y="98"/>
                  </a:lnTo>
                  <a:lnTo>
                    <a:pt x="1374" y="91"/>
                  </a:lnTo>
                  <a:lnTo>
                    <a:pt x="1374" y="86"/>
                  </a:lnTo>
                  <a:lnTo>
                    <a:pt x="1374" y="78"/>
                  </a:lnTo>
                  <a:lnTo>
                    <a:pt x="1374" y="71"/>
                  </a:lnTo>
                  <a:lnTo>
                    <a:pt x="1374" y="66"/>
                  </a:lnTo>
                  <a:lnTo>
                    <a:pt x="1377" y="55"/>
                  </a:lnTo>
                  <a:lnTo>
                    <a:pt x="1377" y="48"/>
                  </a:lnTo>
                  <a:lnTo>
                    <a:pt x="1379" y="40"/>
                  </a:lnTo>
                  <a:lnTo>
                    <a:pt x="1377" y="38"/>
                  </a:lnTo>
                  <a:lnTo>
                    <a:pt x="1374" y="35"/>
                  </a:lnTo>
                  <a:lnTo>
                    <a:pt x="1369" y="38"/>
                  </a:lnTo>
                  <a:lnTo>
                    <a:pt x="1366" y="35"/>
                  </a:lnTo>
                  <a:lnTo>
                    <a:pt x="1369" y="30"/>
                  </a:lnTo>
                  <a:lnTo>
                    <a:pt x="1374" y="23"/>
                  </a:lnTo>
                  <a:lnTo>
                    <a:pt x="1377" y="18"/>
                  </a:lnTo>
                  <a:lnTo>
                    <a:pt x="1377" y="10"/>
                  </a:lnTo>
                  <a:lnTo>
                    <a:pt x="1377" y="5"/>
                  </a:lnTo>
                  <a:lnTo>
                    <a:pt x="1374" y="5"/>
                  </a:lnTo>
                  <a:lnTo>
                    <a:pt x="1371" y="5"/>
                  </a:lnTo>
                  <a:lnTo>
                    <a:pt x="1369" y="5"/>
                  </a:lnTo>
                  <a:lnTo>
                    <a:pt x="1366" y="5"/>
                  </a:lnTo>
                  <a:lnTo>
                    <a:pt x="1361" y="3"/>
                  </a:lnTo>
                  <a:lnTo>
                    <a:pt x="1356" y="3"/>
                  </a:lnTo>
                  <a:lnTo>
                    <a:pt x="1354" y="0"/>
                  </a:lnTo>
                  <a:lnTo>
                    <a:pt x="1351" y="0"/>
                  </a:lnTo>
                  <a:lnTo>
                    <a:pt x="1349" y="3"/>
                  </a:lnTo>
                  <a:lnTo>
                    <a:pt x="1346" y="5"/>
                  </a:lnTo>
                  <a:lnTo>
                    <a:pt x="1341" y="5"/>
                  </a:lnTo>
                  <a:lnTo>
                    <a:pt x="1336" y="5"/>
                  </a:lnTo>
                  <a:lnTo>
                    <a:pt x="1334" y="5"/>
                  </a:lnTo>
                  <a:lnTo>
                    <a:pt x="1329" y="8"/>
                  </a:lnTo>
                  <a:lnTo>
                    <a:pt x="1326" y="8"/>
                  </a:lnTo>
                  <a:lnTo>
                    <a:pt x="1324" y="8"/>
                  </a:lnTo>
                  <a:lnTo>
                    <a:pt x="1324" y="10"/>
                  </a:lnTo>
                  <a:lnTo>
                    <a:pt x="1321" y="13"/>
                  </a:lnTo>
                  <a:lnTo>
                    <a:pt x="1319" y="13"/>
                  </a:lnTo>
                  <a:lnTo>
                    <a:pt x="1316" y="13"/>
                  </a:lnTo>
                  <a:lnTo>
                    <a:pt x="1311" y="15"/>
                  </a:lnTo>
                  <a:lnTo>
                    <a:pt x="1303" y="18"/>
                  </a:lnTo>
                  <a:lnTo>
                    <a:pt x="1301" y="20"/>
                  </a:lnTo>
                  <a:lnTo>
                    <a:pt x="1296" y="25"/>
                  </a:lnTo>
                  <a:lnTo>
                    <a:pt x="1293" y="30"/>
                  </a:lnTo>
                  <a:lnTo>
                    <a:pt x="1293" y="35"/>
                  </a:lnTo>
                  <a:lnTo>
                    <a:pt x="1293" y="38"/>
                  </a:lnTo>
                  <a:lnTo>
                    <a:pt x="1293" y="40"/>
                  </a:lnTo>
                  <a:lnTo>
                    <a:pt x="1291" y="40"/>
                  </a:lnTo>
                  <a:lnTo>
                    <a:pt x="1286" y="43"/>
                  </a:lnTo>
                  <a:lnTo>
                    <a:pt x="1281" y="43"/>
                  </a:lnTo>
                  <a:lnTo>
                    <a:pt x="1278" y="45"/>
                  </a:lnTo>
                  <a:lnTo>
                    <a:pt x="1276" y="48"/>
                  </a:lnTo>
                  <a:lnTo>
                    <a:pt x="1273" y="50"/>
                  </a:lnTo>
                  <a:lnTo>
                    <a:pt x="1271" y="53"/>
                  </a:lnTo>
                  <a:lnTo>
                    <a:pt x="1268" y="55"/>
                  </a:lnTo>
                  <a:lnTo>
                    <a:pt x="1266" y="58"/>
                  </a:lnTo>
                  <a:lnTo>
                    <a:pt x="1263" y="61"/>
                  </a:lnTo>
                  <a:lnTo>
                    <a:pt x="1261" y="66"/>
                  </a:lnTo>
                  <a:lnTo>
                    <a:pt x="1261" y="71"/>
                  </a:lnTo>
                  <a:lnTo>
                    <a:pt x="1266" y="76"/>
                  </a:lnTo>
                  <a:lnTo>
                    <a:pt x="1268" y="81"/>
                  </a:lnTo>
                  <a:lnTo>
                    <a:pt x="1271" y="86"/>
                  </a:lnTo>
                  <a:lnTo>
                    <a:pt x="1271" y="88"/>
                  </a:lnTo>
                  <a:lnTo>
                    <a:pt x="1268" y="91"/>
                  </a:lnTo>
                  <a:lnTo>
                    <a:pt x="1268" y="96"/>
                  </a:lnTo>
                  <a:lnTo>
                    <a:pt x="1266" y="96"/>
                  </a:lnTo>
                  <a:lnTo>
                    <a:pt x="1263" y="93"/>
                  </a:lnTo>
                  <a:lnTo>
                    <a:pt x="1261" y="88"/>
                  </a:lnTo>
                  <a:lnTo>
                    <a:pt x="1258" y="83"/>
                  </a:lnTo>
                  <a:lnTo>
                    <a:pt x="1256" y="78"/>
                  </a:lnTo>
                  <a:lnTo>
                    <a:pt x="1253" y="76"/>
                  </a:lnTo>
                  <a:lnTo>
                    <a:pt x="1250" y="78"/>
                  </a:lnTo>
                  <a:lnTo>
                    <a:pt x="1248" y="81"/>
                  </a:lnTo>
                  <a:lnTo>
                    <a:pt x="1245" y="86"/>
                  </a:lnTo>
                  <a:lnTo>
                    <a:pt x="1243" y="88"/>
                  </a:lnTo>
                  <a:lnTo>
                    <a:pt x="1240" y="93"/>
                  </a:lnTo>
                  <a:lnTo>
                    <a:pt x="1240" y="98"/>
                  </a:lnTo>
                  <a:lnTo>
                    <a:pt x="1238" y="108"/>
                  </a:lnTo>
                  <a:lnTo>
                    <a:pt x="1235" y="116"/>
                  </a:lnTo>
                  <a:lnTo>
                    <a:pt x="1235" y="121"/>
                  </a:lnTo>
                  <a:lnTo>
                    <a:pt x="1235" y="126"/>
                  </a:lnTo>
                  <a:lnTo>
                    <a:pt x="1238" y="131"/>
                  </a:lnTo>
                  <a:lnTo>
                    <a:pt x="1243" y="134"/>
                  </a:lnTo>
                  <a:lnTo>
                    <a:pt x="1245" y="134"/>
                  </a:lnTo>
                  <a:lnTo>
                    <a:pt x="1250" y="134"/>
                  </a:lnTo>
                  <a:lnTo>
                    <a:pt x="1253" y="136"/>
                  </a:lnTo>
                  <a:lnTo>
                    <a:pt x="1256" y="134"/>
                  </a:lnTo>
                  <a:lnTo>
                    <a:pt x="1258" y="134"/>
                  </a:lnTo>
                  <a:lnTo>
                    <a:pt x="1258" y="136"/>
                  </a:lnTo>
                  <a:lnTo>
                    <a:pt x="1256" y="141"/>
                  </a:lnTo>
                  <a:lnTo>
                    <a:pt x="1253" y="144"/>
                  </a:lnTo>
                  <a:lnTo>
                    <a:pt x="1253" y="146"/>
                  </a:lnTo>
                  <a:lnTo>
                    <a:pt x="1258" y="159"/>
                  </a:lnTo>
                  <a:close/>
                  <a:moveTo>
                    <a:pt x="1866" y="1003"/>
                  </a:moveTo>
                  <a:lnTo>
                    <a:pt x="1840" y="1024"/>
                  </a:lnTo>
                  <a:lnTo>
                    <a:pt x="1813" y="1067"/>
                  </a:lnTo>
                  <a:lnTo>
                    <a:pt x="1808" y="1082"/>
                  </a:lnTo>
                  <a:lnTo>
                    <a:pt x="1808" y="1102"/>
                  </a:lnTo>
                  <a:lnTo>
                    <a:pt x="1823" y="1097"/>
                  </a:lnTo>
                  <a:lnTo>
                    <a:pt x="1850" y="1102"/>
                  </a:lnTo>
                  <a:lnTo>
                    <a:pt x="1866" y="1112"/>
                  </a:lnTo>
                  <a:lnTo>
                    <a:pt x="1881" y="1107"/>
                  </a:lnTo>
                  <a:lnTo>
                    <a:pt x="1893" y="1122"/>
                  </a:lnTo>
                  <a:lnTo>
                    <a:pt x="1914" y="1117"/>
                  </a:lnTo>
                  <a:lnTo>
                    <a:pt x="1914" y="1097"/>
                  </a:lnTo>
                  <a:lnTo>
                    <a:pt x="1903" y="1072"/>
                  </a:lnTo>
                  <a:lnTo>
                    <a:pt x="1861" y="1051"/>
                  </a:lnTo>
                  <a:lnTo>
                    <a:pt x="1856" y="1041"/>
                  </a:lnTo>
                  <a:lnTo>
                    <a:pt x="1866" y="1019"/>
                  </a:lnTo>
                  <a:lnTo>
                    <a:pt x="1866" y="1003"/>
                  </a:lnTo>
                  <a:close/>
                  <a:moveTo>
                    <a:pt x="1258" y="247"/>
                  </a:moveTo>
                  <a:lnTo>
                    <a:pt x="1258" y="245"/>
                  </a:lnTo>
                  <a:lnTo>
                    <a:pt x="1256" y="245"/>
                  </a:lnTo>
                  <a:lnTo>
                    <a:pt x="1253" y="247"/>
                  </a:lnTo>
                  <a:lnTo>
                    <a:pt x="1258" y="247"/>
                  </a:lnTo>
                  <a:close/>
                  <a:moveTo>
                    <a:pt x="1238" y="219"/>
                  </a:moveTo>
                  <a:lnTo>
                    <a:pt x="1243" y="219"/>
                  </a:lnTo>
                  <a:lnTo>
                    <a:pt x="1250" y="224"/>
                  </a:lnTo>
                  <a:lnTo>
                    <a:pt x="1253" y="227"/>
                  </a:lnTo>
                  <a:lnTo>
                    <a:pt x="1256" y="227"/>
                  </a:lnTo>
                  <a:lnTo>
                    <a:pt x="1261" y="224"/>
                  </a:lnTo>
                  <a:lnTo>
                    <a:pt x="1266" y="224"/>
                  </a:lnTo>
                  <a:lnTo>
                    <a:pt x="1268" y="227"/>
                  </a:lnTo>
                  <a:lnTo>
                    <a:pt x="1271" y="229"/>
                  </a:lnTo>
                  <a:lnTo>
                    <a:pt x="1271" y="234"/>
                  </a:lnTo>
                  <a:lnTo>
                    <a:pt x="1273" y="237"/>
                  </a:lnTo>
                  <a:lnTo>
                    <a:pt x="1273" y="240"/>
                  </a:lnTo>
                  <a:lnTo>
                    <a:pt x="1273" y="245"/>
                  </a:lnTo>
                  <a:lnTo>
                    <a:pt x="1273" y="252"/>
                  </a:lnTo>
                  <a:lnTo>
                    <a:pt x="1273" y="257"/>
                  </a:lnTo>
                  <a:lnTo>
                    <a:pt x="1276" y="262"/>
                  </a:lnTo>
                  <a:lnTo>
                    <a:pt x="1281" y="265"/>
                  </a:lnTo>
                  <a:lnTo>
                    <a:pt x="1283" y="267"/>
                  </a:lnTo>
                  <a:lnTo>
                    <a:pt x="1288" y="270"/>
                  </a:lnTo>
                  <a:lnTo>
                    <a:pt x="1291" y="270"/>
                  </a:lnTo>
                  <a:lnTo>
                    <a:pt x="1296" y="270"/>
                  </a:lnTo>
                  <a:lnTo>
                    <a:pt x="1301" y="272"/>
                  </a:lnTo>
                  <a:lnTo>
                    <a:pt x="1306" y="272"/>
                  </a:lnTo>
                  <a:lnTo>
                    <a:pt x="1311" y="270"/>
                  </a:lnTo>
                  <a:lnTo>
                    <a:pt x="1313" y="270"/>
                  </a:lnTo>
                  <a:lnTo>
                    <a:pt x="1319" y="270"/>
                  </a:lnTo>
                  <a:lnTo>
                    <a:pt x="1321" y="267"/>
                  </a:lnTo>
                  <a:lnTo>
                    <a:pt x="1324" y="267"/>
                  </a:lnTo>
                  <a:lnTo>
                    <a:pt x="1329" y="267"/>
                  </a:lnTo>
                  <a:lnTo>
                    <a:pt x="1331" y="267"/>
                  </a:lnTo>
                  <a:lnTo>
                    <a:pt x="1336" y="267"/>
                  </a:lnTo>
                  <a:lnTo>
                    <a:pt x="1341" y="265"/>
                  </a:lnTo>
                  <a:lnTo>
                    <a:pt x="1344" y="265"/>
                  </a:lnTo>
                  <a:lnTo>
                    <a:pt x="1346" y="265"/>
                  </a:lnTo>
                  <a:lnTo>
                    <a:pt x="1349" y="260"/>
                  </a:lnTo>
                  <a:lnTo>
                    <a:pt x="1351" y="260"/>
                  </a:lnTo>
                  <a:lnTo>
                    <a:pt x="1354" y="260"/>
                  </a:lnTo>
                  <a:lnTo>
                    <a:pt x="1359" y="262"/>
                  </a:lnTo>
                  <a:lnTo>
                    <a:pt x="1364" y="262"/>
                  </a:lnTo>
                  <a:lnTo>
                    <a:pt x="1366" y="260"/>
                  </a:lnTo>
                  <a:lnTo>
                    <a:pt x="1371" y="260"/>
                  </a:lnTo>
                  <a:lnTo>
                    <a:pt x="1374" y="255"/>
                  </a:lnTo>
                  <a:lnTo>
                    <a:pt x="1379" y="252"/>
                  </a:lnTo>
                  <a:lnTo>
                    <a:pt x="1379" y="250"/>
                  </a:lnTo>
                  <a:lnTo>
                    <a:pt x="1379" y="245"/>
                  </a:lnTo>
                  <a:lnTo>
                    <a:pt x="1379" y="240"/>
                  </a:lnTo>
                  <a:lnTo>
                    <a:pt x="1377" y="234"/>
                  </a:lnTo>
                  <a:lnTo>
                    <a:pt x="1374" y="232"/>
                  </a:lnTo>
                  <a:lnTo>
                    <a:pt x="1371" y="229"/>
                  </a:lnTo>
                  <a:lnTo>
                    <a:pt x="1366" y="227"/>
                  </a:lnTo>
                  <a:lnTo>
                    <a:pt x="1361" y="224"/>
                  </a:lnTo>
                  <a:lnTo>
                    <a:pt x="1356" y="224"/>
                  </a:lnTo>
                  <a:lnTo>
                    <a:pt x="1354" y="222"/>
                  </a:lnTo>
                  <a:lnTo>
                    <a:pt x="1344" y="224"/>
                  </a:lnTo>
                  <a:lnTo>
                    <a:pt x="1341" y="224"/>
                  </a:lnTo>
                  <a:lnTo>
                    <a:pt x="1336" y="229"/>
                  </a:lnTo>
                  <a:lnTo>
                    <a:pt x="1334" y="232"/>
                  </a:lnTo>
                  <a:lnTo>
                    <a:pt x="1331" y="234"/>
                  </a:lnTo>
                  <a:lnTo>
                    <a:pt x="1326" y="240"/>
                  </a:lnTo>
                  <a:lnTo>
                    <a:pt x="1324" y="240"/>
                  </a:lnTo>
                  <a:lnTo>
                    <a:pt x="1321" y="240"/>
                  </a:lnTo>
                  <a:lnTo>
                    <a:pt x="1313" y="240"/>
                  </a:lnTo>
                  <a:lnTo>
                    <a:pt x="1306" y="240"/>
                  </a:lnTo>
                  <a:lnTo>
                    <a:pt x="1301" y="240"/>
                  </a:lnTo>
                  <a:lnTo>
                    <a:pt x="1298" y="237"/>
                  </a:lnTo>
                  <a:lnTo>
                    <a:pt x="1296" y="232"/>
                  </a:lnTo>
                  <a:lnTo>
                    <a:pt x="1293" y="227"/>
                  </a:lnTo>
                  <a:lnTo>
                    <a:pt x="1288" y="224"/>
                  </a:lnTo>
                  <a:lnTo>
                    <a:pt x="1286" y="217"/>
                  </a:lnTo>
                  <a:lnTo>
                    <a:pt x="1283" y="214"/>
                  </a:lnTo>
                  <a:lnTo>
                    <a:pt x="1283" y="212"/>
                  </a:lnTo>
                  <a:lnTo>
                    <a:pt x="1281" y="212"/>
                  </a:lnTo>
                  <a:lnTo>
                    <a:pt x="1238" y="219"/>
                  </a:lnTo>
                  <a:close/>
                  <a:moveTo>
                    <a:pt x="1271" y="217"/>
                  </a:moveTo>
                  <a:lnTo>
                    <a:pt x="1268" y="217"/>
                  </a:lnTo>
                  <a:lnTo>
                    <a:pt x="1271" y="217"/>
                  </a:lnTo>
                  <a:close/>
                  <a:moveTo>
                    <a:pt x="1404" y="1810"/>
                  </a:moveTo>
                  <a:lnTo>
                    <a:pt x="1404" y="1810"/>
                  </a:lnTo>
                  <a:lnTo>
                    <a:pt x="1404" y="1803"/>
                  </a:lnTo>
                  <a:lnTo>
                    <a:pt x="1402" y="1798"/>
                  </a:lnTo>
                  <a:lnTo>
                    <a:pt x="1399" y="1795"/>
                  </a:lnTo>
                  <a:lnTo>
                    <a:pt x="1404" y="1737"/>
                  </a:lnTo>
                  <a:lnTo>
                    <a:pt x="1377" y="1732"/>
                  </a:lnTo>
                  <a:lnTo>
                    <a:pt x="1346" y="1727"/>
                  </a:lnTo>
                  <a:lnTo>
                    <a:pt x="1339" y="1725"/>
                  </a:lnTo>
                  <a:lnTo>
                    <a:pt x="1331" y="1722"/>
                  </a:lnTo>
                  <a:lnTo>
                    <a:pt x="1329" y="1722"/>
                  </a:lnTo>
                  <a:lnTo>
                    <a:pt x="1316" y="1720"/>
                  </a:lnTo>
                  <a:lnTo>
                    <a:pt x="1308" y="1717"/>
                  </a:lnTo>
                  <a:lnTo>
                    <a:pt x="1308" y="1694"/>
                  </a:lnTo>
                  <a:lnTo>
                    <a:pt x="1303" y="1689"/>
                  </a:lnTo>
                  <a:lnTo>
                    <a:pt x="1321" y="1679"/>
                  </a:lnTo>
                  <a:lnTo>
                    <a:pt x="1336" y="1669"/>
                  </a:lnTo>
                  <a:lnTo>
                    <a:pt x="1346" y="1629"/>
                  </a:lnTo>
                  <a:lnTo>
                    <a:pt x="1283" y="1639"/>
                  </a:lnTo>
                  <a:lnTo>
                    <a:pt x="1258" y="1674"/>
                  </a:lnTo>
                  <a:lnTo>
                    <a:pt x="1215" y="1679"/>
                  </a:lnTo>
                  <a:lnTo>
                    <a:pt x="1172" y="1629"/>
                  </a:lnTo>
                  <a:lnTo>
                    <a:pt x="1167" y="1561"/>
                  </a:lnTo>
                  <a:lnTo>
                    <a:pt x="1180" y="1546"/>
                  </a:lnTo>
                  <a:lnTo>
                    <a:pt x="1177" y="1546"/>
                  </a:lnTo>
                  <a:lnTo>
                    <a:pt x="1177" y="1510"/>
                  </a:lnTo>
                  <a:lnTo>
                    <a:pt x="1200" y="1490"/>
                  </a:lnTo>
                  <a:lnTo>
                    <a:pt x="1215" y="1472"/>
                  </a:lnTo>
                  <a:lnTo>
                    <a:pt x="1268" y="1477"/>
                  </a:lnTo>
                  <a:lnTo>
                    <a:pt x="1298" y="1477"/>
                  </a:lnTo>
                  <a:lnTo>
                    <a:pt x="1341" y="1467"/>
                  </a:lnTo>
                  <a:lnTo>
                    <a:pt x="1366" y="1467"/>
                  </a:lnTo>
                  <a:lnTo>
                    <a:pt x="1392" y="1462"/>
                  </a:lnTo>
                  <a:lnTo>
                    <a:pt x="1399" y="1490"/>
                  </a:lnTo>
                  <a:lnTo>
                    <a:pt x="1409" y="1525"/>
                  </a:lnTo>
                  <a:lnTo>
                    <a:pt x="1442" y="1556"/>
                  </a:lnTo>
                  <a:lnTo>
                    <a:pt x="1457" y="1561"/>
                  </a:lnTo>
                  <a:lnTo>
                    <a:pt x="1452" y="1510"/>
                  </a:lnTo>
                  <a:lnTo>
                    <a:pt x="1429" y="1452"/>
                  </a:lnTo>
                  <a:lnTo>
                    <a:pt x="1457" y="1422"/>
                  </a:lnTo>
                  <a:lnTo>
                    <a:pt x="1482" y="1412"/>
                  </a:lnTo>
                  <a:lnTo>
                    <a:pt x="1530" y="1367"/>
                  </a:lnTo>
                  <a:lnTo>
                    <a:pt x="1525" y="1334"/>
                  </a:lnTo>
                  <a:lnTo>
                    <a:pt x="1520" y="1304"/>
                  </a:lnTo>
                  <a:lnTo>
                    <a:pt x="1535" y="1314"/>
                  </a:lnTo>
                  <a:lnTo>
                    <a:pt x="1540" y="1309"/>
                  </a:lnTo>
                  <a:lnTo>
                    <a:pt x="1535" y="1288"/>
                  </a:lnTo>
                  <a:lnTo>
                    <a:pt x="1545" y="1288"/>
                  </a:lnTo>
                  <a:lnTo>
                    <a:pt x="1561" y="1283"/>
                  </a:lnTo>
                  <a:lnTo>
                    <a:pt x="1571" y="1258"/>
                  </a:lnTo>
                  <a:lnTo>
                    <a:pt x="1593" y="1253"/>
                  </a:lnTo>
                  <a:lnTo>
                    <a:pt x="1624" y="1235"/>
                  </a:lnTo>
                  <a:lnTo>
                    <a:pt x="1624" y="1195"/>
                  </a:lnTo>
                  <a:lnTo>
                    <a:pt x="1677" y="1170"/>
                  </a:lnTo>
                  <a:lnTo>
                    <a:pt x="1666" y="1117"/>
                  </a:lnTo>
                  <a:lnTo>
                    <a:pt x="1677" y="1170"/>
                  </a:lnTo>
                  <a:lnTo>
                    <a:pt x="1699" y="1155"/>
                  </a:lnTo>
                  <a:lnTo>
                    <a:pt x="1714" y="1160"/>
                  </a:lnTo>
                  <a:lnTo>
                    <a:pt x="1704" y="1175"/>
                  </a:lnTo>
                  <a:lnTo>
                    <a:pt x="1714" y="1195"/>
                  </a:lnTo>
                  <a:lnTo>
                    <a:pt x="1760" y="1160"/>
                  </a:lnTo>
                  <a:lnTo>
                    <a:pt x="1777" y="1137"/>
                  </a:lnTo>
                  <a:lnTo>
                    <a:pt x="1729" y="1132"/>
                  </a:lnTo>
                  <a:lnTo>
                    <a:pt x="1709" y="1102"/>
                  </a:lnTo>
                  <a:lnTo>
                    <a:pt x="1724" y="1087"/>
                  </a:lnTo>
                  <a:lnTo>
                    <a:pt x="1729" y="1067"/>
                  </a:lnTo>
                  <a:lnTo>
                    <a:pt x="1656" y="1082"/>
                  </a:lnTo>
                  <a:lnTo>
                    <a:pt x="1619" y="1112"/>
                  </a:lnTo>
                  <a:lnTo>
                    <a:pt x="1636" y="1077"/>
                  </a:lnTo>
                  <a:lnTo>
                    <a:pt x="1671" y="1056"/>
                  </a:lnTo>
                  <a:lnTo>
                    <a:pt x="1692" y="1034"/>
                  </a:lnTo>
                  <a:lnTo>
                    <a:pt x="1755" y="1039"/>
                  </a:lnTo>
                  <a:lnTo>
                    <a:pt x="1803" y="1034"/>
                  </a:lnTo>
                  <a:lnTo>
                    <a:pt x="1840" y="1009"/>
                  </a:lnTo>
                  <a:lnTo>
                    <a:pt x="1866" y="988"/>
                  </a:lnTo>
                  <a:lnTo>
                    <a:pt x="1845" y="938"/>
                  </a:lnTo>
                  <a:lnTo>
                    <a:pt x="1840" y="910"/>
                  </a:lnTo>
                  <a:lnTo>
                    <a:pt x="1772" y="875"/>
                  </a:lnTo>
                  <a:lnTo>
                    <a:pt x="1772" y="855"/>
                  </a:lnTo>
                  <a:lnTo>
                    <a:pt x="1714" y="746"/>
                  </a:lnTo>
                  <a:lnTo>
                    <a:pt x="1699" y="792"/>
                  </a:lnTo>
                  <a:lnTo>
                    <a:pt x="1661" y="802"/>
                  </a:lnTo>
                  <a:lnTo>
                    <a:pt x="1651" y="792"/>
                  </a:lnTo>
                  <a:lnTo>
                    <a:pt x="1636" y="792"/>
                  </a:lnTo>
                  <a:lnTo>
                    <a:pt x="1636" y="719"/>
                  </a:lnTo>
                  <a:lnTo>
                    <a:pt x="1603" y="714"/>
                  </a:lnTo>
                  <a:lnTo>
                    <a:pt x="1578" y="678"/>
                  </a:lnTo>
                  <a:lnTo>
                    <a:pt x="1550" y="683"/>
                  </a:lnTo>
                  <a:lnTo>
                    <a:pt x="1520" y="673"/>
                  </a:lnTo>
                  <a:lnTo>
                    <a:pt x="1500" y="678"/>
                  </a:lnTo>
                  <a:lnTo>
                    <a:pt x="1500" y="703"/>
                  </a:lnTo>
                  <a:lnTo>
                    <a:pt x="1500" y="731"/>
                  </a:lnTo>
                  <a:lnTo>
                    <a:pt x="1495" y="787"/>
                  </a:lnTo>
                  <a:lnTo>
                    <a:pt x="1487" y="807"/>
                  </a:lnTo>
                  <a:lnTo>
                    <a:pt x="1520" y="870"/>
                  </a:lnTo>
                  <a:lnTo>
                    <a:pt x="1467" y="915"/>
                  </a:lnTo>
                  <a:lnTo>
                    <a:pt x="1477" y="993"/>
                  </a:lnTo>
                  <a:lnTo>
                    <a:pt x="1457" y="1009"/>
                  </a:lnTo>
                  <a:lnTo>
                    <a:pt x="1437" y="998"/>
                  </a:lnTo>
                  <a:lnTo>
                    <a:pt x="1424" y="905"/>
                  </a:lnTo>
                  <a:lnTo>
                    <a:pt x="1371" y="900"/>
                  </a:lnTo>
                  <a:lnTo>
                    <a:pt x="1273" y="845"/>
                  </a:lnTo>
                  <a:lnTo>
                    <a:pt x="1253" y="845"/>
                  </a:lnTo>
                  <a:lnTo>
                    <a:pt x="1235" y="797"/>
                  </a:lnTo>
                  <a:lnTo>
                    <a:pt x="1220" y="782"/>
                  </a:lnTo>
                  <a:lnTo>
                    <a:pt x="1263" y="658"/>
                  </a:lnTo>
                  <a:lnTo>
                    <a:pt x="1288" y="630"/>
                  </a:lnTo>
                  <a:lnTo>
                    <a:pt x="1316" y="615"/>
                  </a:lnTo>
                  <a:lnTo>
                    <a:pt x="1331" y="615"/>
                  </a:lnTo>
                  <a:lnTo>
                    <a:pt x="1346" y="565"/>
                  </a:lnTo>
                  <a:lnTo>
                    <a:pt x="1356" y="524"/>
                  </a:lnTo>
                  <a:lnTo>
                    <a:pt x="1409" y="512"/>
                  </a:lnTo>
                  <a:lnTo>
                    <a:pt x="1437" y="492"/>
                  </a:lnTo>
                  <a:lnTo>
                    <a:pt x="1419" y="446"/>
                  </a:lnTo>
                  <a:lnTo>
                    <a:pt x="1432" y="416"/>
                  </a:lnTo>
                  <a:lnTo>
                    <a:pt x="1412" y="393"/>
                  </a:lnTo>
                  <a:lnTo>
                    <a:pt x="1414" y="393"/>
                  </a:lnTo>
                  <a:lnTo>
                    <a:pt x="1417" y="391"/>
                  </a:lnTo>
                  <a:lnTo>
                    <a:pt x="1419" y="388"/>
                  </a:lnTo>
                  <a:lnTo>
                    <a:pt x="1422" y="388"/>
                  </a:lnTo>
                  <a:lnTo>
                    <a:pt x="1424" y="388"/>
                  </a:lnTo>
                  <a:lnTo>
                    <a:pt x="1432" y="388"/>
                  </a:lnTo>
                  <a:lnTo>
                    <a:pt x="1440" y="388"/>
                  </a:lnTo>
                  <a:lnTo>
                    <a:pt x="1442" y="386"/>
                  </a:lnTo>
                  <a:lnTo>
                    <a:pt x="1442" y="383"/>
                  </a:lnTo>
                  <a:lnTo>
                    <a:pt x="1437" y="376"/>
                  </a:lnTo>
                  <a:lnTo>
                    <a:pt x="1437" y="373"/>
                  </a:lnTo>
                  <a:lnTo>
                    <a:pt x="1440" y="373"/>
                  </a:lnTo>
                  <a:lnTo>
                    <a:pt x="1445" y="376"/>
                  </a:lnTo>
                  <a:lnTo>
                    <a:pt x="1452" y="378"/>
                  </a:lnTo>
                  <a:lnTo>
                    <a:pt x="1455" y="381"/>
                  </a:lnTo>
                  <a:lnTo>
                    <a:pt x="1457" y="383"/>
                  </a:lnTo>
                  <a:lnTo>
                    <a:pt x="1462" y="386"/>
                  </a:lnTo>
                  <a:lnTo>
                    <a:pt x="1467" y="388"/>
                  </a:lnTo>
                  <a:lnTo>
                    <a:pt x="1472" y="393"/>
                  </a:lnTo>
                  <a:lnTo>
                    <a:pt x="1477" y="396"/>
                  </a:lnTo>
                  <a:lnTo>
                    <a:pt x="1485" y="398"/>
                  </a:lnTo>
                  <a:lnTo>
                    <a:pt x="1490" y="401"/>
                  </a:lnTo>
                  <a:lnTo>
                    <a:pt x="1495" y="403"/>
                  </a:lnTo>
                  <a:lnTo>
                    <a:pt x="1500" y="406"/>
                  </a:lnTo>
                  <a:lnTo>
                    <a:pt x="1505" y="406"/>
                  </a:lnTo>
                  <a:lnTo>
                    <a:pt x="1510" y="411"/>
                  </a:lnTo>
                  <a:lnTo>
                    <a:pt x="1515" y="413"/>
                  </a:lnTo>
                  <a:lnTo>
                    <a:pt x="1523" y="419"/>
                  </a:lnTo>
                  <a:lnTo>
                    <a:pt x="1528" y="424"/>
                  </a:lnTo>
                  <a:lnTo>
                    <a:pt x="1535" y="431"/>
                  </a:lnTo>
                  <a:lnTo>
                    <a:pt x="1543" y="441"/>
                  </a:lnTo>
                  <a:lnTo>
                    <a:pt x="1545" y="449"/>
                  </a:lnTo>
                  <a:lnTo>
                    <a:pt x="1538" y="456"/>
                  </a:lnTo>
                  <a:lnTo>
                    <a:pt x="1530" y="466"/>
                  </a:lnTo>
                  <a:lnTo>
                    <a:pt x="1528" y="477"/>
                  </a:lnTo>
                  <a:lnTo>
                    <a:pt x="1530" y="479"/>
                  </a:lnTo>
                  <a:lnTo>
                    <a:pt x="1538" y="482"/>
                  </a:lnTo>
                  <a:lnTo>
                    <a:pt x="1543" y="487"/>
                  </a:lnTo>
                  <a:lnTo>
                    <a:pt x="1545" y="489"/>
                  </a:lnTo>
                  <a:lnTo>
                    <a:pt x="1543" y="494"/>
                  </a:lnTo>
                  <a:lnTo>
                    <a:pt x="1535" y="499"/>
                  </a:lnTo>
                  <a:lnTo>
                    <a:pt x="1528" y="504"/>
                  </a:lnTo>
                  <a:lnTo>
                    <a:pt x="1525" y="509"/>
                  </a:lnTo>
                  <a:lnTo>
                    <a:pt x="1520" y="509"/>
                  </a:lnTo>
                  <a:lnTo>
                    <a:pt x="1518" y="509"/>
                  </a:lnTo>
                  <a:lnTo>
                    <a:pt x="1515" y="509"/>
                  </a:lnTo>
                  <a:lnTo>
                    <a:pt x="1513" y="509"/>
                  </a:lnTo>
                  <a:lnTo>
                    <a:pt x="1508" y="512"/>
                  </a:lnTo>
                  <a:lnTo>
                    <a:pt x="1500" y="514"/>
                  </a:lnTo>
                  <a:lnTo>
                    <a:pt x="1495" y="519"/>
                  </a:lnTo>
                  <a:lnTo>
                    <a:pt x="1492" y="522"/>
                  </a:lnTo>
                  <a:lnTo>
                    <a:pt x="1492" y="524"/>
                  </a:lnTo>
                  <a:lnTo>
                    <a:pt x="1495" y="527"/>
                  </a:lnTo>
                  <a:lnTo>
                    <a:pt x="1498" y="529"/>
                  </a:lnTo>
                  <a:lnTo>
                    <a:pt x="1500" y="532"/>
                  </a:lnTo>
                  <a:lnTo>
                    <a:pt x="1503" y="535"/>
                  </a:lnTo>
                  <a:lnTo>
                    <a:pt x="1508" y="537"/>
                  </a:lnTo>
                  <a:lnTo>
                    <a:pt x="1513" y="540"/>
                  </a:lnTo>
                  <a:lnTo>
                    <a:pt x="1518" y="540"/>
                  </a:lnTo>
                  <a:lnTo>
                    <a:pt x="1523" y="537"/>
                  </a:lnTo>
                  <a:lnTo>
                    <a:pt x="1528" y="532"/>
                  </a:lnTo>
                  <a:lnTo>
                    <a:pt x="1530" y="529"/>
                  </a:lnTo>
                  <a:lnTo>
                    <a:pt x="1535" y="527"/>
                  </a:lnTo>
                  <a:lnTo>
                    <a:pt x="1540" y="527"/>
                  </a:lnTo>
                  <a:lnTo>
                    <a:pt x="1548" y="524"/>
                  </a:lnTo>
                  <a:lnTo>
                    <a:pt x="1556" y="519"/>
                  </a:lnTo>
                  <a:lnTo>
                    <a:pt x="1561" y="519"/>
                  </a:lnTo>
                  <a:lnTo>
                    <a:pt x="1563" y="519"/>
                  </a:lnTo>
                  <a:lnTo>
                    <a:pt x="1566" y="522"/>
                  </a:lnTo>
                  <a:lnTo>
                    <a:pt x="1568" y="524"/>
                  </a:lnTo>
                  <a:lnTo>
                    <a:pt x="1571" y="524"/>
                  </a:lnTo>
                  <a:lnTo>
                    <a:pt x="1573" y="527"/>
                  </a:lnTo>
                  <a:lnTo>
                    <a:pt x="1576" y="529"/>
                  </a:lnTo>
                  <a:lnTo>
                    <a:pt x="1578" y="529"/>
                  </a:lnTo>
                  <a:lnTo>
                    <a:pt x="1583" y="532"/>
                  </a:lnTo>
                  <a:lnTo>
                    <a:pt x="1588" y="532"/>
                  </a:lnTo>
                  <a:lnTo>
                    <a:pt x="1593" y="535"/>
                  </a:lnTo>
                  <a:lnTo>
                    <a:pt x="1603" y="535"/>
                  </a:lnTo>
                  <a:lnTo>
                    <a:pt x="1606" y="540"/>
                  </a:lnTo>
                  <a:lnTo>
                    <a:pt x="1606" y="542"/>
                  </a:lnTo>
                  <a:lnTo>
                    <a:pt x="1608" y="547"/>
                  </a:lnTo>
                  <a:lnTo>
                    <a:pt x="1611" y="547"/>
                  </a:lnTo>
                  <a:lnTo>
                    <a:pt x="1616" y="550"/>
                  </a:lnTo>
                  <a:lnTo>
                    <a:pt x="1619" y="550"/>
                  </a:lnTo>
                  <a:lnTo>
                    <a:pt x="1621" y="550"/>
                  </a:lnTo>
                  <a:lnTo>
                    <a:pt x="1624" y="547"/>
                  </a:lnTo>
                  <a:lnTo>
                    <a:pt x="1629" y="547"/>
                  </a:lnTo>
                  <a:lnTo>
                    <a:pt x="1631" y="547"/>
                  </a:lnTo>
                  <a:lnTo>
                    <a:pt x="1634" y="547"/>
                  </a:lnTo>
                  <a:lnTo>
                    <a:pt x="1639" y="547"/>
                  </a:lnTo>
                  <a:lnTo>
                    <a:pt x="1641" y="547"/>
                  </a:lnTo>
                  <a:lnTo>
                    <a:pt x="1644" y="550"/>
                  </a:lnTo>
                  <a:lnTo>
                    <a:pt x="1649" y="550"/>
                  </a:lnTo>
                  <a:lnTo>
                    <a:pt x="1651" y="550"/>
                  </a:lnTo>
                  <a:lnTo>
                    <a:pt x="1654" y="547"/>
                  </a:lnTo>
                  <a:lnTo>
                    <a:pt x="1659" y="547"/>
                  </a:lnTo>
                  <a:lnTo>
                    <a:pt x="1664" y="547"/>
                  </a:lnTo>
                  <a:lnTo>
                    <a:pt x="1669" y="545"/>
                  </a:lnTo>
                  <a:lnTo>
                    <a:pt x="1671" y="545"/>
                  </a:lnTo>
                  <a:lnTo>
                    <a:pt x="1674" y="545"/>
                  </a:lnTo>
                  <a:lnTo>
                    <a:pt x="1679" y="545"/>
                  </a:lnTo>
                  <a:lnTo>
                    <a:pt x="1682" y="545"/>
                  </a:lnTo>
                  <a:lnTo>
                    <a:pt x="1684" y="545"/>
                  </a:lnTo>
                  <a:lnTo>
                    <a:pt x="1687" y="545"/>
                  </a:lnTo>
                  <a:lnTo>
                    <a:pt x="1692" y="545"/>
                  </a:lnTo>
                  <a:lnTo>
                    <a:pt x="1697" y="545"/>
                  </a:lnTo>
                  <a:lnTo>
                    <a:pt x="1699" y="542"/>
                  </a:lnTo>
                  <a:lnTo>
                    <a:pt x="1697" y="540"/>
                  </a:lnTo>
                  <a:lnTo>
                    <a:pt x="1697" y="537"/>
                  </a:lnTo>
                  <a:lnTo>
                    <a:pt x="1692" y="535"/>
                  </a:lnTo>
                  <a:lnTo>
                    <a:pt x="1687" y="532"/>
                  </a:lnTo>
                  <a:lnTo>
                    <a:pt x="1679" y="529"/>
                  </a:lnTo>
                  <a:lnTo>
                    <a:pt x="1677" y="529"/>
                  </a:lnTo>
                  <a:lnTo>
                    <a:pt x="1674" y="527"/>
                  </a:lnTo>
                  <a:lnTo>
                    <a:pt x="1671" y="524"/>
                  </a:lnTo>
                  <a:lnTo>
                    <a:pt x="1669" y="524"/>
                  </a:lnTo>
                  <a:lnTo>
                    <a:pt x="1666" y="524"/>
                  </a:lnTo>
                  <a:lnTo>
                    <a:pt x="1664" y="524"/>
                  </a:lnTo>
                  <a:lnTo>
                    <a:pt x="1661" y="524"/>
                  </a:lnTo>
                  <a:lnTo>
                    <a:pt x="1656" y="522"/>
                  </a:lnTo>
                  <a:lnTo>
                    <a:pt x="1651" y="519"/>
                  </a:lnTo>
                  <a:lnTo>
                    <a:pt x="1641" y="517"/>
                  </a:lnTo>
                  <a:lnTo>
                    <a:pt x="1636" y="514"/>
                  </a:lnTo>
                  <a:lnTo>
                    <a:pt x="1634" y="512"/>
                  </a:lnTo>
                  <a:lnTo>
                    <a:pt x="1634" y="509"/>
                  </a:lnTo>
                  <a:lnTo>
                    <a:pt x="1636" y="509"/>
                  </a:lnTo>
                  <a:lnTo>
                    <a:pt x="1639" y="509"/>
                  </a:lnTo>
                  <a:lnTo>
                    <a:pt x="1644" y="509"/>
                  </a:lnTo>
                  <a:lnTo>
                    <a:pt x="1649" y="512"/>
                  </a:lnTo>
                  <a:lnTo>
                    <a:pt x="1651" y="512"/>
                  </a:lnTo>
                  <a:lnTo>
                    <a:pt x="1656" y="514"/>
                  </a:lnTo>
                  <a:lnTo>
                    <a:pt x="1659" y="514"/>
                  </a:lnTo>
                  <a:lnTo>
                    <a:pt x="1664" y="514"/>
                  </a:lnTo>
                  <a:lnTo>
                    <a:pt x="1666" y="519"/>
                  </a:lnTo>
                  <a:lnTo>
                    <a:pt x="1671" y="519"/>
                  </a:lnTo>
                  <a:lnTo>
                    <a:pt x="1677" y="517"/>
                  </a:lnTo>
                  <a:lnTo>
                    <a:pt x="1687" y="514"/>
                  </a:lnTo>
                  <a:lnTo>
                    <a:pt x="1694" y="514"/>
                  </a:lnTo>
                  <a:lnTo>
                    <a:pt x="1697" y="519"/>
                  </a:lnTo>
                  <a:lnTo>
                    <a:pt x="1699" y="519"/>
                  </a:lnTo>
                  <a:lnTo>
                    <a:pt x="1704" y="522"/>
                  </a:lnTo>
                  <a:lnTo>
                    <a:pt x="1707" y="524"/>
                  </a:lnTo>
                  <a:lnTo>
                    <a:pt x="1707" y="522"/>
                  </a:lnTo>
                  <a:lnTo>
                    <a:pt x="1704" y="519"/>
                  </a:lnTo>
                  <a:lnTo>
                    <a:pt x="1702" y="514"/>
                  </a:lnTo>
                  <a:lnTo>
                    <a:pt x="1699" y="514"/>
                  </a:lnTo>
                  <a:lnTo>
                    <a:pt x="1699" y="509"/>
                  </a:lnTo>
                  <a:lnTo>
                    <a:pt x="1697" y="507"/>
                  </a:lnTo>
                  <a:lnTo>
                    <a:pt x="1694" y="502"/>
                  </a:lnTo>
                  <a:lnTo>
                    <a:pt x="1692" y="494"/>
                  </a:lnTo>
                  <a:lnTo>
                    <a:pt x="1692" y="492"/>
                  </a:lnTo>
                  <a:lnTo>
                    <a:pt x="1692" y="489"/>
                  </a:lnTo>
                  <a:lnTo>
                    <a:pt x="1692" y="487"/>
                  </a:lnTo>
                  <a:lnTo>
                    <a:pt x="1689" y="482"/>
                  </a:lnTo>
                  <a:lnTo>
                    <a:pt x="1682" y="479"/>
                  </a:lnTo>
                  <a:lnTo>
                    <a:pt x="1677" y="479"/>
                  </a:lnTo>
                  <a:lnTo>
                    <a:pt x="1671" y="477"/>
                  </a:lnTo>
                  <a:lnTo>
                    <a:pt x="1669" y="471"/>
                  </a:lnTo>
                  <a:lnTo>
                    <a:pt x="1664" y="469"/>
                  </a:lnTo>
                  <a:lnTo>
                    <a:pt x="1659" y="469"/>
                  </a:lnTo>
                  <a:lnTo>
                    <a:pt x="1651" y="466"/>
                  </a:lnTo>
                  <a:lnTo>
                    <a:pt x="1646" y="466"/>
                  </a:lnTo>
                  <a:lnTo>
                    <a:pt x="1644" y="466"/>
                  </a:lnTo>
                  <a:lnTo>
                    <a:pt x="1639" y="464"/>
                  </a:lnTo>
                  <a:lnTo>
                    <a:pt x="1634" y="461"/>
                  </a:lnTo>
                  <a:lnTo>
                    <a:pt x="1631" y="459"/>
                  </a:lnTo>
                  <a:lnTo>
                    <a:pt x="1626" y="459"/>
                  </a:lnTo>
                  <a:lnTo>
                    <a:pt x="1624" y="454"/>
                  </a:lnTo>
                  <a:lnTo>
                    <a:pt x="1621" y="451"/>
                  </a:lnTo>
                  <a:lnTo>
                    <a:pt x="1616" y="446"/>
                  </a:lnTo>
                  <a:lnTo>
                    <a:pt x="1614" y="441"/>
                  </a:lnTo>
                  <a:lnTo>
                    <a:pt x="1611" y="439"/>
                  </a:lnTo>
                  <a:lnTo>
                    <a:pt x="1611" y="434"/>
                  </a:lnTo>
                  <a:lnTo>
                    <a:pt x="1614" y="431"/>
                  </a:lnTo>
                  <a:lnTo>
                    <a:pt x="1619" y="431"/>
                  </a:lnTo>
                  <a:lnTo>
                    <a:pt x="1624" y="431"/>
                  </a:lnTo>
                  <a:lnTo>
                    <a:pt x="1631" y="434"/>
                  </a:lnTo>
                  <a:lnTo>
                    <a:pt x="1636" y="436"/>
                  </a:lnTo>
                  <a:lnTo>
                    <a:pt x="1639" y="436"/>
                  </a:lnTo>
                  <a:lnTo>
                    <a:pt x="1644" y="439"/>
                  </a:lnTo>
                  <a:lnTo>
                    <a:pt x="1649" y="441"/>
                  </a:lnTo>
                  <a:lnTo>
                    <a:pt x="1654" y="444"/>
                  </a:lnTo>
                  <a:lnTo>
                    <a:pt x="1659" y="446"/>
                  </a:lnTo>
                  <a:lnTo>
                    <a:pt x="1664" y="449"/>
                  </a:lnTo>
                  <a:lnTo>
                    <a:pt x="1669" y="451"/>
                  </a:lnTo>
                  <a:lnTo>
                    <a:pt x="1671" y="451"/>
                  </a:lnTo>
                  <a:lnTo>
                    <a:pt x="1677" y="449"/>
                  </a:lnTo>
                  <a:lnTo>
                    <a:pt x="1679" y="444"/>
                  </a:lnTo>
                  <a:lnTo>
                    <a:pt x="1679" y="441"/>
                  </a:lnTo>
                  <a:lnTo>
                    <a:pt x="1677" y="436"/>
                  </a:lnTo>
                  <a:lnTo>
                    <a:pt x="1671" y="434"/>
                  </a:lnTo>
                  <a:lnTo>
                    <a:pt x="1666" y="431"/>
                  </a:lnTo>
                  <a:lnTo>
                    <a:pt x="1666" y="429"/>
                  </a:lnTo>
                  <a:lnTo>
                    <a:pt x="1666" y="426"/>
                  </a:lnTo>
                  <a:lnTo>
                    <a:pt x="1669" y="424"/>
                  </a:lnTo>
                  <a:lnTo>
                    <a:pt x="1671" y="424"/>
                  </a:lnTo>
                  <a:lnTo>
                    <a:pt x="1674" y="421"/>
                  </a:lnTo>
                  <a:lnTo>
                    <a:pt x="1677" y="419"/>
                  </a:lnTo>
                  <a:lnTo>
                    <a:pt x="1677" y="416"/>
                  </a:lnTo>
                  <a:lnTo>
                    <a:pt x="1674" y="413"/>
                  </a:lnTo>
                  <a:lnTo>
                    <a:pt x="1671" y="408"/>
                  </a:lnTo>
                  <a:lnTo>
                    <a:pt x="1669" y="406"/>
                  </a:lnTo>
                  <a:lnTo>
                    <a:pt x="1664" y="406"/>
                  </a:lnTo>
                  <a:lnTo>
                    <a:pt x="1664" y="403"/>
                  </a:lnTo>
                  <a:lnTo>
                    <a:pt x="1669" y="401"/>
                  </a:lnTo>
                  <a:lnTo>
                    <a:pt x="1674" y="398"/>
                  </a:lnTo>
                  <a:lnTo>
                    <a:pt x="1677" y="393"/>
                  </a:lnTo>
                  <a:lnTo>
                    <a:pt x="1674" y="391"/>
                  </a:lnTo>
                  <a:lnTo>
                    <a:pt x="1669" y="388"/>
                  </a:lnTo>
                  <a:lnTo>
                    <a:pt x="1661" y="386"/>
                  </a:lnTo>
                  <a:lnTo>
                    <a:pt x="1654" y="386"/>
                  </a:lnTo>
                  <a:lnTo>
                    <a:pt x="1649" y="386"/>
                  </a:lnTo>
                  <a:lnTo>
                    <a:pt x="1644" y="386"/>
                  </a:lnTo>
                  <a:lnTo>
                    <a:pt x="1639" y="388"/>
                  </a:lnTo>
                  <a:lnTo>
                    <a:pt x="1636" y="388"/>
                  </a:lnTo>
                  <a:lnTo>
                    <a:pt x="1634" y="388"/>
                  </a:lnTo>
                  <a:lnTo>
                    <a:pt x="1631" y="386"/>
                  </a:lnTo>
                  <a:lnTo>
                    <a:pt x="1634" y="383"/>
                  </a:lnTo>
                  <a:lnTo>
                    <a:pt x="1631" y="383"/>
                  </a:lnTo>
                  <a:lnTo>
                    <a:pt x="1629" y="381"/>
                  </a:lnTo>
                  <a:lnTo>
                    <a:pt x="1626" y="381"/>
                  </a:lnTo>
                  <a:lnTo>
                    <a:pt x="1621" y="381"/>
                  </a:lnTo>
                  <a:lnTo>
                    <a:pt x="1616" y="381"/>
                  </a:lnTo>
                  <a:lnTo>
                    <a:pt x="1611" y="378"/>
                  </a:lnTo>
                  <a:lnTo>
                    <a:pt x="1606" y="378"/>
                  </a:lnTo>
                  <a:lnTo>
                    <a:pt x="1603" y="378"/>
                  </a:lnTo>
                  <a:lnTo>
                    <a:pt x="1598" y="376"/>
                  </a:lnTo>
                  <a:lnTo>
                    <a:pt x="1598" y="378"/>
                  </a:lnTo>
                  <a:lnTo>
                    <a:pt x="1601" y="381"/>
                  </a:lnTo>
                  <a:lnTo>
                    <a:pt x="1603" y="386"/>
                  </a:lnTo>
                  <a:lnTo>
                    <a:pt x="1601" y="386"/>
                  </a:lnTo>
                  <a:lnTo>
                    <a:pt x="1596" y="386"/>
                  </a:lnTo>
                  <a:lnTo>
                    <a:pt x="1591" y="381"/>
                  </a:lnTo>
                  <a:lnTo>
                    <a:pt x="1583" y="376"/>
                  </a:lnTo>
                  <a:lnTo>
                    <a:pt x="1578" y="373"/>
                  </a:lnTo>
                  <a:lnTo>
                    <a:pt x="1576" y="373"/>
                  </a:lnTo>
                  <a:lnTo>
                    <a:pt x="1568" y="376"/>
                  </a:lnTo>
                  <a:lnTo>
                    <a:pt x="1563" y="373"/>
                  </a:lnTo>
                  <a:lnTo>
                    <a:pt x="1558" y="371"/>
                  </a:lnTo>
                  <a:lnTo>
                    <a:pt x="1558" y="366"/>
                  </a:lnTo>
                  <a:lnTo>
                    <a:pt x="1561" y="363"/>
                  </a:lnTo>
                  <a:lnTo>
                    <a:pt x="1561" y="361"/>
                  </a:lnTo>
                  <a:lnTo>
                    <a:pt x="1561" y="358"/>
                  </a:lnTo>
                  <a:lnTo>
                    <a:pt x="1563" y="356"/>
                  </a:lnTo>
                  <a:lnTo>
                    <a:pt x="1566" y="356"/>
                  </a:lnTo>
                  <a:lnTo>
                    <a:pt x="1568" y="356"/>
                  </a:lnTo>
                  <a:lnTo>
                    <a:pt x="1568" y="353"/>
                  </a:lnTo>
                  <a:lnTo>
                    <a:pt x="1561" y="350"/>
                  </a:lnTo>
                  <a:lnTo>
                    <a:pt x="1556" y="350"/>
                  </a:lnTo>
                  <a:lnTo>
                    <a:pt x="1553" y="345"/>
                  </a:lnTo>
                  <a:lnTo>
                    <a:pt x="1556" y="343"/>
                  </a:lnTo>
                  <a:lnTo>
                    <a:pt x="1561" y="343"/>
                  </a:lnTo>
                  <a:lnTo>
                    <a:pt x="1558" y="343"/>
                  </a:lnTo>
                  <a:lnTo>
                    <a:pt x="1556" y="340"/>
                  </a:lnTo>
                  <a:lnTo>
                    <a:pt x="1553" y="335"/>
                  </a:lnTo>
                  <a:lnTo>
                    <a:pt x="1548" y="333"/>
                  </a:lnTo>
                  <a:lnTo>
                    <a:pt x="1545" y="333"/>
                  </a:lnTo>
                  <a:lnTo>
                    <a:pt x="1540" y="333"/>
                  </a:lnTo>
                  <a:lnTo>
                    <a:pt x="1538" y="333"/>
                  </a:lnTo>
                  <a:lnTo>
                    <a:pt x="1540" y="330"/>
                  </a:lnTo>
                  <a:lnTo>
                    <a:pt x="1540" y="328"/>
                  </a:lnTo>
                  <a:lnTo>
                    <a:pt x="1538" y="325"/>
                  </a:lnTo>
                  <a:lnTo>
                    <a:pt x="1533" y="325"/>
                  </a:lnTo>
                  <a:lnTo>
                    <a:pt x="1528" y="325"/>
                  </a:lnTo>
                  <a:lnTo>
                    <a:pt x="1520" y="325"/>
                  </a:lnTo>
                  <a:lnTo>
                    <a:pt x="1515" y="325"/>
                  </a:lnTo>
                  <a:lnTo>
                    <a:pt x="1510" y="325"/>
                  </a:lnTo>
                  <a:lnTo>
                    <a:pt x="1503" y="323"/>
                  </a:lnTo>
                  <a:lnTo>
                    <a:pt x="1500" y="323"/>
                  </a:lnTo>
                  <a:lnTo>
                    <a:pt x="1500" y="320"/>
                  </a:lnTo>
                  <a:lnTo>
                    <a:pt x="1498" y="318"/>
                  </a:lnTo>
                  <a:lnTo>
                    <a:pt x="1492" y="315"/>
                  </a:lnTo>
                  <a:lnTo>
                    <a:pt x="1485" y="315"/>
                  </a:lnTo>
                  <a:lnTo>
                    <a:pt x="1480" y="318"/>
                  </a:lnTo>
                  <a:lnTo>
                    <a:pt x="1475" y="323"/>
                  </a:lnTo>
                  <a:lnTo>
                    <a:pt x="1472" y="325"/>
                  </a:lnTo>
                  <a:lnTo>
                    <a:pt x="1467" y="325"/>
                  </a:lnTo>
                  <a:lnTo>
                    <a:pt x="1462" y="320"/>
                  </a:lnTo>
                  <a:lnTo>
                    <a:pt x="1460" y="318"/>
                  </a:lnTo>
                  <a:lnTo>
                    <a:pt x="1457" y="313"/>
                  </a:lnTo>
                  <a:lnTo>
                    <a:pt x="1455" y="310"/>
                  </a:lnTo>
                  <a:lnTo>
                    <a:pt x="1450" y="305"/>
                  </a:lnTo>
                  <a:lnTo>
                    <a:pt x="1442" y="300"/>
                  </a:lnTo>
                  <a:lnTo>
                    <a:pt x="1435" y="298"/>
                  </a:lnTo>
                  <a:lnTo>
                    <a:pt x="1429" y="298"/>
                  </a:lnTo>
                  <a:lnTo>
                    <a:pt x="1427" y="300"/>
                  </a:lnTo>
                  <a:lnTo>
                    <a:pt x="1419" y="303"/>
                  </a:lnTo>
                  <a:lnTo>
                    <a:pt x="1414" y="305"/>
                  </a:lnTo>
                  <a:lnTo>
                    <a:pt x="1414" y="308"/>
                  </a:lnTo>
                  <a:lnTo>
                    <a:pt x="1414" y="313"/>
                  </a:lnTo>
                  <a:lnTo>
                    <a:pt x="1409" y="315"/>
                  </a:lnTo>
                  <a:lnTo>
                    <a:pt x="1404" y="320"/>
                  </a:lnTo>
                  <a:lnTo>
                    <a:pt x="1397" y="320"/>
                  </a:lnTo>
                  <a:lnTo>
                    <a:pt x="1394" y="320"/>
                  </a:lnTo>
                  <a:lnTo>
                    <a:pt x="1392" y="315"/>
                  </a:lnTo>
                  <a:lnTo>
                    <a:pt x="1392" y="310"/>
                  </a:lnTo>
                  <a:lnTo>
                    <a:pt x="1389" y="305"/>
                  </a:lnTo>
                  <a:lnTo>
                    <a:pt x="1389" y="303"/>
                  </a:lnTo>
                  <a:lnTo>
                    <a:pt x="1387" y="298"/>
                  </a:lnTo>
                  <a:lnTo>
                    <a:pt x="1384" y="292"/>
                  </a:lnTo>
                  <a:lnTo>
                    <a:pt x="1382" y="290"/>
                  </a:lnTo>
                  <a:lnTo>
                    <a:pt x="1374" y="285"/>
                  </a:lnTo>
                  <a:lnTo>
                    <a:pt x="1366" y="285"/>
                  </a:lnTo>
                  <a:lnTo>
                    <a:pt x="1359" y="287"/>
                  </a:lnTo>
                  <a:lnTo>
                    <a:pt x="1354" y="292"/>
                  </a:lnTo>
                  <a:lnTo>
                    <a:pt x="1351" y="303"/>
                  </a:lnTo>
                  <a:lnTo>
                    <a:pt x="1349" y="313"/>
                  </a:lnTo>
                  <a:lnTo>
                    <a:pt x="1349" y="325"/>
                  </a:lnTo>
                  <a:lnTo>
                    <a:pt x="1354" y="343"/>
                  </a:lnTo>
                  <a:lnTo>
                    <a:pt x="1359" y="356"/>
                  </a:lnTo>
                  <a:lnTo>
                    <a:pt x="1356" y="353"/>
                  </a:lnTo>
                  <a:lnTo>
                    <a:pt x="1354" y="350"/>
                  </a:lnTo>
                  <a:lnTo>
                    <a:pt x="1349" y="345"/>
                  </a:lnTo>
                  <a:lnTo>
                    <a:pt x="1344" y="338"/>
                  </a:lnTo>
                  <a:lnTo>
                    <a:pt x="1341" y="330"/>
                  </a:lnTo>
                  <a:lnTo>
                    <a:pt x="1339" y="323"/>
                  </a:lnTo>
                  <a:lnTo>
                    <a:pt x="1339" y="310"/>
                  </a:lnTo>
                  <a:lnTo>
                    <a:pt x="1344" y="298"/>
                  </a:lnTo>
                  <a:lnTo>
                    <a:pt x="1344" y="290"/>
                  </a:lnTo>
                  <a:lnTo>
                    <a:pt x="1341" y="287"/>
                  </a:lnTo>
                  <a:lnTo>
                    <a:pt x="1336" y="287"/>
                  </a:lnTo>
                  <a:lnTo>
                    <a:pt x="1331" y="287"/>
                  </a:lnTo>
                  <a:lnTo>
                    <a:pt x="1324" y="290"/>
                  </a:lnTo>
                  <a:lnTo>
                    <a:pt x="1316" y="298"/>
                  </a:lnTo>
                  <a:lnTo>
                    <a:pt x="1311" y="310"/>
                  </a:lnTo>
                  <a:lnTo>
                    <a:pt x="1308" y="325"/>
                  </a:lnTo>
                  <a:lnTo>
                    <a:pt x="1308" y="335"/>
                  </a:lnTo>
                  <a:lnTo>
                    <a:pt x="1308" y="340"/>
                  </a:lnTo>
                  <a:lnTo>
                    <a:pt x="1308" y="345"/>
                  </a:lnTo>
                  <a:lnTo>
                    <a:pt x="1308" y="356"/>
                  </a:lnTo>
                  <a:lnTo>
                    <a:pt x="1308" y="361"/>
                  </a:lnTo>
                  <a:lnTo>
                    <a:pt x="1311" y="363"/>
                  </a:lnTo>
                  <a:lnTo>
                    <a:pt x="1316" y="366"/>
                  </a:lnTo>
                  <a:lnTo>
                    <a:pt x="1319" y="366"/>
                  </a:lnTo>
                  <a:lnTo>
                    <a:pt x="1321" y="366"/>
                  </a:lnTo>
                  <a:lnTo>
                    <a:pt x="1329" y="368"/>
                  </a:lnTo>
                  <a:lnTo>
                    <a:pt x="1334" y="371"/>
                  </a:lnTo>
                  <a:lnTo>
                    <a:pt x="1339" y="371"/>
                  </a:lnTo>
                  <a:lnTo>
                    <a:pt x="1341" y="373"/>
                  </a:lnTo>
                  <a:lnTo>
                    <a:pt x="1339" y="376"/>
                  </a:lnTo>
                  <a:lnTo>
                    <a:pt x="1334" y="376"/>
                  </a:lnTo>
                  <a:lnTo>
                    <a:pt x="1331" y="376"/>
                  </a:lnTo>
                  <a:lnTo>
                    <a:pt x="1326" y="376"/>
                  </a:lnTo>
                  <a:lnTo>
                    <a:pt x="1321" y="378"/>
                  </a:lnTo>
                  <a:lnTo>
                    <a:pt x="1316" y="381"/>
                  </a:lnTo>
                  <a:lnTo>
                    <a:pt x="1316" y="383"/>
                  </a:lnTo>
                  <a:lnTo>
                    <a:pt x="1319" y="386"/>
                  </a:lnTo>
                  <a:lnTo>
                    <a:pt x="1321" y="386"/>
                  </a:lnTo>
                  <a:lnTo>
                    <a:pt x="1326" y="388"/>
                  </a:lnTo>
                  <a:lnTo>
                    <a:pt x="1331" y="391"/>
                  </a:lnTo>
                  <a:lnTo>
                    <a:pt x="1334" y="393"/>
                  </a:lnTo>
                  <a:lnTo>
                    <a:pt x="1339" y="396"/>
                  </a:lnTo>
                  <a:lnTo>
                    <a:pt x="1341" y="396"/>
                  </a:lnTo>
                  <a:lnTo>
                    <a:pt x="1346" y="396"/>
                  </a:lnTo>
                  <a:lnTo>
                    <a:pt x="1351" y="393"/>
                  </a:lnTo>
                  <a:lnTo>
                    <a:pt x="1356" y="391"/>
                  </a:lnTo>
                  <a:lnTo>
                    <a:pt x="1359" y="393"/>
                  </a:lnTo>
                  <a:lnTo>
                    <a:pt x="1361" y="396"/>
                  </a:lnTo>
                  <a:lnTo>
                    <a:pt x="1371" y="398"/>
                  </a:lnTo>
                  <a:lnTo>
                    <a:pt x="1374" y="398"/>
                  </a:lnTo>
                  <a:lnTo>
                    <a:pt x="1366" y="436"/>
                  </a:lnTo>
                  <a:lnTo>
                    <a:pt x="1336" y="482"/>
                  </a:lnTo>
                  <a:lnTo>
                    <a:pt x="1326" y="426"/>
                  </a:lnTo>
                  <a:lnTo>
                    <a:pt x="1308" y="403"/>
                  </a:lnTo>
                  <a:lnTo>
                    <a:pt x="1288" y="431"/>
                  </a:lnTo>
                  <a:lnTo>
                    <a:pt x="1278" y="403"/>
                  </a:lnTo>
                  <a:lnTo>
                    <a:pt x="1258" y="368"/>
                  </a:lnTo>
                  <a:lnTo>
                    <a:pt x="1248" y="323"/>
                  </a:lnTo>
                  <a:lnTo>
                    <a:pt x="1215" y="270"/>
                  </a:lnTo>
                  <a:lnTo>
                    <a:pt x="1190" y="343"/>
                  </a:lnTo>
                  <a:lnTo>
                    <a:pt x="1190" y="368"/>
                  </a:lnTo>
                  <a:lnTo>
                    <a:pt x="1225" y="398"/>
                  </a:lnTo>
                  <a:lnTo>
                    <a:pt x="1230" y="431"/>
                  </a:lnTo>
                  <a:lnTo>
                    <a:pt x="1205" y="456"/>
                  </a:lnTo>
                  <a:lnTo>
                    <a:pt x="1190" y="446"/>
                  </a:lnTo>
                  <a:lnTo>
                    <a:pt x="1185" y="446"/>
                  </a:lnTo>
                  <a:lnTo>
                    <a:pt x="1185" y="444"/>
                  </a:lnTo>
                  <a:lnTo>
                    <a:pt x="1187" y="439"/>
                  </a:lnTo>
                  <a:lnTo>
                    <a:pt x="1185" y="434"/>
                  </a:lnTo>
                  <a:lnTo>
                    <a:pt x="1185" y="429"/>
                  </a:lnTo>
                  <a:lnTo>
                    <a:pt x="1182" y="424"/>
                  </a:lnTo>
                  <a:lnTo>
                    <a:pt x="1185" y="424"/>
                  </a:lnTo>
                  <a:lnTo>
                    <a:pt x="1187" y="424"/>
                  </a:lnTo>
                  <a:lnTo>
                    <a:pt x="1190" y="424"/>
                  </a:lnTo>
                  <a:lnTo>
                    <a:pt x="1192" y="424"/>
                  </a:lnTo>
                  <a:lnTo>
                    <a:pt x="1195" y="424"/>
                  </a:lnTo>
                  <a:lnTo>
                    <a:pt x="1198" y="419"/>
                  </a:lnTo>
                  <a:lnTo>
                    <a:pt x="1200" y="413"/>
                  </a:lnTo>
                  <a:lnTo>
                    <a:pt x="1198" y="408"/>
                  </a:lnTo>
                  <a:lnTo>
                    <a:pt x="1192" y="406"/>
                  </a:lnTo>
                  <a:lnTo>
                    <a:pt x="1190" y="403"/>
                  </a:lnTo>
                  <a:lnTo>
                    <a:pt x="1185" y="403"/>
                  </a:lnTo>
                  <a:lnTo>
                    <a:pt x="1180" y="398"/>
                  </a:lnTo>
                  <a:lnTo>
                    <a:pt x="1175" y="396"/>
                  </a:lnTo>
                  <a:lnTo>
                    <a:pt x="1170" y="391"/>
                  </a:lnTo>
                  <a:lnTo>
                    <a:pt x="1167" y="388"/>
                  </a:lnTo>
                  <a:lnTo>
                    <a:pt x="1165" y="383"/>
                  </a:lnTo>
                  <a:lnTo>
                    <a:pt x="1162" y="378"/>
                  </a:lnTo>
                  <a:lnTo>
                    <a:pt x="1162" y="373"/>
                  </a:lnTo>
                  <a:lnTo>
                    <a:pt x="1162" y="371"/>
                  </a:lnTo>
                  <a:lnTo>
                    <a:pt x="1165" y="368"/>
                  </a:lnTo>
                  <a:lnTo>
                    <a:pt x="1165" y="363"/>
                  </a:lnTo>
                  <a:lnTo>
                    <a:pt x="1162" y="356"/>
                  </a:lnTo>
                  <a:lnTo>
                    <a:pt x="1162" y="350"/>
                  </a:lnTo>
                  <a:lnTo>
                    <a:pt x="1160" y="343"/>
                  </a:lnTo>
                  <a:lnTo>
                    <a:pt x="1160" y="338"/>
                  </a:lnTo>
                  <a:lnTo>
                    <a:pt x="1157" y="333"/>
                  </a:lnTo>
                  <a:lnTo>
                    <a:pt x="1157" y="328"/>
                  </a:lnTo>
                  <a:lnTo>
                    <a:pt x="1160" y="325"/>
                  </a:lnTo>
                  <a:lnTo>
                    <a:pt x="1162" y="323"/>
                  </a:lnTo>
                  <a:lnTo>
                    <a:pt x="1165" y="323"/>
                  </a:lnTo>
                  <a:lnTo>
                    <a:pt x="1167" y="318"/>
                  </a:lnTo>
                  <a:lnTo>
                    <a:pt x="1172" y="310"/>
                  </a:lnTo>
                  <a:lnTo>
                    <a:pt x="1172" y="308"/>
                  </a:lnTo>
                  <a:lnTo>
                    <a:pt x="1172" y="305"/>
                  </a:lnTo>
                  <a:lnTo>
                    <a:pt x="1170" y="303"/>
                  </a:lnTo>
                  <a:lnTo>
                    <a:pt x="1165" y="300"/>
                  </a:lnTo>
                  <a:lnTo>
                    <a:pt x="1162" y="300"/>
                  </a:lnTo>
                  <a:lnTo>
                    <a:pt x="1157" y="300"/>
                  </a:lnTo>
                  <a:lnTo>
                    <a:pt x="1152" y="300"/>
                  </a:lnTo>
                  <a:lnTo>
                    <a:pt x="1147" y="300"/>
                  </a:lnTo>
                  <a:lnTo>
                    <a:pt x="1142" y="303"/>
                  </a:lnTo>
                  <a:lnTo>
                    <a:pt x="1145" y="305"/>
                  </a:lnTo>
                  <a:lnTo>
                    <a:pt x="1147" y="308"/>
                  </a:lnTo>
                  <a:lnTo>
                    <a:pt x="1150" y="310"/>
                  </a:lnTo>
                  <a:lnTo>
                    <a:pt x="1152" y="313"/>
                  </a:lnTo>
                  <a:lnTo>
                    <a:pt x="1150" y="313"/>
                  </a:lnTo>
                  <a:lnTo>
                    <a:pt x="1147" y="315"/>
                  </a:lnTo>
                  <a:lnTo>
                    <a:pt x="1145" y="313"/>
                  </a:lnTo>
                  <a:lnTo>
                    <a:pt x="1142" y="310"/>
                  </a:lnTo>
                  <a:lnTo>
                    <a:pt x="1137" y="310"/>
                  </a:lnTo>
                  <a:lnTo>
                    <a:pt x="1134" y="313"/>
                  </a:lnTo>
                  <a:lnTo>
                    <a:pt x="1132" y="315"/>
                  </a:lnTo>
                  <a:lnTo>
                    <a:pt x="1132" y="320"/>
                  </a:lnTo>
                  <a:lnTo>
                    <a:pt x="1132" y="323"/>
                  </a:lnTo>
                  <a:lnTo>
                    <a:pt x="1134" y="328"/>
                  </a:lnTo>
                  <a:lnTo>
                    <a:pt x="1137" y="330"/>
                  </a:lnTo>
                  <a:lnTo>
                    <a:pt x="1134" y="335"/>
                  </a:lnTo>
                  <a:lnTo>
                    <a:pt x="1132" y="340"/>
                  </a:lnTo>
                  <a:lnTo>
                    <a:pt x="1132" y="348"/>
                  </a:lnTo>
                  <a:lnTo>
                    <a:pt x="1129" y="353"/>
                  </a:lnTo>
                  <a:lnTo>
                    <a:pt x="1127" y="350"/>
                  </a:lnTo>
                  <a:lnTo>
                    <a:pt x="1124" y="343"/>
                  </a:lnTo>
                  <a:lnTo>
                    <a:pt x="1124" y="335"/>
                  </a:lnTo>
                  <a:lnTo>
                    <a:pt x="1124" y="328"/>
                  </a:lnTo>
                  <a:lnTo>
                    <a:pt x="1119" y="323"/>
                  </a:lnTo>
                  <a:lnTo>
                    <a:pt x="1117" y="320"/>
                  </a:lnTo>
                  <a:lnTo>
                    <a:pt x="1112" y="315"/>
                  </a:lnTo>
                  <a:lnTo>
                    <a:pt x="1109" y="315"/>
                  </a:lnTo>
                  <a:lnTo>
                    <a:pt x="1109" y="318"/>
                  </a:lnTo>
                  <a:lnTo>
                    <a:pt x="1112" y="323"/>
                  </a:lnTo>
                  <a:lnTo>
                    <a:pt x="1112" y="328"/>
                  </a:lnTo>
                  <a:lnTo>
                    <a:pt x="1109" y="328"/>
                  </a:lnTo>
                  <a:lnTo>
                    <a:pt x="1104" y="328"/>
                  </a:lnTo>
                  <a:lnTo>
                    <a:pt x="1099" y="325"/>
                  </a:lnTo>
                  <a:lnTo>
                    <a:pt x="1094" y="320"/>
                  </a:lnTo>
                  <a:lnTo>
                    <a:pt x="1092" y="315"/>
                  </a:lnTo>
                  <a:lnTo>
                    <a:pt x="1092" y="313"/>
                  </a:lnTo>
                  <a:lnTo>
                    <a:pt x="1087" y="313"/>
                  </a:lnTo>
                  <a:lnTo>
                    <a:pt x="1082" y="315"/>
                  </a:lnTo>
                  <a:lnTo>
                    <a:pt x="1079" y="315"/>
                  </a:lnTo>
                  <a:lnTo>
                    <a:pt x="1077" y="313"/>
                  </a:lnTo>
                  <a:lnTo>
                    <a:pt x="1079" y="310"/>
                  </a:lnTo>
                  <a:lnTo>
                    <a:pt x="1082" y="303"/>
                  </a:lnTo>
                  <a:lnTo>
                    <a:pt x="1082" y="300"/>
                  </a:lnTo>
                  <a:lnTo>
                    <a:pt x="1077" y="298"/>
                  </a:lnTo>
                  <a:lnTo>
                    <a:pt x="1071" y="300"/>
                  </a:lnTo>
                  <a:lnTo>
                    <a:pt x="1064" y="300"/>
                  </a:lnTo>
                  <a:lnTo>
                    <a:pt x="1056" y="303"/>
                  </a:lnTo>
                  <a:lnTo>
                    <a:pt x="1051" y="303"/>
                  </a:lnTo>
                  <a:lnTo>
                    <a:pt x="1049" y="305"/>
                  </a:lnTo>
                  <a:lnTo>
                    <a:pt x="1044" y="305"/>
                  </a:lnTo>
                  <a:lnTo>
                    <a:pt x="1039" y="308"/>
                  </a:lnTo>
                  <a:lnTo>
                    <a:pt x="1036" y="310"/>
                  </a:lnTo>
                  <a:lnTo>
                    <a:pt x="1036" y="315"/>
                  </a:lnTo>
                  <a:lnTo>
                    <a:pt x="1034" y="320"/>
                  </a:lnTo>
                  <a:lnTo>
                    <a:pt x="1029" y="323"/>
                  </a:lnTo>
                  <a:lnTo>
                    <a:pt x="1024" y="323"/>
                  </a:lnTo>
                  <a:lnTo>
                    <a:pt x="1021" y="325"/>
                  </a:lnTo>
                  <a:lnTo>
                    <a:pt x="1021" y="330"/>
                  </a:lnTo>
                  <a:lnTo>
                    <a:pt x="1024" y="333"/>
                  </a:lnTo>
                  <a:lnTo>
                    <a:pt x="1029" y="338"/>
                  </a:lnTo>
                  <a:lnTo>
                    <a:pt x="1034" y="343"/>
                  </a:lnTo>
                  <a:lnTo>
                    <a:pt x="1036" y="345"/>
                  </a:lnTo>
                  <a:lnTo>
                    <a:pt x="1039" y="345"/>
                  </a:lnTo>
                  <a:lnTo>
                    <a:pt x="1039" y="350"/>
                  </a:lnTo>
                  <a:lnTo>
                    <a:pt x="1039" y="353"/>
                  </a:lnTo>
                  <a:lnTo>
                    <a:pt x="1034" y="356"/>
                  </a:lnTo>
                  <a:lnTo>
                    <a:pt x="1026" y="353"/>
                  </a:lnTo>
                  <a:lnTo>
                    <a:pt x="1021" y="356"/>
                  </a:lnTo>
                  <a:lnTo>
                    <a:pt x="1021" y="358"/>
                  </a:lnTo>
                  <a:lnTo>
                    <a:pt x="1021" y="361"/>
                  </a:lnTo>
                  <a:lnTo>
                    <a:pt x="1021" y="366"/>
                  </a:lnTo>
                  <a:lnTo>
                    <a:pt x="1024" y="371"/>
                  </a:lnTo>
                  <a:lnTo>
                    <a:pt x="1026" y="373"/>
                  </a:lnTo>
                  <a:lnTo>
                    <a:pt x="1031" y="373"/>
                  </a:lnTo>
                  <a:lnTo>
                    <a:pt x="1036" y="373"/>
                  </a:lnTo>
                  <a:lnTo>
                    <a:pt x="1044" y="373"/>
                  </a:lnTo>
                  <a:lnTo>
                    <a:pt x="1051" y="376"/>
                  </a:lnTo>
                  <a:lnTo>
                    <a:pt x="1054" y="376"/>
                  </a:lnTo>
                  <a:lnTo>
                    <a:pt x="1059" y="376"/>
                  </a:lnTo>
                  <a:lnTo>
                    <a:pt x="1069" y="378"/>
                  </a:lnTo>
                  <a:lnTo>
                    <a:pt x="1077" y="381"/>
                  </a:lnTo>
                  <a:lnTo>
                    <a:pt x="1082" y="386"/>
                  </a:lnTo>
                  <a:lnTo>
                    <a:pt x="1082" y="391"/>
                  </a:lnTo>
                  <a:lnTo>
                    <a:pt x="1079" y="396"/>
                  </a:lnTo>
                  <a:lnTo>
                    <a:pt x="1079" y="398"/>
                  </a:lnTo>
                  <a:lnTo>
                    <a:pt x="1077" y="398"/>
                  </a:lnTo>
                  <a:lnTo>
                    <a:pt x="1071" y="396"/>
                  </a:lnTo>
                  <a:lnTo>
                    <a:pt x="1066" y="396"/>
                  </a:lnTo>
                  <a:lnTo>
                    <a:pt x="1059" y="393"/>
                  </a:lnTo>
                  <a:lnTo>
                    <a:pt x="1054" y="388"/>
                  </a:lnTo>
                  <a:lnTo>
                    <a:pt x="1049" y="388"/>
                  </a:lnTo>
                  <a:lnTo>
                    <a:pt x="1044" y="386"/>
                  </a:lnTo>
                  <a:lnTo>
                    <a:pt x="1039" y="383"/>
                  </a:lnTo>
                  <a:lnTo>
                    <a:pt x="1034" y="383"/>
                  </a:lnTo>
                  <a:lnTo>
                    <a:pt x="1026" y="383"/>
                  </a:lnTo>
                  <a:lnTo>
                    <a:pt x="1021" y="383"/>
                  </a:lnTo>
                  <a:lnTo>
                    <a:pt x="1019" y="383"/>
                  </a:lnTo>
                  <a:lnTo>
                    <a:pt x="1019" y="388"/>
                  </a:lnTo>
                  <a:lnTo>
                    <a:pt x="1019" y="393"/>
                  </a:lnTo>
                  <a:lnTo>
                    <a:pt x="1019" y="398"/>
                  </a:lnTo>
                  <a:lnTo>
                    <a:pt x="1019" y="403"/>
                  </a:lnTo>
                  <a:lnTo>
                    <a:pt x="1021" y="406"/>
                  </a:lnTo>
                  <a:lnTo>
                    <a:pt x="1026" y="406"/>
                  </a:lnTo>
                  <a:lnTo>
                    <a:pt x="1031" y="408"/>
                  </a:lnTo>
                  <a:lnTo>
                    <a:pt x="1036" y="413"/>
                  </a:lnTo>
                  <a:lnTo>
                    <a:pt x="1044" y="419"/>
                  </a:lnTo>
                  <a:lnTo>
                    <a:pt x="1049" y="424"/>
                  </a:lnTo>
                  <a:lnTo>
                    <a:pt x="1049" y="429"/>
                  </a:lnTo>
                  <a:lnTo>
                    <a:pt x="1051" y="434"/>
                  </a:lnTo>
                  <a:lnTo>
                    <a:pt x="1051" y="439"/>
                  </a:lnTo>
                  <a:lnTo>
                    <a:pt x="1054" y="441"/>
                  </a:lnTo>
                  <a:lnTo>
                    <a:pt x="1056" y="441"/>
                  </a:lnTo>
                  <a:lnTo>
                    <a:pt x="1059" y="441"/>
                  </a:lnTo>
                  <a:lnTo>
                    <a:pt x="1064" y="444"/>
                  </a:lnTo>
                  <a:lnTo>
                    <a:pt x="1066" y="444"/>
                  </a:lnTo>
                  <a:lnTo>
                    <a:pt x="1071" y="446"/>
                  </a:lnTo>
                  <a:lnTo>
                    <a:pt x="1074" y="446"/>
                  </a:lnTo>
                  <a:lnTo>
                    <a:pt x="1077" y="446"/>
                  </a:lnTo>
                  <a:lnTo>
                    <a:pt x="1079" y="446"/>
                  </a:lnTo>
                  <a:lnTo>
                    <a:pt x="1084" y="446"/>
                  </a:lnTo>
                  <a:lnTo>
                    <a:pt x="1087" y="444"/>
                  </a:lnTo>
                  <a:lnTo>
                    <a:pt x="1094" y="444"/>
                  </a:lnTo>
                  <a:lnTo>
                    <a:pt x="1102" y="441"/>
                  </a:lnTo>
                  <a:lnTo>
                    <a:pt x="1107" y="439"/>
                  </a:lnTo>
                  <a:lnTo>
                    <a:pt x="1114" y="439"/>
                  </a:lnTo>
                  <a:lnTo>
                    <a:pt x="1119" y="436"/>
                  </a:lnTo>
                  <a:lnTo>
                    <a:pt x="1124" y="434"/>
                  </a:lnTo>
                  <a:lnTo>
                    <a:pt x="1129" y="429"/>
                  </a:lnTo>
                  <a:lnTo>
                    <a:pt x="1132" y="426"/>
                  </a:lnTo>
                  <a:lnTo>
                    <a:pt x="1134" y="429"/>
                  </a:lnTo>
                  <a:lnTo>
                    <a:pt x="1137" y="429"/>
                  </a:lnTo>
                  <a:lnTo>
                    <a:pt x="1142" y="434"/>
                  </a:lnTo>
                  <a:lnTo>
                    <a:pt x="1145" y="434"/>
                  </a:lnTo>
                  <a:lnTo>
                    <a:pt x="1147" y="439"/>
                  </a:lnTo>
                  <a:lnTo>
                    <a:pt x="1152" y="441"/>
                  </a:lnTo>
                  <a:lnTo>
                    <a:pt x="1157" y="444"/>
                  </a:lnTo>
                  <a:lnTo>
                    <a:pt x="1160" y="449"/>
                  </a:lnTo>
                  <a:lnTo>
                    <a:pt x="1167" y="451"/>
                  </a:lnTo>
                  <a:lnTo>
                    <a:pt x="1157" y="471"/>
                  </a:lnTo>
                  <a:lnTo>
                    <a:pt x="1122" y="461"/>
                  </a:lnTo>
                  <a:lnTo>
                    <a:pt x="1069" y="461"/>
                  </a:lnTo>
                  <a:lnTo>
                    <a:pt x="1039" y="441"/>
                  </a:lnTo>
                  <a:lnTo>
                    <a:pt x="991" y="451"/>
                  </a:lnTo>
                  <a:lnTo>
                    <a:pt x="996" y="466"/>
                  </a:lnTo>
                  <a:lnTo>
                    <a:pt x="1001" y="497"/>
                  </a:lnTo>
                  <a:lnTo>
                    <a:pt x="986" y="492"/>
                  </a:lnTo>
                  <a:lnTo>
                    <a:pt x="958" y="461"/>
                  </a:lnTo>
                  <a:lnTo>
                    <a:pt x="903" y="471"/>
                  </a:lnTo>
                  <a:lnTo>
                    <a:pt x="875" y="451"/>
                  </a:lnTo>
                  <a:lnTo>
                    <a:pt x="885" y="431"/>
                  </a:lnTo>
                  <a:lnTo>
                    <a:pt x="850" y="421"/>
                  </a:lnTo>
                  <a:lnTo>
                    <a:pt x="807" y="398"/>
                  </a:lnTo>
                  <a:lnTo>
                    <a:pt x="749" y="383"/>
                  </a:lnTo>
                  <a:lnTo>
                    <a:pt x="713" y="393"/>
                  </a:lnTo>
                  <a:lnTo>
                    <a:pt x="676" y="353"/>
                  </a:lnTo>
                  <a:lnTo>
                    <a:pt x="577" y="398"/>
                  </a:lnTo>
                  <a:lnTo>
                    <a:pt x="550" y="426"/>
                  </a:lnTo>
                  <a:lnTo>
                    <a:pt x="509" y="416"/>
                  </a:lnTo>
                  <a:lnTo>
                    <a:pt x="482" y="388"/>
                  </a:lnTo>
                  <a:lnTo>
                    <a:pt x="451" y="378"/>
                  </a:lnTo>
                  <a:lnTo>
                    <a:pt x="439" y="378"/>
                  </a:lnTo>
                  <a:lnTo>
                    <a:pt x="424" y="363"/>
                  </a:lnTo>
                  <a:lnTo>
                    <a:pt x="376" y="368"/>
                  </a:lnTo>
                  <a:lnTo>
                    <a:pt x="308" y="338"/>
                  </a:lnTo>
                  <a:lnTo>
                    <a:pt x="277" y="343"/>
                  </a:lnTo>
                  <a:lnTo>
                    <a:pt x="252" y="328"/>
                  </a:lnTo>
                  <a:lnTo>
                    <a:pt x="245" y="310"/>
                  </a:lnTo>
                  <a:lnTo>
                    <a:pt x="199" y="295"/>
                  </a:lnTo>
                  <a:lnTo>
                    <a:pt x="171" y="315"/>
                  </a:lnTo>
                  <a:lnTo>
                    <a:pt x="131" y="333"/>
                  </a:lnTo>
                  <a:lnTo>
                    <a:pt x="98" y="353"/>
                  </a:lnTo>
                  <a:lnTo>
                    <a:pt x="78" y="403"/>
                  </a:lnTo>
                  <a:lnTo>
                    <a:pt x="35" y="413"/>
                  </a:lnTo>
                  <a:lnTo>
                    <a:pt x="35" y="446"/>
                  </a:lnTo>
                  <a:lnTo>
                    <a:pt x="68" y="487"/>
                  </a:lnTo>
                  <a:lnTo>
                    <a:pt x="98" y="502"/>
                  </a:lnTo>
                  <a:lnTo>
                    <a:pt x="98" y="522"/>
                  </a:lnTo>
                  <a:lnTo>
                    <a:pt x="78" y="532"/>
                  </a:lnTo>
                  <a:lnTo>
                    <a:pt x="50" y="522"/>
                  </a:lnTo>
                  <a:lnTo>
                    <a:pt x="0" y="560"/>
                  </a:lnTo>
                  <a:lnTo>
                    <a:pt x="15" y="575"/>
                  </a:lnTo>
                  <a:lnTo>
                    <a:pt x="35" y="595"/>
                  </a:lnTo>
                  <a:lnTo>
                    <a:pt x="83" y="595"/>
                  </a:lnTo>
                  <a:lnTo>
                    <a:pt x="118" y="600"/>
                  </a:lnTo>
                  <a:lnTo>
                    <a:pt x="103" y="635"/>
                  </a:lnTo>
                  <a:lnTo>
                    <a:pt x="63" y="653"/>
                  </a:lnTo>
                  <a:lnTo>
                    <a:pt x="30" y="673"/>
                  </a:lnTo>
                  <a:lnTo>
                    <a:pt x="25" y="698"/>
                  </a:lnTo>
                  <a:lnTo>
                    <a:pt x="63" y="724"/>
                  </a:lnTo>
                  <a:lnTo>
                    <a:pt x="68" y="751"/>
                  </a:lnTo>
                  <a:lnTo>
                    <a:pt x="93" y="761"/>
                  </a:lnTo>
                  <a:lnTo>
                    <a:pt x="98" y="797"/>
                  </a:lnTo>
                  <a:lnTo>
                    <a:pt x="136" y="792"/>
                  </a:lnTo>
                  <a:lnTo>
                    <a:pt x="182" y="792"/>
                  </a:lnTo>
                  <a:lnTo>
                    <a:pt x="156" y="840"/>
                  </a:lnTo>
                  <a:lnTo>
                    <a:pt x="78" y="905"/>
                  </a:lnTo>
                  <a:lnTo>
                    <a:pt x="166" y="860"/>
                  </a:lnTo>
                  <a:lnTo>
                    <a:pt x="234" y="787"/>
                  </a:lnTo>
                  <a:lnTo>
                    <a:pt x="229" y="772"/>
                  </a:lnTo>
                  <a:lnTo>
                    <a:pt x="272" y="719"/>
                  </a:lnTo>
                  <a:lnTo>
                    <a:pt x="282" y="741"/>
                  </a:lnTo>
                  <a:lnTo>
                    <a:pt x="287" y="766"/>
                  </a:lnTo>
                  <a:lnTo>
                    <a:pt x="320" y="741"/>
                  </a:lnTo>
                  <a:lnTo>
                    <a:pt x="355" y="719"/>
                  </a:lnTo>
                  <a:lnTo>
                    <a:pt x="371" y="731"/>
                  </a:lnTo>
                  <a:lnTo>
                    <a:pt x="451" y="746"/>
                  </a:lnTo>
                  <a:lnTo>
                    <a:pt x="504" y="772"/>
                  </a:lnTo>
                  <a:lnTo>
                    <a:pt x="545" y="751"/>
                  </a:lnTo>
                  <a:lnTo>
                    <a:pt x="603" y="855"/>
                  </a:lnTo>
                  <a:lnTo>
                    <a:pt x="640" y="880"/>
                  </a:lnTo>
                  <a:lnTo>
                    <a:pt x="635" y="920"/>
                  </a:lnTo>
                  <a:lnTo>
                    <a:pt x="650" y="953"/>
                  </a:lnTo>
                  <a:lnTo>
                    <a:pt x="691" y="1009"/>
                  </a:lnTo>
                  <a:lnTo>
                    <a:pt x="749" y="1046"/>
                  </a:lnTo>
                  <a:lnTo>
                    <a:pt x="754" y="1072"/>
                  </a:lnTo>
                  <a:lnTo>
                    <a:pt x="759" y="1102"/>
                  </a:lnTo>
                  <a:lnTo>
                    <a:pt x="744" y="1112"/>
                  </a:lnTo>
                  <a:lnTo>
                    <a:pt x="749" y="1092"/>
                  </a:lnTo>
                  <a:lnTo>
                    <a:pt x="719" y="1082"/>
                  </a:lnTo>
                  <a:lnTo>
                    <a:pt x="734" y="1137"/>
                  </a:lnTo>
                  <a:lnTo>
                    <a:pt x="729" y="1180"/>
                  </a:lnTo>
                  <a:lnTo>
                    <a:pt x="719" y="1220"/>
                  </a:lnTo>
                  <a:lnTo>
                    <a:pt x="729" y="1253"/>
                  </a:lnTo>
                  <a:lnTo>
                    <a:pt x="729" y="1273"/>
                  </a:lnTo>
                  <a:lnTo>
                    <a:pt x="754" y="1324"/>
                  </a:lnTo>
                  <a:lnTo>
                    <a:pt x="774" y="1359"/>
                  </a:lnTo>
                  <a:lnTo>
                    <a:pt x="792" y="1387"/>
                  </a:lnTo>
                  <a:lnTo>
                    <a:pt x="837" y="1417"/>
                  </a:lnTo>
                  <a:lnTo>
                    <a:pt x="842" y="1427"/>
                  </a:lnTo>
                  <a:lnTo>
                    <a:pt x="845" y="1427"/>
                  </a:lnTo>
                  <a:lnTo>
                    <a:pt x="875" y="1483"/>
                  </a:lnTo>
                  <a:lnTo>
                    <a:pt x="895" y="1515"/>
                  </a:lnTo>
                  <a:lnTo>
                    <a:pt x="890" y="1525"/>
                  </a:lnTo>
                  <a:lnTo>
                    <a:pt x="928" y="1551"/>
                  </a:lnTo>
                  <a:lnTo>
                    <a:pt x="933" y="1576"/>
                  </a:lnTo>
                  <a:lnTo>
                    <a:pt x="948" y="1586"/>
                  </a:lnTo>
                  <a:lnTo>
                    <a:pt x="968" y="1606"/>
                  </a:lnTo>
                  <a:lnTo>
                    <a:pt x="976" y="1591"/>
                  </a:lnTo>
                  <a:lnTo>
                    <a:pt x="953" y="1576"/>
                  </a:lnTo>
                  <a:lnTo>
                    <a:pt x="933" y="1530"/>
                  </a:lnTo>
                  <a:lnTo>
                    <a:pt x="895" y="1477"/>
                  </a:lnTo>
                  <a:lnTo>
                    <a:pt x="885" y="1447"/>
                  </a:lnTo>
                  <a:lnTo>
                    <a:pt x="913" y="1457"/>
                  </a:lnTo>
                  <a:lnTo>
                    <a:pt x="938" y="1510"/>
                  </a:lnTo>
                  <a:lnTo>
                    <a:pt x="948" y="1525"/>
                  </a:lnTo>
                  <a:lnTo>
                    <a:pt x="976" y="1541"/>
                  </a:lnTo>
                  <a:lnTo>
                    <a:pt x="976" y="1556"/>
                  </a:lnTo>
                  <a:lnTo>
                    <a:pt x="996" y="1566"/>
                  </a:lnTo>
                  <a:lnTo>
                    <a:pt x="1006" y="1581"/>
                  </a:lnTo>
                  <a:lnTo>
                    <a:pt x="1031" y="1606"/>
                  </a:lnTo>
                  <a:lnTo>
                    <a:pt x="1036" y="1644"/>
                  </a:lnTo>
                  <a:lnTo>
                    <a:pt x="1036" y="1659"/>
                  </a:lnTo>
                  <a:lnTo>
                    <a:pt x="1104" y="1699"/>
                  </a:lnTo>
                  <a:lnTo>
                    <a:pt x="1137" y="1717"/>
                  </a:lnTo>
                  <a:lnTo>
                    <a:pt x="1195" y="1732"/>
                  </a:lnTo>
                  <a:lnTo>
                    <a:pt x="1210" y="1727"/>
                  </a:lnTo>
                  <a:lnTo>
                    <a:pt x="1225" y="1727"/>
                  </a:lnTo>
                  <a:lnTo>
                    <a:pt x="1250" y="1747"/>
                  </a:lnTo>
                  <a:lnTo>
                    <a:pt x="1256" y="1755"/>
                  </a:lnTo>
                  <a:lnTo>
                    <a:pt x="1288" y="1760"/>
                  </a:lnTo>
                  <a:lnTo>
                    <a:pt x="1303" y="1755"/>
                  </a:lnTo>
                  <a:lnTo>
                    <a:pt x="1303" y="1752"/>
                  </a:lnTo>
                  <a:lnTo>
                    <a:pt x="1331" y="1767"/>
                  </a:lnTo>
                  <a:lnTo>
                    <a:pt x="1361" y="1755"/>
                  </a:lnTo>
                  <a:lnTo>
                    <a:pt x="1329" y="1767"/>
                  </a:lnTo>
                  <a:lnTo>
                    <a:pt x="1356" y="1810"/>
                  </a:lnTo>
                  <a:lnTo>
                    <a:pt x="1366" y="1820"/>
                  </a:lnTo>
                  <a:lnTo>
                    <a:pt x="1414" y="1851"/>
                  </a:lnTo>
                  <a:lnTo>
                    <a:pt x="1419" y="1830"/>
                  </a:lnTo>
                  <a:lnTo>
                    <a:pt x="1404" y="1810"/>
                  </a:lnTo>
                  <a:close/>
                  <a:moveTo>
                    <a:pt x="1268" y="1722"/>
                  </a:moveTo>
                  <a:lnTo>
                    <a:pt x="1268" y="1722"/>
                  </a:lnTo>
                  <a:lnTo>
                    <a:pt x="1281" y="1722"/>
                  </a:lnTo>
                  <a:lnTo>
                    <a:pt x="1283" y="1722"/>
                  </a:lnTo>
                  <a:lnTo>
                    <a:pt x="1268" y="1722"/>
                  </a:lnTo>
                  <a:close/>
                  <a:moveTo>
                    <a:pt x="1593" y="1692"/>
                  </a:moveTo>
                  <a:lnTo>
                    <a:pt x="1614" y="1692"/>
                  </a:lnTo>
                  <a:lnTo>
                    <a:pt x="1629" y="1679"/>
                  </a:lnTo>
                  <a:lnTo>
                    <a:pt x="1671" y="1687"/>
                  </a:lnTo>
                  <a:lnTo>
                    <a:pt x="1651" y="1674"/>
                  </a:lnTo>
                  <a:lnTo>
                    <a:pt x="1619" y="1659"/>
                  </a:lnTo>
                  <a:lnTo>
                    <a:pt x="1578" y="1659"/>
                  </a:lnTo>
                  <a:lnTo>
                    <a:pt x="1578" y="1669"/>
                  </a:lnTo>
                  <a:lnTo>
                    <a:pt x="1556" y="1674"/>
                  </a:lnTo>
                  <a:lnTo>
                    <a:pt x="1583" y="1687"/>
                  </a:lnTo>
                  <a:lnTo>
                    <a:pt x="1593" y="1692"/>
                  </a:lnTo>
                  <a:close/>
                  <a:moveTo>
                    <a:pt x="1520" y="1634"/>
                  </a:moveTo>
                  <a:lnTo>
                    <a:pt x="1520" y="1634"/>
                  </a:lnTo>
                  <a:lnTo>
                    <a:pt x="1513" y="1624"/>
                  </a:lnTo>
                  <a:lnTo>
                    <a:pt x="1510" y="1619"/>
                  </a:lnTo>
                  <a:lnTo>
                    <a:pt x="1472" y="1604"/>
                  </a:lnTo>
                  <a:lnTo>
                    <a:pt x="1414" y="1604"/>
                  </a:lnTo>
                  <a:lnTo>
                    <a:pt x="1382" y="1609"/>
                  </a:lnTo>
                  <a:lnTo>
                    <a:pt x="1371" y="1619"/>
                  </a:lnTo>
                  <a:lnTo>
                    <a:pt x="1397" y="1624"/>
                  </a:lnTo>
                  <a:lnTo>
                    <a:pt x="1419" y="1624"/>
                  </a:lnTo>
                  <a:lnTo>
                    <a:pt x="1450" y="1624"/>
                  </a:lnTo>
                  <a:lnTo>
                    <a:pt x="1482" y="1629"/>
                  </a:lnTo>
                  <a:lnTo>
                    <a:pt x="1492" y="1644"/>
                  </a:lnTo>
                  <a:lnTo>
                    <a:pt x="1503" y="1654"/>
                  </a:lnTo>
                  <a:lnTo>
                    <a:pt x="1545" y="1654"/>
                  </a:lnTo>
                  <a:lnTo>
                    <a:pt x="1553" y="1654"/>
                  </a:lnTo>
                  <a:lnTo>
                    <a:pt x="1556" y="1651"/>
                  </a:lnTo>
                  <a:lnTo>
                    <a:pt x="1556" y="1649"/>
                  </a:lnTo>
                  <a:lnTo>
                    <a:pt x="1545" y="1639"/>
                  </a:lnTo>
                  <a:lnTo>
                    <a:pt x="1538" y="1639"/>
                  </a:lnTo>
                  <a:lnTo>
                    <a:pt x="1528" y="1636"/>
                  </a:lnTo>
                  <a:lnTo>
                    <a:pt x="1520" y="1634"/>
                  </a:lnTo>
                  <a:close/>
                  <a:moveTo>
                    <a:pt x="1704" y="1717"/>
                  </a:moveTo>
                  <a:lnTo>
                    <a:pt x="1729" y="1722"/>
                  </a:lnTo>
                  <a:lnTo>
                    <a:pt x="1729" y="1709"/>
                  </a:lnTo>
                  <a:lnTo>
                    <a:pt x="1707" y="1709"/>
                  </a:lnTo>
                  <a:lnTo>
                    <a:pt x="1704" y="1717"/>
                  </a:lnTo>
                  <a:close/>
                  <a:moveTo>
                    <a:pt x="1452" y="1861"/>
                  </a:moveTo>
                  <a:lnTo>
                    <a:pt x="1452" y="1861"/>
                  </a:lnTo>
                  <a:lnTo>
                    <a:pt x="1467" y="1846"/>
                  </a:lnTo>
                  <a:lnTo>
                    <a:pt x="1487" y="1851"/>
                  </a:lnTo>
                  <a:lnTo>
                    <a:pt x="1492" y="1866"/>
                  </a:lnTo>
                  <a:lnTo>
                    <a:pt x="1508" y="1851"/>
                  </a:lnTo>
                  <a:lnTo>
                    <a:pt x="1487" y="1836"/>
                  </a:lnTo>
                  <a:lnTo>
                    <a:pt x="1462" y="1836"/>
                  </a:lnTo>
                  <a:lnTo>
                    <a:pt x="1445" y="1838"/>
                  </a:lnTo>
                  <a:lnTo>
                    <a:pt x="1432" y="1838"/>
                  </a:lnTo>
                  <a:lnTo>
                    <a:pt x="1424" y="1836"/>
                  </a:lnTo>
                  <a:lnTo>
                    <a:pt x="1419" y="1836"/>
                  </a:lnTo>
                  <a:lnTo>
                    <a:pt x="1419" y="1830"/>
                  </a:lnTo>
                  <a:lnTo>
                    <a:pt x="1414" y="1851"/>
                  </a:lnTo>
                  <a:lnTo>
                    <a:pt x="1435" y="1871"/>
                  </a:lnTo>
                  <a:lnTo>
                    <a:pt x="1445" y="1871"/>
                  </a:lnTo>
                  <a:lnTo>
                    <a:pt x="1452" y="1861"/>
                  </a:lnTo>
                  <a:close/>
                  <a:moveTo>
                    <a:pt x="2201" y="2073"/>
                  </a:moveTo>
                  <a:lnTo>
                    <a:pt x="2201" y="2073"/>
                  </a:lnTo>
                  <a:lnTo>
                    <a:pt x="2168" y="2062"/>
                  </a:lnTo>
                  <a:lnTo>
                    <a:pt x="2123" y="2037"/>
                  </a:lnTo>
                  <a:lnTo>
                    <a:pt x="2070" y="2032"/>
                  </a:lnTo>
                  <a:lnTo>
                    <a:pt x="2055" y="2027"/>
                  </a:lnTo>
                  <a:lnTo>
                    <a:pt x="2042" y="2012"/>
                  </a:lnTo>
                  <a:lnTo>
                    <a:pt x="2002" y="1997"/>
                  </a:lnTo>
                  <a:lnTo>
                    <a:pt x="1964" y="1974"/>
                  </a:lnTo>
                  <a:lnTo>
                    <a:pt x="1959" y="1954"/>
                  </a:lnTo>
                  <a:lnTo>
                    <a:pt x="1944" y="1914"/>
                  </a:lnTo>
                  <a:lnTo>
                    <a:pt x="1939" y="1914"/>
                  </a:lnTo>
                  <a:lnTo>
                    <a:pt x="1903" y="1893"/>
                  </a:lnTo>
                  <a:lnTo>
                    <a:pt x="1891" y="1893"/>
                  </a:lnTo>
                  <a:lnTo>
                    <a:pt x="1891" y="1896"/>
                  </a:lnTo>
                  <a:lnTo>
                    <a:pt x="1891" y="1893"/>
                  </a:lnTo>
                  <a:lnTo>
                    <a:pt x="1848" y="1888"/>
                  </a:lnTo>
                  <a:lnTo>
                    <a:pt x="1848" y="1883"/>
                  </a:lnTo>
                  <a:lnTo>
                    <a:pt x="1848" y="1888"/>
                  </a:lnTo>
                  <a:lnTo>
                    <a:pt x="1848" y="1881"/>
                  </a:lnTo>
                  <a:lnTo>
                    <a:pt x="1828" y="1876"/>
                  </a:lnTo>
                  <a:lnTo>
                    <a:pt x="1823" y="1861"/>
                  </a:lnTo>
                  <a:lnTo>
                    <a:pt x="1803" y="1846"/>
                  </a:lnTo>
                  <a:lnTo>
                    <a:pt x="1798" y="1846"/>
                  </a:lnTo>
                  <a:lnTo>
                    <a:pt x="1782" y="1841"/>
                  </a:lnTo>
                  <a:lnTo>
                    <a:pt x="1777" y="1830"/>
                  </a:lnTo>
                  <a:lnTo>
                    <a:pt x="1745" y="1815"/>
                  </a:lnTo>
                  <a:lnTo>
                    <a:pt x="1694" y="1820"/>
                  </a:lnTo>
                  <a:lnTo>
                    <a:pt x="1666" y="1815"/>
                  </a:lnTo>
                  <a:lnTo>
                    <a:pt x="1661" y="1805"/>
                  </a:lnTo>
                  <a:lnTo>
                    <a:pt x="1636" y="1800"/>
                  </a:lnTo>
                  <a:lnTo>
                    <a:pt x="1608" y="1805"/>
                  </a:lnTo>
                  <a:lnTo>
                    <a:pt x="1606" y="1803"/>
                  </a:lnTo>
                  <a:lnTo>
                    <a:pt x="1606" y="1798"/>
                  </a:lnTo>
                  <a:lnTo>
                    <a:pt x="1603" y="1790"/>
                  </a:lnTo>
                  <a:lnTo>
                    <a:pt x="1591" y="1795"/>
                  </a:lnTo>
                  <a:lnTo>
                    <a:pt x="1603" y="1790"/>
                  </a:lnTo>
                  <a:lnTo>
                    <a:pt x="1603" y="1785"/>
                  </a:lnTo>
                  <a:lnTo>
                    <a:pt x="1566" y="1795"/>
                  </a:lnTo>
                  <a:lnTo>
                    <a:pt x="1545" y="1805"/>
                  </a:lnTo>
                  <a:lnTo>
                    <a:pt x="1535" y="1830"/>
                  </a:lnTo>
                  <a:lnTo>
                    <a:pt x="1525" y="1836"/>
                  </a:lnTo>
                  <a:lnTo>
                    <a:pt x="1508" y="1851"/>
                  </a:lnTo>
                  <a:lnTo>
                    <a:pt x="1492" y="1866"/>
                  </a:lnTo>
                  <a:lnTo>
                    <a:pt x="1498" y="1878"/>
                  </a:lnTo>
                  <a:lnTo>
                    <a:pt x="1503" y="1904"/>
                  </a:lnTo>
                  <a:lnTo>
                    <a:pt x="1503" y="1919"/>
                  </a:lnTo>
                  <a:lnTo>
                    <a:pt x="1508" y="1939"/>
                  </a:lnTo>
                  <a:lnTo>
                    <a:pt x="1487" y="1954"/>
                  </a:lnTo>
                  <a:lnTo>
                    <a:pt x="1477" y="1964"/>
                  </a:lnTo>
                  <a:lnTo>
                    <a:pt x="1472" y="1974"/>
                  </a:lnTo>
                  <a:lnTo>
                    <a:pt x="1450" y="2022"/>
                  </a:lnTo>
                  <a:lnTo>
                    <a:pt x="1462" y="2042"/>
                  </a:lnTo>
                  <a:lnTo>
                    <a:pt x="1450" y="2047"/>
                  </a:lnTo>
                  <a:lnTo>
                    <a:pt x="1452" y="2047"/>
                  </a:lnTo>
                  <a:lnTo>
                    <a:pt x="1435" y="2057"/>
                  </a:lnTo>
                  <a:lnTo>
                    <a:pt x="1452" y="2093"/>
                  </a:lnTo>
                  <a:lnTo>
                    <a:pt x="1482" y="2146"/>
                  </a:lnTo>
                  <a:lnTo>
                    <a:pt x="1515" y="2211"/>
                  </a:lnTo>
                  <a:lnTo>
                    <a:pt x="1515" y="2221"/>
                  </a:lnTo>
                  <a:lnTo>
                    <a:pt x="1626" y="2284"/>
                  </a:lnTo>
                  <a:lnTo>
                    <a:pt x="1631" y="2284"/>
                  </a:lnTo>
                  <a:lnTo>
                    <a:pt x="1631" y="2282"/>
                  </a:lnTo>
                  <a:lnTo>
                    <a:pt x="1634" y="2279"/>
                  </a:lnTo>
                  <a:lnTo>
                    <a:pt x="1649" y="2294"/>
                  </a:lnTo>
                  <a:lnTo>
                    <a:pt x="1649" y="2297"/>
                  </a:lnTo>
                  <a:lnTo>
                    <a:pt x="1644" y="2315"/>
                  </a:lnTo>
                  <a:lnTo>
                    <a:pt x="1666" y="2352"/>
                  </a:lnTo>
                  <a:lnTo>
                    <a:pt x="1671" y="2362"/>
                  </a:lnTo>
                  <a:lnTo>
                    <a:pt x="1677" y="2357"/>
                  </a:lnTo>
                  <a:lnTo>
                    <a:pt x="1677" y="2360"/>
                  </a:lnTo>
                  <a:lnTo>
                    <a:pt x="1671" y="2362"/>
                  </a:lnTo>
                  <a:lnTo>
                    <a:pt x="1677" y="2368"/>
                  </a:lnTo>
                  <a:lnTo>
                    <a:pt x="1671" y="2388"/>
                  </a:lnTo>
                  <a:lnTo>
                    <a:pt x="1656" y="2405"/>
                  </a:lnTo>
                  <a:lnTo>
                    <a:pt x="1656" y="2436"/>
                  </a:lnTo>
                  <a:lnTo>
                    <a:pt x="1646" y="2456"/>
                  </a:lnTo>
                  <a:lnTo>
                    <a:pt x="1629" y="2524"/>
                  </a:lnTo>
                  <a:lnTo>
                    <a:pt x="1634" y="2574"/>
                  </a:lnTo>
                  <a:lnTo>
                    <a:pt x="1603" y="2642"/>
                  </a:lnTo>
                  <a:lnTo>
                    <a:pt x="1598" y="2713"/>
                  </a:lnTo>
                  <a:lnTo>
                    <a:pt x="1598" y="2751"/>
                  </a:lnTo>
                  <a:lnTo>
                    <a:pt x="1593" y="2786"/>
                  </a:lnTo>
                  <a:lnTo>
                    <a:pt x="1603" y="2806"/>
                  </a:lnTo>
                  <a:lnTo>
                    <a:pt x="1588" y="2889"/>
                  </a:lnTo>
                  <a:lnTo>
                    <a:pt x="1571" y="2925"/>
                  </a:lnTo>
                  <a:lnTo>
                    <a:pt x="1578" y="2950"/>
                  </a:lnTo>
                  <a:lnTo>
                    <a:pt x="1593" y="2983"/>
                  </a:lnTo>
                  <a:lnTo>
                    <a:pt x="1677" y="3018"/>
                  </a:lnTo>
                  <a:lnTo>
                    <a:pt x="1656" y="2998"/>
                  </a:lnTo>
                  <a:lnTo>
                    <a:pt x="1654" y="2993"/>
                  </a:lnTo>
                  <a:lnTo>
                    <a:pt x="1679" y="3018"/>
                  </a:lnTo>
                  <a:lnTo>
                    <a:pt x="1651" y="2960"/>
                  </a:lnTo>
                  <a:lnTo>
                    <a:pt x="1671" y="2927"/>
                  </a:lnTo>
                  <a:lnTo>
                    <a:pt x="1694" y="2894"/>
                  </a:lnTo>
                  <a:lnTo>
                    <a:pt x="1702" y="2862"/>
                  </a:lnTo>
                  <a:lnTo>
                    <a:pt x="1689" y="2847"/>
                  </a:lnTo>
                  <a:lnTo>
                    <a:pt x="1687" y="2824"/>
                  </a:lnTo>
                  <a:lnTo>
                    <a:pt x="1722" y="2781"/>
                  </a:lnTo>
                  <a:lnTo>
                    <a:pt x="1740" y="2741"/>
                  </a:lnTo>
                  <a:lnTo>
                    <a:pt x="1727" y="2726"/>
                  </a:lnTo>
                  <a:lnTo>
                    <a:pt x="1752" y="2715"/>
                  </a:lnTo>
                  <a:lnTo>
                    <a:pt x="1780" y="2673"/>
                  </a:lnTo>
                  <a:lnTo>
                    <a:pt x="1828" y="2655"/>
                  </a:lnTo>
                  <a:lnTo>
                    <a:pt x="1848" y="2642"/>
                  </a:lnTo>
                  <a:lnTo>
                    <a:pt x="1856" y="2605"/>
                  </a:lnTo>
                  <a:lnTo>
                    <a:pt x="1840" y="2594"/>
                  </a:lnTo>
                  <a:lnTo>
                    <a:pt x="1840" y="2584"/>
                  </a:lnTo>
                  <a:lnTo>
                    <a:pt x="1850" y="2594"/>
                  </a:lnTo>
                  <a:lnTo>
                    <a:pt x="1876" y="2599"/>
                  </a:lnTo>
                  <a:lnTo>
                    <a:pt x="1901" y="2579"/>
                  </a:lnTo>
                  <a:lnTo>
                    <a:pt x="1906" y="2569"/>
                  </a:lnTo>
                  <a:lnTo>
                    <a:pt x="1903" y="2559"/>
                  </a:lnTo>
                  <a:lnTo>
                    <a:pt x="1906" y="2569"/>
                  </a:lnTo>
                  <a:lnTo>
                    <a:pt x="1914" y="2552"/>
                  </a:lnTo>
                  <a:lnTo>
                    <a:pt x="1934" y="2531"/>
                  </a:lnTo>
                  <a:lnTo>
                    <a:pt x="1959" y="2506"/>
                  </a:lnTo>
                  <a:lnTo>
                    <a:pt x="1982" y="2438"/>
                  </a:lnTo>
                  <a:lnTo>
                    <a:pt x="1997" y="2408"/>
                  </a:lnTo>
                  <a:lnTo>
                    <a:pt x="2055" y="2373"/>
                  </a:lnTo>
                  <a:lnTo>
                    <a:pt x="2090" y="2368"/>
                  </a:lnTo>
                  <a:lnTo>
                    <a:pt x="2100" y="2362"/>
                  </a:lnTo>
                  <a:lnTo>
                    <a:pt x="2110" y="2342"/>
                  </a:lnTo>
                  <a:lnTo>
                    <a:pt x="2118" y="2320"/>
                  </a:lnTo>
                  <a:lnTo>
                    <a:pt x="2133" y="2294"/>
                  </a:lnTo>
                  <a:lnTo>
                    <a:pt x="2138" y="2284"/>
                  </a:lnTo>
                  <a:lnTo>
                    <a:pt x="2143" y="2196"/>
                  </a:lnTo>
                  <a:lnTo>
                    <a:pt x="2158" y="2191"/>
                  </a:lnTo>
                  <a:lnTo>
                    <a:pt x="2211" y="2125"/>
                  </a:lnTo>
                  <a:lnTo>
                    <a:pt x="2211" y="2110"/>
                  </a:lnTo>
                  <a:lnTo>
                    <a:pt x="2201" y="2073"/>
                  </a:lnTo>
                  <a:close/>
                  <a:moveTo>
                    <a:pt x="1440" y="567"/>
                  </a:moveTo>
                  <a:lnTo>
                    <a:pt x="1445" y="570"/>
                  </a:lnTo>
                  <a:lnTo>
                    <a:pt x="1447" y="570"/>
                  </a:lnTo>
                  <a:lnTo>
                    <a:pt x="1450" y="572"/>
                  </a:lnTo>
                  <a:lnTo>
                    <a:pt x="1455" y="575"/>
                  </a:lnTo>
                  <a:lnTo>
                    <a:pt x="1457" y="575"/>
                  </a:lnTo>
                  <a:lnTo>
                    <a:pt x="1462" y="577"/>
                  </a:lnTo>
                  <a:lnTo>
                    <a:pt x="1467" y="577"/>
                  </a:lnTo>
                  <a:lnTo>
                    <a:pt x="1470" y="580"/>
                  </a:lnTo>
                  <a:lnTo>
                    <a:pt x="1472" y="580"/>
                  </a:lnTo>
                  <a:lnTo>
                    <a:pt x="1475" y="577"/>
                  </a:lnTo>
                  <a:lnTo>
                    <a:pt x="1475" y="575"/>
                  </a:lnTo>
                  <a:lnTo>
                    <a:pt x="1477" y="575"/>
                  </a:lnTo>
                  <a:lnTo>
                    <a:pt x="1480" y="570"/>
                  </a:lnTo>
                  <a:lnTo>
                    <a:pt x="1482" y="567"/>
                  </a:lnTo>
                  <a:lnTo>
                    <a:pt x="1480" y="565"/>
                  </a:lnTo>
                  <a:lnTo>
                    <a:pt x="1475" y="565"/>
                  </a:lnTo>
                  <a:lnTo>
                    <a:pt x="1472" y="562"/>
                  </a:lnTo>
                  <a:lnTo>
                    <a:pt x="1457" y="562"/>
                  </a:lnTo>
                  <a:lnTo>
                    <a:pt x="1455" y="560"/>
                  </a:lnTo>
                  <a:lnTo>
                    <a:pt x="1452" y="555"/>
                  </a:lnTo>
                  <a:lnTo>
                    <a:pt x="1450" y="550"/>
                  </a:lnTo>
                  <a:lnTo>
                    <a:pt x="1447" y="545"/>
                  </a:lnTo>
                  <a:lnTo>
                    <a:pt x="1442" y="545"/>
                  </a:lnTo>
                  <a:lnTo>
                    <a:pt x="1435" y="542"/>
                  </a:lnTo>
                  <a:lnTo>
                    <a:pt x="1429" y="540"/>
                  </a:lnTo>
                  <a:lnTo>
                    <a:pt x="1424" y="540"/>
                  </a:lnTo>
                  <a:lnTo>
                    <a:pt x="1419" y="540"/>
                  </a:lnTo>
                  <a:lnTo>
                    <a:pt x="1417" y="540"/>
                  </a:lnTo>
                  <a:lnTo>
                    <a:pt x="1414" y="542"/>
                  </a:lnTo>
                  <a:lnTo>
                    <a:pt x="1412" y="545"/>
                  </a:lnTo>
                  <a:lnTo>
                    <a:pt x="1409" y="545"/>
                  </a:lnTo>
                  <a:lnTo>
                    <a:pt x="1409" y="542"/>
                  </a:lnTo>
                  <a:lnTo>
                    <a:pt x="1407" y="535"/>
                  </a:lnTo>
                  <a:lnTo>
                    <a:pt x="1404" y="529"/>
                  </a:lnTo>
                  <a:lnTo>
                    <a:pt x="1402" y="527"/>
                  </a:lnTo>
                  <a:lnTo>
                    <a:pt x="1399" y="524"/>
                  </a:lnTo>
                  <a:lnTo>
                    <a:pt x="1394" y="524"/>
                  </a:lnTo>
                  <a:lnTo>
                    <a:pt x="1392" y="524"/>
                  </a:lnTo>
                  <a:lnTo>
                    <a:pt x="1392" y="529"/>
                  </a:lnTo>
                  <a:lnTo>
                    <a:pt x="1392" y="535"/>
                  </a:lnTo>
                  <a:lnTo>
                    <a:pt x="1392" y="542"/>
                  </a:lnTo>
                  <a:lnTo>
                    <a:pt x="1392" y="547"/>
                  </a:lnTo>
                  <a:lnTo>
                    <a:pt x="1392" y="550"/>
                  </a:lnTo>
                  <a:lnTo>
                    <a:pt x="1394" y="552"/>
                  </a:lnTo>
                  <a:lnTo>
                    <a:pt x="1394" y="555"/>
                  </a:lnTo>
                  <a:lnTo>
                    <a:pt x="1394" y="560"/>
                  </a:lnTo>
                  <a:lnTo>
                    <a:pt x="1394" y="565"/>
                  </a:lnTo>
                  <a:lnTo>
                    <a:pt x="1394" y="570"/>
                  </a:lnTo>
                  <a:lnTo>
                    <a:pt x="1397" y="575"/>
                  </a:lnTo>
                  <a:lnTo>
                    <a:pt x="1397" y="577"/>
                  </a:lnTo>
                  <a:lnTo>
                    <a:pt x="1394" y="577"/>
                  </a:lnTo>
                  <a:lnTo>
                    <a:pt x="1392" y="580"/>
                  </a:lnTo>
                  <a:lnTo>
                    <a:pt x="1389" y="585"/>
                  </a:lnTo>
                  <a:lnTo>
                    <a:pt x="1387" y="587"/>
                  </a:lnTo>
                  <a:lnTo>
                    <a:pt x="1384" y="590"/>
                  </a:lnTo>
                  <a:lnTo>
                    <a:pt x="1387" y="593"/>
                  </a:lnTo>
                  <a:lnTo>
                    <a:pt x="1392" y="593"/>
                  </a:lnTo>
                  <a:lnTo>
                    <a:pt x="1397" y="590"/>
                  </a:lnTo>
                  <a:lnTo>
                    <a:pt x="1399" y="590"/>
                  </a:lnTo>
                  <a:lnTo>
                    <a:pt x="1402" y="590"/>
                  </a:lnTo>
                  <a:lnTo>
                    <a:pt x="1407" y="590"/>
                  </a:lnTo>
                  <a:lnTo>
                    <a:pt x="1409" y="590"/>
                  </a:lnTo>
                  <a:lnTo>
                    <a:pt x="1412" y="593"/>
                  </a:lnTo>
                  <a:lnTo>
                    <a:pt x="1414" y="598"/>
                  </a:lnTo>
                  <a:lnTo>
                    <a:pt x="1414" y="600"/>
                  </a:lnTo>
                  <a:lnTo>
                    <a:pt x="1417" y="603"/>
                  </a:lnTo>
                  <a:lnTo>
                    <a:pt x="1419" y="603"/>
                  </a:lnTo>
                  <a:lnTo>
                    <a:pt x="1424" y="600"/>
                  </a:lnTo>
                  <a:lnTo>
                    <a:pt x="1424" y="598"/>
                  </a:lnTo>
                  <a:lnTo>
                    <a:pt x="1427" y="595"/>
                  </a:lnTo>
                  <a:lnTo>
                    <a:pt x="1427" y="593"/>
                  </a:lnTo>
                  <a:lnTo>
                    <a:pt x="1429" y="590"/>
                  </a:lnTo>
                  <a:lnTo>
                    <a:pt x="1435" y="587"/>
                  </a:lnTo>
                  <a:lnTo>
                    <a:pt x="1437" y="585"/>
                  </a:lnTo>
                  <a:lnTo>
                    <a:pt x="1437" y="580"/>
                  </a:lnTo>
                  <a:lnTo>
                    <a:pt x="1437" y="575"/>
                  </a:lnTo>
                  <a:lnTo>
                    <a:pt x="1435" y="570"/>
                  </a:lnTo>
                  <a:lnTo>
                    <a:pt x="1437" y="567"/>
                  </a:lnTo>
                  <a:lnTo>
                    <a:pt x="1440" y="567"/>
                  </a:lnTo>
                  <a:close/>
                  <a:moveTo>
                    <a:pt x="966" y="300"/>
                  </a:moveTo>
                  <a:lnTo>
                    <a:pt x="968" y="303"/>
                  </a:lnTo>
                  <a:lnTo>
                    <a:pt x="971" y="310"/>
                  </a:lnTo>
                  <a:lnTo>
                    <a:pt x="973" y="323"/>
                  </a:lnTo>
                  <a:lnTo>
                    <a:pt x="973" y="330"/>
                  </a:lnTo>
                  <a:lnTo>
                    <a:pt x="973" y="335"/>
                  </a:lnTo>
                  <a:lnTo>
                    <a:pt x="978" y="338"/>
                  </a:lnTo>
                  <a:lnTo>
                    <a:pt x="983" y="335"/>
                  </a:lnTo>
                  <a:lnTo>
                    <a:pt x="986" y="333"/>
                  </a:lnTo>
                  <a:lnTo>
                    <a:pt x="988" y="330"/>
                  </a:lnTo>
                  <a:lnTo>
                    <a:pt x="991" y="333"/>
                  </a:lnTo>
                  <a:lnTo>
                    <a:pt x="996" y="335"/>
                  </a:lnTo>
                  <a:lnTo>
                    <a:pt x="998" y="338"/>
                  </a:lnTo>
                  <a:lnTo>
                    <a:pt x="1003" y="335"/>
                  </a:lnTo>
                  <a:lnTo>
                    <a:pt x="1006" y="330"/>
                  </a:lnTo>
                  <a:lnTo>
                    <a:pt x="1011" y="323"/>
                  </a:lnTo>
                  <a:lnTo>
                    <a:pt x="1016" y="320"/>
                  </a:lnTo>
                  <a:lnTo>
                    <a:pt x="1024" y="318"/>
                  </a:lnTo>
                  <a:lnTo>
                    <a:pt x="1026" y="315"/>
                  </a:lnTo>
                  <a:lnTo>
                    <a:pt x="1026" y="310"/>
                  </a:lnTo>
                  <a:lnTo>
                    <a:pt x="1026" y="305"/>
                  </a:lnTo>
                  <a:lnTo>
                    <a:pt x="1029" y="305"/>
                  </a:lnTo>
                  <a:lnTo>
                    <a:pt x="1039" y="303"/>
                  </a:lnTo>
                  <a:lnTo>
                    <a:pt x="1044" y="300"/>
                  </a:lnTo>
                  <a:lnTo>
                    <a:pt x="1049" y="300"/>
                  </a:lnTo>
                  <a:lnTo>
                    <a:pt x="1054" y="298"/>
                  </a:lnTo>
                  <a:lnTo>
                    <a:pt x="1059" y="295"/>
                  </a:lnTo>
                  <a:lnTo>
                    <a:pt x="1064" y="295"/>
                  </a:lnTo>
                  <a:lnTo>
                    <a:pt x="1066" y="292"/>
                  </a:lnTo>
                  <a:lnTo>
                    <a:pt x="1066" y="290"/>
                  </a:lnTo>
                  <a:lnTo>
                    <a:pt x="1069" y="287"/>
                  </a:lnTo>
                  <a:lnTo>
                    <a:pt x="1066" y="285"/>
                  </a:lnTo>
                  <a:lnTo>
                    <a:pt x="1066" y="277"/>
                  </a:lnTo>
                  <a:lnTo>
                    <a:pt x="1064" y="270"/>
                  </a:lnTo>
                  <a:lnTo>
                    <a:pt x="1059" y="265"/>
                  </a:lnTo>
                  <a:lnTo>
                    <a:pt x="1056" y="262"/>
                  </a:lnTo>
                  <a:lnTo>
                    <a:pt x="1054" y="262"/>
                  </a:lnTo>
                  <a:lnTo>
                    <a:pt x="1049" y="262"/>
                  </a:lnTo>
                  <a:lnTo>
                    <a:pt x="1046" y="262"/>
                  </a:lnTo>
                  <a:lnTo>
                    <a:pt x="1044" y="257"/>
                  </a:lnTo>
                  <a:lnTo>
                    <a:pt x="1041" y="255"/>
                  </a:lnTo>
                  <a:lnTo>
                    <a:pt x="1039" y="250"/>
                  </a:lnTo>
                  <a:lnTo>
                    <a:pt x="1031" y="247"/>
                  </a:lnTo>
                  <a:lnTo>
                    <a:pt x="1026" y="247"/>
                  </a:lnTo>
                  <a:lnTo>
                    <a:pt x="1021" y="247"/>
                  </a:lnTo>
                  <a:lnTo>
                    <a:pt x="1019" y="245"/>
                  </a:lnTo>
                  <a:lnTo>
                    <a:pt x="1016" y="242"/>
                  </a:lnTo>
                  <a:lnTo>
                    <a:pt x="1011" y="242"/>
                  </a:lnTo>
                  <a:lnTo>
                    <a:pt x="1008" y="240"/>
                  </a:lnTo>
                  <a:lnTo>
                    <a:pt x="1006" y="242"/>
                  </a:lnTo>
                  <a:lnTo>
                    <a:pt x="1006" y="245"/>
                  </a:lnTo>
                  <a:lnTo>
                    <a:pt x="1006" y="250"/>
                  </a:lnTo>
                  <a:lnTo>
                    <a:pt x="1003" y="255"/>
                  </a:lnTo>
                  <a:lnTo>
                    <a:pt x="1003" y="257"/>
                  </a:lnTo>
                  <a:lnTo>
                    <a:pt x="998" y="260"/>
                  </a:lnTo>
                  <a:lnTo>
                    <a:pt x="993" y="267"/>
                  </a:lnTo>
                  <a:lnTo>
                    <a:pt x="986" y="272"/>
                  </a:lnTo>
                  <a:lnTo>
                    <a:pt x="983" y="277"/>
                  </a:lnTo>
                  <a:lnTo>
                    <a:pt x="978" y="282"/>
                  </a:lnTo>
                  <a:lnTo>
                    <a:pt x="971" y="287"/>
                  </a:lnTo>
                  <a:lnTo>
                    <a:pt x="966" y="295"/>
                  </a:lnTo>
                  <a:lnTo>
                    <a:pt x="963" y="300"/>
                  </a:lnTo>
                  <a:lnTo>
                    <a:pt x="966" y="300"/>
                  </a:lnTo>
                  <a:close/>
                  <a:moveTo>
                    <a:pt x="1498" y="494"/>
                  </a:moveTo>
                  <a:lnTo>
                    <a:pt x="1498" y="494"/>
                  </a:lnTo>
                  <a:lnTo>
                    <a:pt x="1498" y="492"/>
                  </a:lnTo>
                  <a:lnTo>
                    <a:pt x="1498" y="489"/>
                  </a:lnTo>
                  <a:lnTo>
                    <a:pt x="1495" y="489"/>
                  </a:lnTo>
                  <a:lnTo>
                    <a:pt x="1495" y="492"/>
                  </a:lnTo>
                  <a:lnTo>
                    <a:pt x="1498" y="494"/>
                  </a:lnTo>
                  <a:close/>
                </a:path>
              </a:pathLst>
            </a:custGeom>
            <a:grpFill/>
            <a:ln>
              <a:noFill/>
            </a:ln>
          </p:spPr>
          <p:txBody>
            <a:bodyPr spcFirstLastPara="1" wrap="square" lIns="91425" tIns="45700" rIns="91425" bIns="45700" anchor="t" anchorCtr="0">
              <a:noAutofit/>
            </a:bodyPr>
            <a:lstStyle/>
            <a:p>
              <a:endParaRPr sz="1400" b="1" dirty="0">
                <a:solidFill>
                  <a:schemeClr val="lt1"/>
                </a:solidFill>
                <a:latin typeface="Arial"/>
                <a:ea typeface="Arial"/>
                <a:cs typeface="Arial"/>
                <a:sym typeface="Arial"/>
              </a:endParaRPr>
            </a:p>
          </p:txBody>
        </p:sp>
        <p:sp>
          <p:nvSpPr>
            <p:cNvPr id="37" name="Google Shape;444;p5">
              <a:extLst>
                <a:ext uri="{FF2B5EF4-FFF2-40B4-BE49-F238E27FC236}">
                  <a16:creationId xmlns:a16="http://schemas.microsoft.com/office/drawing/2014/main" id="{DF038D10-52DF-4A94-85CE-4010F4846227}"/>
                </a:ext>
              </a:extLst>
            </p:cNvPr>
            <p:cNvSpPr/>
            <p:nvPr/>
          </p:nvSpPr>
          <p:spPr>
            <a:xfrm>
              <a:off x="3277" y="2412"/>
              <a:ext cx="46" cy="28"/>
            </a:xfrm>
            <a:custGeom>
              <a:avLst/>
              <a:gdLst/>
              <a:ahLst/>
              <a:cxnLst/>
              <a:rect l="l" t="t" r="r" b="b"/>
              <a:pathLst>
                <a:path w="46" h="28" extrusionOk="0">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a:noFill/>
            </a:ln>
          </p:spPr>
          <p:txBody>
            <a:bodyPr spcFirstLastPara="1" wrap="square" lIns="91425" tIns="45700" rIns="91425" bIns="45700" anchor="t" anchorCtr="0">
              <a:noAutofit/>
            </a:bodyPr>
            <a:lstStyle/>
            <a:p>
              <a:endParaRPr sz="1400" b="1" dirty="0">
                <a:solidFill>
                  <a:schemeClr val="lt1"/>
                </a:solidFill>
                <a:latin typeface="Arial"/>
                <a:ea typeface="Arial"/>
                <a:cs typeface="Arial"/>
                <a:sym typeface="Arial"/>
              </a:endParaRPr>
            </a:p>
          </p:txBody>
        </p:sp>
      </p:gr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2" name="Text Placeholder 6">
            <a:extLst>
              <a:ext uri="{FF2B5EF4-FFF2-40B4-BE49-F238E27FC236}">
                <a16:creationId xmlns:a16="http://schemas.microsoft.com/office/drawing/2014/main" id="{C9384033-936F-4333-A02B-C1116ED5F8A3}"/>
              </a:ext>
            </a:extLst>
          </p:cNvPr>
          <p:cNvSpPr>
            <a:spLocks noGrp="1"/>
          </p:cNvSpPr>
          <p:nvPr>
            <p:ph type="body" sz="quarter" idx="34" hasCustomPrompt="1"/>
          </p:nvPr>
        </p:nvSpPr>
        <p:spPr>
          <a:xfrm>
            <a:off x="7059767" y="1230356"/>
            <a:ext cx="3924895" cy="715321"/>
          </a:xfrm>
          <a:ln>
            <a:headEnd type="none" w="sm" len="sm"/>
            <a:tailEnd type="none" w="med" len="lg"/>
          </a:ln>
        </p:spPr>
        <p:style>
          <a:lnRef idx="2">
            <a:schemeClr val="accent1"/>
          </a:lnRef>
          <a:fillRef idx="1">
            <a:schemeClr val="lt1"/>
          </a:fillRef>
          <a:effectRef idx="0">
            <a:schemeClr val="accent1"/>
          </a:effectRef>
          <a:fontRef idx="minor">
            <a:schemeClr val="dk1"/>
          </a:fontRef>
        </p:style>
        <p:txBody>
          <a:bodyPr wrap="square" lIns="45720" tIns="45720" rIns="45720" bIns="45720" anchor="ctr">
            <a:noAutofit/>
          </a:bodyPr>
          <a:lstStyle>
            <a:lvl1pPr marL="0" indent="0">
              <a:buNone/>
              <a:defRPr lang="en-US" sz="1000" dirty="0">
                <a:solidFill>
                  <a:prstClr val="black"/>
                </a:solidFill>
              </a:defRPr>
            </a:lvl1pPr>
          </a:lstStyle>
          <a:p>
            <a:pPr marL="0" lvl="0" algn="just" eaLnBrk="0" hangingPunct="0">
              <a:lnSpc>
                <a:spcPct val="110000"/>
              </a:lnSpc>
            </a:pPr>
            <a:r>
              <a:rPr lang="en-US"/>
              <a:t>Edit Master text styles</a:t>
            </a:r>
          </a:p>
        </p:txBody>
      </p:sp>
      <p:sp>
        <p:nvSpPr>
          <p:cNvPr id="7" name="Picture Placeholder 6">
            <a:extLst>
              <a:ext uri="{FF2B5EF4-FFF2-40B4-BE49-F238E27FC236}">
                <a16:creationId xmlns:a16="http://schemas.microsoft.com/office/drawing/2014/main" id="{45AED3F1-DBBE-4329-9D69-B28BA8213C97}"/>
              </a:ext>
            </a:extLst>
          </p:cNvPr>
          <p:cNvSpPr>
            <a:spLocks noGrp="1"/>
          </p:cNvSpPr>
          <p:nvPr>
            <p:ph type="pic" sz="quarter" idx="35"/>
          </p:nvPr>
        </p:nvSpPr>
        <p:spPr>
          <a:xfrm>
            <a:off x="6500643" y="1230356"/>
            <a:ext cx="471532" cy="329625"/>
          </a:xfrm>
        </p:spPr>
        <p:txBody>
          <a:bodyPr anchor="ctr">
            <a:noAutofit/>
          </a:bodyPr>
          <a:lstStyle>
            <a:lvl1pPr marL="0" indent="0">
              <a:buNone/>
              <a:defRPr sz="1000"/>
            </a:lvl1pPr>
          </a:lstStyle>
          <a:p>
            <a:endParaRPr lang="en-US" dirty="0"/>
          </a:p>
        </p:txBody>
      </p:sp>
      <p:sp>
        <p:nvSpPr>
          <p:cNvPr id="38" name="Text Placeholder 6">
            <a:extLst>
              <a:ext uri="{FF2B5EF4-FFF2-40B4-BE49-F238E27FC236}">
                <a16:creationId xmlns:a16="http://schemas.microsoft.com/office/drawing/2014/main" id="{1B1C1D70-2E58-452F-8E25-25047471DC13}"/>
              </a:ext>
            </a:extLst>
          </p:cNvPr>
          <p:cNvSpPr>
            <a:spLocks noGrp="1"/>
          </p:cNvSpPr>
          <p:nvPr>
            <p:ph type="body" sz="quarter" idx="36" hasCustomPrompt="1"/>
          </p:nvPr>
        </p:nvSpPr>
        <p:spPr>
          <a:xfrm>
            <a:off x="9021260" y="4339142"/>
            <a:ext cx="2816965" cy="1771832"/>
          </a:xfrm>
          <a:ln>
            <a:headEnd type="none" w="sm" len="sm"/>
            <a:tailEnd type="none" w="med" len="lg"/>
          </a:ln>
        </p:spPr>
        <p:style>
          <a:lnRef idx="2">
            <a:schemeClr val="accent1"/>
          </a:lnRef>
          <a:fillRef idx="1">
            <a:schemeClr val="lt1"/>
          </a:fillRef>
          <a:effectRef idx="0">
            <a:schemeClr val="accent1"/>
          </a:effectRef>
          <a:fontRef idx="minor">
            <a:schemeClr val="dk1"/>
          </a:fontRef>
        </p:style>
        <p:txBody>
          <a:bodyPr wrap="square" lIns="45720" tIns="45720" rIns="45720" bIns="45720" anchor="ctr">
            <a:noAutofit/>
          </a:bodyPr>
          <a:lstStyle>
            <a:lvl1pPr marL="0" indent="0">
              <a:buNone/>
              <a:defRPr lang="en-US" sz="1000" dirty="0">
                <a:solidFill>
                  <a:prstClr val="black"/>
                </a:solidFill>
              </a:defRPr>
            </a:lvl1pPr>
          </a:lstStyle>
          <a:p>
            <a:pPr marL="0" lvl="0" algn="just" eaLnBrk="0" hangingPunct="0">
              <a:lnSpc>
                <a:spcPct val="110000"/>
              </a:lnSpc>
            </a:pPr>
            <a:r>
              <a:rPr lang="en-US"/>
              <a:t>Edit Master text styles</a:t>
            </a:r>
          </a:p>
        </p:txBody>
      </p:sp>
      <p:sp>
        <p:nvSpPr>
          <p:cNvPr id="41" name="Picture Placeholder 6">
            <a:extLst>
              <a:ext uri="{FF2B5EF4-FFF2-40B4-BE49-F238E27FC236}">
                <a16:creationId xmlns:a16="http://schemas.microsoft.com/office/drawing/2014/main" id="{E111C59F-23EE-4176-8F72-6E4D6807C437}"/>
              </a:ext>
            </a:extLst>
          </p:cNvPr>
          <p:cNvSpPr>
            <a:spLocks noGrp="1"/>
          </p:cNvSpPr>
          <p:nvPr>
            <p:ph type="pic" sz="quarter" idx="37"/>
          </p:nvPr>
        </p:nvSpPr>
        <p:spPr>
          <a:xfrm>
            <a:off x="10017054" y="3761683"/>
            <a:ext cx="733617" cy="489078"/>
          </a:xfrm>
        </p:spPr>
        <p:txBody>
          <a:bodyPr anchor="ctr">
            <a:noAutofit/>
          </a:bodyPr>
          <a:lstStyle>
            <a:lvl1pPr marL="0" indent="0">
              <a:buNone/>
              <a:defRPr sz="1000"/>
            </a:lvl1pPr>
          </a:lstStyle>
          <a:p>
            <a:endParaRPr lang="en-US" dirty="0"/>
          </a:p>
        </p:txBody>
      </p:sp>
      <p:sp>
        <p:nvSpPr>
          <p:cNvPr id="43" name="Text Placeholder 6">
            <a:extLst>
              <a:ext uri="{FF2B5EF4-FFF2-40B4-BE49-F238E27FC236}">
                <a16:creationId xmlns:a16="http://schemas.microsoft.com/office/drawing/2014/main" id="{D4CFB9A9-9888-4050-9169-8939DD5F8B25}"/>
              </a:ext>
            </a:extLst>
          </p:cNvPr>
          <p:cNvSpPr>
            <a:spLocks noGrp="1"/>
          </p:cNvSpPr>
          <p:nvPr>
            <p:ph type="body" sz="quarter" idx="38" hasCustomPrompt="1"/>
          </p:nvPr>
        </p:nvSpPr>
        <p:spPr>
          <a:xfrm>
            <a:off x="3987805" y="5617205"/>
            <a:ext cx="3849192" cy="756169"/>
          </a:xfrm>
          <a:ln>
            <a:headEnd type="none" w="sm" len="sm"/>
            <a:tailEnd type="none" w="med" len="lg"/>
          </a:ln>
        </p:spPr>
        <p:style>
          <a:lnRef idx="2">
            <a:schemeClr val="accent1"/>
          </a:lnRef>
          <a:fillRef idx="1">
            <a:schemeClr val="lt1"/>
          </a:fillRef>
          <a:effectRef idx="0">
            <a:schemeClr val="accent1"/>
          </a:effectRef>
          <a:fontRef idx="minor">
            <a:schemeClr val="dk1"/>
          </a:fontRef>
        </p:style>
        <p:txBody>
          <a:bodyPr wrap="square" lIns="45720" tIns="45720" rIns="45720" bIns="45720" anchor="ctr">
            <a:noAutofit/>
          </a:bodyPr>
          <a:lstStyle>
            <a:lvl1pPr marL="0" indent="0">
              <a:buNone/>
              <a:defRPr lang="en-US" sz="1000" dirty="0">
                <a:solidFill>
                  <a:prstClr val="black"/>
                </a:solidFill>
              </a:defRPr>
            </a:lvl1pPr>
          </a:lstStyle>
          <a:p>
            <a:pPr marL="0" lvl="0" algn="just" eaLnBrk="0" hangingPunct="0">
              <a:lnSpc>
                <a:spcPct val="110000"/>
              </a:lnSpc>
            </a:pPr>
            <a:r>
              <a:rPr lang="en-US"/>
              <a:t>Edit Master text styles</a:t>
            </a:r>
          </a:p>
        </p:txBody>
      </p:sp>
      <p:sp>
        <p:nvSpPr>
          <p:cNvPr id="44" name="Picture Placeholder 6">
            <a:extLst>
              <a:ext uri="{FF2B5EF4-FFF2-40B4-BE49-F238E27FC236}">
                <a16:creationId xmlns:a16="http://schemas.microsoft.com/office/drawing/2014/main" id="{BD09BEAB-9442-4E69-B376-9232BF4AA8E3}"/>
              </a:ext>
            </a:extLst>
          </p:cNvPr>
          <p:cNvSpPr>
            <a:spLocks noGrp="1"/>
          </p:cNvSpPr>
          <p:nvPr>
            <p:ph type="pic" sz="quarter" idx="39"/>
          </p:nvPr>
        </p:nvSpPr>
        <p:spPr>
          <a:xfrm>
            <a:off x="7923111" y="5964662"/>
            <a:ext cx="577820" cy="384250"/>
          </a:xfrm>
        </p:spPr>
        <p:txBody>
          <a:bodyPr anchor="ctr">
            <a:noAutofit/>
          </a:bodyPr>
          <a:lstStyle>
            <a:lvl1pPr marL="0" indent="0">
              <a:buNone/>
              <a:defRPr sz="1000"/>
            </a:lvl1pPr>
          </a:lstStyle>
          <a:p>
            <a:endParaRPr lang="en-US" dirty="0"/>
          </a:p>
        </p:txBody>
      </p:sp>
      <p:sp>
        <p:nvSpPr>
          <p:cNvPr id="48" name="Text Placeholder 6">
            <a:extLst>
              <a:ext uri="{FF2B5EF4-FFF2-40B4-BE49-F238E27FC236}">
                <a16:creationId xmlns:a16="http://schemas.microsoft.com/office/drawing/2014/main" id="{00D965A1-2039-48B9-8216-F9D746E9C26C}"/>
              </a:ext>
            </a:extLst>
          </p:cNvPr>
          <p:cNvSpPr>
            <a:spLocks noGrp="1"/>
          </p:cNvSpPr>
          <p:nvPr>
            <p:ph type="body" sz="quarter" idx="40" hasCustomPrompt="1"/>
          </p:nvPr>
        </p:nvSpPr>
        <p:spPr>
          <a:xfrm>
            <a:off x="346992" y="1230356"/>
            <a:ext cx="3221708" cy="1433277"/>
          </a:xfrm>
          <a:ln>
            <a:headEnd type="none" w="sm" len="sm"/>
            <a:tailEnd type="none" w="med" len="lg"/>
          </a:ln>
        </p:spPr>
        <p:style>
          <a:lnRef idx="2">
            <a:schemeClr val="accent1"/>
          </a:lnRef>
          <a:fillRef idx="1">
            <a:schemeClr val="lt1"/>
          </a:fillRef>
          <a:effectRef idx="0">
            <a:schemeClr val="accent1"/>
          </a:effectRef>
          <a:fontRef idx="minor">
            <a:schemeClr val="dk1"/>
          </a:fontRef>
        </p:style>
        <p:txBody>
          <a:bodyPr wrap="square" lIns="45720" tIns="45720" rIns="45720" bIns="45720" anchor="ctr">
            <a:noAutofit/>
          </a:bodyPr>
          <a:lstStyle>
            <a:lvl1pPr marL="0" indent="0">
              <a:buNone/>
              <a:defRPr lang="en-US" sz="1000" dirty="0">
                <a:solidFill>
                  <a:prstClr val="black"/>
                </a:solidFill>
              </a:defRPr>
            </a:lvl1pPr>
          </a:lstStyle>
          <a:p>
            <a:pPr marL="0" lvl="0" algn="just" eaLnBrk="0" hangingPunct="0">
              <a:lnSpc>
                <a:spcPct val="110000"/>
              </a:lnSpc>
            </a:pPr>
            <a:r>
              <a:rPr lang="en-US"/>
              <a:t>Edit Master text styles</a:t>
            </a:r>
          </a:p>
        </p:txBody>
      </p:sp>
      <p:sp>
        <p:nvSpPr>
          <p:cNvPr id="50" name="Picture Placeholder 6">
            <a:extLst>
              <a:ext uri="{FF2B5EF4-FFF2-40B4-BE49-F238E27FC236}">
                <a16:creationId xmlns:a16="http://schemas.microsoft.com/office/drawing/2014/main" id="{0E7AD77E-BB54-47FD-A7CE-F38583D40C59}"/>
              </a:ext>
            </a:extLst>
          </p:cNvPr>
          <p:cNvSpPr>
            <a:spLocks noGrp="1"/>
          </p:cNvSpPr>
          <p:nvPr>
            <p:ph type="pic" sz="quarter" idx="41"/>
          </p:nvPr>
        </p:nvSpPr>
        <p:spPr>
          <a:xfrm>
            <a:off x="3780454" y="1799618"/>
            <a:ext cx="717181" cy="356907"/>
          </a:xfrm>
        </p:spPr>
        <p:txBody>
          <a:bodyPr anchor="ctr">
            <a:noAutofit/>
          </a:bodyPr>
          <a:lstStyle>
            <a:lvl1pPr marL="0" indent="0">
              <a:buNone/>
              <a:defRPr sz="1000"/>
            </a:lvl1pPr>
          </a:lstStyle>
          <a:p>
            <a:endParaRPr lang="en-US" dirty="0"/>
          </a:p>
        </p:txBody>
      </p:sp>
      <p:sp>
        <p:nvSpPr>
          <p:cNvPr id="53" name="Text Placeholder 6">
            <a:extLst>
              <a:ext uri="{FF2B5EF4-FFF2-40B4-BE49-F238E27FC236}">
                <a16:creationId xmlns:a16="http://schemas.microsoft.com/office/drawing/2014/main" id="{DF27D2B1-771A-41EB-A472-B6A3CAD84AAA}"/>
              </a:ext>
            </a:extLst>
          </p:cNvPr>
          <p:cNvSpPr>
            <a:spLocks noGrp="1"/>
          </p:cNvSpPr>
          <p:nvPr>
            <p:ph type="body" sz="quarter" idx="42" hasCustomPrompt="1"/>
          </p:nvPr>
        </p:nvSpPr>
        <p:spPr>
          <a:xfrm>
            <a:off x="346993" y="3572814"/>
            <a:ext cx="2980408" cy="1264000"/>
          </a:xfrm>
          <a:ln>
            <a:headEnd type="none" w="sm" len="sm"/>
            <a:tailEnd type="none" w="med" len="lg"/>
          </a:ln>
        </p:spPr>
        <p:style>
          <a:lnRef idx="2">
            <a:schemeClr val="accent1"/>
          </a:lnRef>
          <a:fillRef idx="1">
            <a:schemeClr val="lt1"/>
          </a:fillRef>
          <a:effectRef idx="0">
            <a:schemeClr val="accent1"/>
          </a:effectRef>
          <a:fontRef idx="minor">
            <a:schemeClr val="dk1"/>
          </a:fontRef>
        </p:style>
        <p:txBody>
          <a:bodyPr wrap="square" lIns="45720" tIns="45720" rIns="45720" bIns="45720" anchor="ctr">
            <a:noAutofit/>
          </a:bodyPr>
          <a:lstStyle>
            <a:lvl1pPr marL="0" indent="0">
              <a:buNone/>
              <a:defRPr lang="en-US" sz="1000" dirty="0">
                <a:solidFill>
                  <a:prstClr val="black"/>
                </a:solidFill>
              </a:defRPr>
            </a:lvl1pPr>
          </a:lstStyle>
          <a:p>
            <a:pPr marL="0" lvl="0" algn="just" eaLnBrk="0" hangingPunct="0">
              <a:lnSpc>
                <a:spcPct val="110000"/>
              </a:lnSpc>
            </a:pPr>
            <a:r>
              <a:rPr lang="en-US"/>
              <a:t>Edit Master text styles</a:t>
            </a:r>
          </a:p>
        </p:txBody>
      </p:sp>
      <p:sp>
        <p:nvSpPr>
          <p:cNvPr id="55" name="Picture Placeholder 6">
            <a:extLst>
              <a:ext uri="{FF2B5EF4-FFF2-40B4-BE49-F238E27FC236}">
                <a16:creationId xmlns:a16="http://schemas.microsoft.com/office/drawing/2014/main" id="{4A8DC789-5875-4D8F-AAF5-DE95E6C250A5}"/>
              </a:ext>
            </a:extLst>
          </p:cNvPr>
          <p:cNvSpPr>
            <a:spLocks noGrp="1"/>
          </p:cNvSpPr>
          <p:nvPr>
            <p:ph type="pic" sz="quarter" idx="43"/>
          </p:nvPr>
        </p:nvSpPr>
        <p:spPr>
          <a:xfrm>
            <a:off x="2717959" y="4960387"/>
            <a:ext cx="609442" cy="447559"/>
          </a:xfrm>
        </p:spPr>
        <p:txBody>
          <a:bodyPr anchor="ctr">
            <a:noAutofit/>
          </a:bodyPr>
          <a:lstStyle>
            <a:lvl1pPr marL="0" indent="0">
              <a:buNone/>
              <a:defRPr sz="1000"/>
            </a:lvl1pPr>
          </a:lstStyle>
          <a:p>
            <a:endParaRPr lang="en-US" dirty="0"/>
          </a:p>
        </p:txBody>
      </p:sp>
    </p:spTree>
    <p:extLst>
      <p:ext uri="{BB962C8B-B14F-4D97-AF65-F5344CB8AC3E}">
        <p14:creationId xmlns:p14="http://schemas.microsoft.com/office/powerpoint/2010/main" val="37068730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3875392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8" name="Rectangle 47">
            <a:extLst>
              <a:ext uri="{FF2B5EF4-FFF2-40B4-BE49-F238E27FC236}">
                <a16:creationId xmlns:a16="http://schemas.microsoft.com/office/drawing/2014/main" id="{BCC3C99B-77E2-4ABD-A02C-97D0BBDE3FA6}"/>
              </a:ext>
            </a:extLst>
          </p:cNvPr>
          <p:cNvSpPr/>
          <p:nvPr userDrawn="1"/>
        </p:nvSpPr>
        <p:spPr>
          <a:xfrm>
            <a:off x="378649" y="1157342"/>
            <a:ext cx="11434702" cy="127969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2BA1C7DE-8B75-476D-A01A-714F38A85290}"/>
              </a:ext>
            </a:extLst>
          </p:cNvPr>
          <p:cNvSpPr/>
          <p:nvPr userDrawn="1"/>
        </p:nvSpPr>
        <p:spPr>
          <a:xfrm>
            <a:off x="378649" y="1157342"/>
            <a:ext cx="1209248" cy="1279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5" name="Text Placeholder 6">
            <a:extLst>
              <a:ext uri="{FF2B5EF4-FFF2-40B4-BE49-F238E27FC236}">
                <a16:creationId xmlns:a16="http://schemas.microsoft.com/office/drawing/2014/main" id="{C7EAD912-5552-4B99-A957-37E0197D742F}"/>
              </a:ext>
            </a:extLst>
          </p:cNvPr>
          <p:cNvSpPr>
            <a:spLocks noGrp="1"/>
          </p:cNvSpPr>
          <p:nvPr>
            <p:ph type="body" sz="quarter" idx="34" hasCustomPrompt="1"/>
          </p:nvPr>
        </p:nvSpPr>
        <p:spPr>
          <a:xfrm>
            <a:off x="1777438" y="1704854"/>
            <a:ext cx="9881162" cy="184666"/>
          </a:xfrm>
        </p:spPr>
        <p:txBody>
          <a:bodyPr vert="horz" wrap="square" lIns="0" tIns="0" rIns="0" bIns="0" rtlCol="0" anchor="ctr">
            <a:spAutoFit/>
          </a:bodyPr>
          <a:lstStyle>
            <a:lvl1pPr>
              <a:lnSpc>
                <a:spcPct val="110000"/>
              </a:lnSpc>
              <a:spcAft>
                <a:spcPts val="1200"/>
              </a:spcAft>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5" name="Picture Placeholder 4">
            <a:extLst>
              <a:ext uri="{FF2B5EF4-FFF2-40B4-BE49-F238E27FC236}">
                <a16:creationId xmlns:a16="http://schemas.microsoft.com/office/drawing/2014/main" id="{0232B1FE-9C22-4047-96E8-35BD67B2003B}"/>
              </a:ext>
            </a:extLst>
          </p:cNvPr>
          <p:cNvSpPr>
            <a:spLocks noGrp="1"/>
          </p:cNvSpPr>
          <p:nvPr>
            <p:ph type="pic" sz="quarter" idx="35" hasCustomPrompt="1"/>
          </p:nvPr>
        </p:nvSpPr>
        <p:spPr>
          <a:xfrm>
            <a:off x="660027" y="1352696"/>
            <a:ext cx="646492" cy="888982"/>
          </a:xfrm>
        </p:spPr>
        <p:txBody>
          <a:bodyPr anchor="ctr">
            <a:noAutofit/>
          </a:bodyPr>
          <a:lstStyle>
            <a:lvl1pPr>
              <a:defRPr sz="1200"/>
            </a:lvl1pPr>
          </a:lstStyle>
          <a:p>
            <a:r>
              <a:rPr lang="en-US" dirty="0"/>
              <a:t>ICON</a:t>
            </a:r>
          </a:p>
        </p:txBody>
      </p:sp>
      <p:sp>
        <p:nvSpPr>
          <p:cNvPr id="36" name="Pentagon 1">
            <a:extLst>
              <a:ext uri="{FF2B5EF4-FFF2-40B4-BE49-F238E27FC236}">
                <a16:creationId xmlns:a16="http://schemas.microsoft.com/office/drawing/2014/main" id="{C14CADE9-DC55-40B6-926F-1EFE211FA553}"/>
              </a:ext>
            </a:extLst>
          </p:cNvPr>
          <p:cNvSpPr/>
          <p:nvPr userDrawn="1"/>
        </p:nvSpPr>
        <p:spPr>
          <a:xfrm>
            <a:off x="378649" y="2632386"/>
            <a:ext cx="3853595" cy="696012"/>
          </a:xfrm>
          <a:prstGeom prst="homePlate">
            <a:avLst>
              <a:gd name="adj" fmla="val 2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37" name="Pentagon 1">
            <a:extLst>
              <a:ext uri="{FF2B5EF4-FFF2-40B4-BE49-F238E27FC236}">
                <a16:creationId xmlns:a16="http://schemas.microsoft.com/office/drawing/2014/main" id="{56C96F89-252F-4163-AA98-B8234D6B8893}"/>
              </a:ext>
            </a:extLst>
          </p:cNvPr>
          <p:cNvSpPr/>
          <p:nvPr userDrawn="1"/>
        </p:nvSpPr>
        <p:spPr>
          <a:xfrm>
            <a:off x="4169203" y="2632386"/>
            <a:ext cx="3853595" cy="696012"/>
          </a:xfrm>
          <a:prstGeom prst="chevron">
            <a:avLst>
              <a:gd name="adj" fmla="val 2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40" name="Pentagon 1">
            <a:extLst>
              <a:ext uri="{FF2B5EF4-FFF2-40B4-BE49-F238E27FC236}">
                <a16:creationId xmlns:a16="http://schemas.microsoft.com/office/drawing/2014/main" id="{9303BED5-08EA-4418-903B-A2A17C778F4D}"/>
              </a:ext>
            </a:extLst>
          </p:cNvPr>
          <p:cNvSpPr/>
          <p:nvPr userDrawn="1"/>
        </p:nvSpPr>
        <p:spPr>
          <a:xfrm>
            <a:off x="7959756" y="2632386"/>
            <a:ext cx="3853595" cy="696012"/>
          </a:xfrm>
          <a:prstGeom prst="chevron">
            <a:avLst>
              <a:gd name="adj" fmla="val 2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42" name="Text Placeholder 6">
            <a:extLst>
              <a:ext uri="{FF2B5EF4-FFF2-40B4-BE49-F238E27FC236}">
                <a16:creationId xmlns:a16="http://schemas.microsoft.com/office/drawing/2014/main" id="{9353A49F-FCFA-480B-A048-29D0099EE055}"/>
              </a:ext>
            </a:extLst>
          </p:cNvPr>
          <p:cNvSpPr>
            <a:spLocks noGrp="1"/>
          </p:cNvSpPr>
          <p:nvPr>
            <p:ph type="body" sz="quarter" idx="36" hasCustomPrompt="1"/>
          </p:nvPr>
        </p:nvSpPr>
        <p:spPr>
          <a:xfrm>
            <a:off x="545995" y="2872670"/>
            <a:ext cx="3518902" cy="215444"/>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46" name="Text Placeholder 6">
            <a:extLst>
              <a:ext uri="{FF2B5EF4-FFF2-40B4-BE49-F238E27FC236}">
                <a16:creationId xmlns:a16="http://schemas.microsoft.com/office/drawing/2014/main" id="{8B8380D3-FE84-4E3C-BEFC-2671394199C1}"/>
              </a:ext>
            </a:extLst>
          </p:cNvPr>
          <p:cNvSpPr>
            <a:spLocks noGrp="1"/>
          </p:cNvSpPr>
          <p:nvPr>
            <p:ph type="body" sz="quarter" idx="37" hasCustomPrompt="1"/>
          </p:nvPr>
        </p:nvSpPr>
        <p:spPr>
          <a:xfrm>
            <a:off x="4390268" y="2872670"/>
            <a:ext cx="3449565" cy="215444"/>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47" name="Text Placeholder 6">
            <a:extLst>
              <a:ext uri="{FF2B5EF4-FFF2-40B4-BE49-F238E27FC236}">
                <a16:creationId xmlns:a16="http://schemas.microsoft.com/office/drawing/2014/main" id="{DE665373-7BA5-4720-95BC-65EFD6D67FAD}"/>
              </a:ext>
            </a:extLst>
          </p:cNvPr>
          <p:cNvSpPr>
            <a:spLocks noGrp="1"/>
          </p:cNvSpPr>
          <p:nvPr>
            <p:ph type="body" sz="quarter" idx="38" hasCustomPrompt="1"/>
          </p:nvPr>
        </p:nvSpPr>
        <p:spPr>
          <a:xfrm>
            <a:off x="8180821" y="2872670"/>
            <a:ext cx="3449565" cy="215444"/>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49" name="Picture Placeholder 2">
            <a:extLst>
              <a:ext uri="{FF2B5EF4-FFF2-40B4-BE49-F238E27FC236}">
                <a16:creationId xmlns:a16="http://schemas.microsoft.com/office/drawing/2014/main" id="{A3767F75-F293-4D12-84DC-E7A0DF0E7854}"/>
              </a:ext>
            </a:extLst>
          </p:cNvPr>
          <p:cNvSpPr>
            <a:spLocks noGrp="1"/>
          </p:cNvSpPr>
          <p:nvPr>
            <p:ph type="pic" sz="quarter" idx="63" hasCustomPrompt="1"/>
          </p:nvPr>
        </p:nvSpPr>
        <p:spPr>
          <a:xfrm>
            <a:off x="459316" y="3466536"/>
            <a:ext cx="355680" cy="30483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52" name="Text Placeholder 6">
            <a:extLst>
              <a:ext uri="{FF2B5EF4-FFF2-40B4-BE49-F238E27FC236}">
                <a16:creationId xmlns:a16="http://schemas.microsoft.com/office/drawing/2014/main" id="{EDFEADFA-4320-46E1-89A7-EF8E0E6D5618}"/>
              </a:ext>
            </a:extLst>
          </p:cNvPr>
          <p:cNvSpPr>
            <a:spLocks noGrp="1"/>
          </p:cNvSpPr>
          <p:nvPr>
            <p:ph type="body" sz="quarter" idx="64" hasCustomPrompt="1"/>
          </p:nvPr>
        </p:nvSpPr>
        <p:spPr>
          <a:xfrm>
            <a:off x="967813" y="3526621"/>
            <a:ext cx="3040307"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56" name="Picture Placeholder 2">
            <a:extLst>
              <a:ext uri="{FF2B5EF4-FFF2-40B4-BE49-F238E27FC236}">
                <a16:creationId xmlns:a16="http://schemas.microsoft.com/office/drawing/2014/main" id="{27BC47EA-FB94-4821-B789-71D3C8906615}"/>
              </a:ext>
            </a:extLst>
          </p:cNvPr>
          <p:cNvSpPr>
            <a:spLocks noGrp="1"/>
          </p:cNvSpPr>
          <p:nvPr>
            <p:ph type="pic" sz="quarter" idx="65" hasCustomPrompt="1"/>
          </p:nvPr>
        </p:nvSpPr>
        <p:spPr>
          <a:xfrm>
            <a:off x="485225" y="4028792"/>
            <a:ext cx="303862" cy="30483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57" name="Text Placeholder 6">
            <a:extLst>
              <a:ext uri="{FF2B5EF4-FFF2-40B4-BE49-F238E27FC236}">
                <a16:creationId xmlns:a16="http://schemas.microsoft.com/office/drawing/2014/main" id="{F0CBEAB7-C67E-4AA5-9C9E-F0C049F93FEE}"/>
              </a:ext>
            </a:extLst>
          </p:cNvPr>
          <p:cNvSpPr>
            <a:spLocks noGrp="1"/>
          </p:cNvSpPr>
          <p:nvPr>
            <p:ph type="body" sz="quarter" idx="66" hasCustomPrompt="1"/>
          </p:nvPr>
        </p:nvSpPr>
        <p:spPr>
          <a:xfrm>
            <a:off x="967813" y="4091595"/>
            <a:ext cx="3040307"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58" name="Picture Placeholder 2">
            <a:extLst>
              <a:ext uri="{FF2B5EF4-FFF2-40B4-BE49-F238E27FC236}">
                <a16:creationId xmlns:a16="http://schemas.microsoft.com/office/drawing/2014/main" id="{590B24FC-F667-4B64-8489-FCEF8A22A018}"/>
              </a:ext>
            </a:extLst>
          </p:cNvPr>
          <p:cNvSpPr>
            <a:spLocks noGrp="1"/>
          </p:cNvSpPr>
          <p:nvPr>
            <p:ph type="pic" sz="quarter" idx="67" hasCustomPrompt="1"/>
          </p:nvPr>
        </p:nvSpPr>
        <p:spPr>
          <a:xfrm>
            <a:off x="485225" y="4591048"/>
            <a:ext cx="303862" cy="30483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59" name="Text Placeholder 6">
            <a:extLst>
              <a:ext uri="{FF2B5EF4-FFF2-40B4-BE49-F238E27FC236}">
                <a16:creationId xmlns:a16="http://schemas.microsoft.com/office/drawing/2014/main" id="{D7181181-6572-4379-9BC5-B8D298455CAC}"/>
              </a:ext>
            </a:extLst>
          </p:cNvPr>
          <p:cNvSpPr>
            <a:spLocks noGrp="1"/>
          </p:cNvSpPr>
          <p:nvPr>
            <p:ph type="body" sz="quarter" idx="68" hasCustomPrompt="1"/>
          </p:nvPr>
        </p:nvSpPr>
        <p:spPr>
          <a:xfrm>
            <a:off x="967813" y="4656569"/>
            <a:ext cx="3040307"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60" name="Picture Placeholder 2">
            <a:extLst>
              <a:ext uri="{FF2B5EF4-FFF2-40B4-BE49-F238E27FC236}">
                <a16:creationId xmlns:a16="http://schemas.microsoft.com/office/drawing/2014/main" id="{30BBA45C-DEE8-4B6A-AE08-2FE40EC92933}"/>
              </a:ext>
            </a:extLst>
          </p:cNvPr>
          <p:cNvSpPr>
            <a:spLocks noGrp="1"/>
          </p:cNvSpPr>
          <p:nvPr>
            <p:ph type="pic" sz="quarter" idx="69" hasCustomPrompt="1"/>
          </p:nvPr>
        </p:nvSpPr>
        <p:spPr>
          <a:xfrm>
            <a:off x="485225" y="5159156"/>
            <a:ext cx="303862" cy="30483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1" name="Text Placeholder 6">
            <a:extLst>
              <a:ext uri="{FF2B5EF4-FFF2-40B4-BE49-F238E27FC236}">
                <a16:creationId xmlns:a16="http://schemas.microsoft.com/office/drawing/2014/main" id="{27F92A4B-FE53-4F94-9DBD-12694A52D05A}"/>
              </a:ext>
            </a:extLst>
          </p:cNvPr>
          <p:cNvSpPr>
            <a:spLocks noGrp="1"/>
          </p:cNvSpPr>
          <p:nvPr>
            <p:ph type="body" sz="quarter" idx="70" hasCustomPrompt="1"/>
          </p:nvPr>
        </p:nvSpPr>
        <p:spPr>
          <a:xfrm>
            <a:off x="967813" y="5221544"/>
            <a:ext cx="3040307"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62" name="Picture Placeholder 2">
            <a:extLst>
              <a:ext uri="{FF2B5EF4-FFF2-40B4-BE49-F238E27FC236}">
                <a16:creationId xmlns:a16="http://schemas.microsoft.com/office/drawing/2014/main" id="{283905CE-548D-4AA9-AA18-CD924D25C4CD}"/>
              </a:ext>
            </a:extLst>
          </p:cNvPr>
          <p:cNvSpPr>
            <a:spLocks noGrp="1"/>
          </p:cNvSpPr>
          <p:nvPr>
            <p:ph type="pic" sz="quarter" idx="71" hasCustomPrompt="1"/>
          </p:nvPr>
        </p:nvSpPr>
        <p:spPr>
          <a:xfrm>
            <a:off x="4360548" y="3437565"/>
            <a:ext cx="366730" cy="367904"/>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3" name="Text Placeholder 6">
            <a:extLst>
              <a:ext uri="{FF2B5EF4-FFF2-40B4-BE49-F238E27FC236}">
                <a16:creationId xmlns:a16="http://schemas.microsoft.com/office/drawing/2014/main" id="{A028B8D0-8EB4-4972-ACC9-B5B980415613}"/>
              </a:ext>
            </a:extLst>
          </p:cNvPr>
          <p:cNvSpPr>
            <a:spLocks noGrp="1"/>
          </p:cNvSpPr>
          <p:nvPr>
            <p:ph type="body" sz="quarter" idx="72" hasCustomPrompt="1"/>
          </p:nvPr>
        </p:nvSpPr>
        <p:spPr>
          <a:xfrm>
            <a:off x="4869046" y="3526621"/>
            <a:ext cx="6720008"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64" name="Picture Placeholder 2">
            <a:extLst>
              <a:ext uri="{FF2B5EF4-FFF2-40B4-BE49-F238E27FC236}">
                <a16:creationId xmlns:a16="http://schemas.microsoft.com/office/drawing/2014/main" id="{156DAB21-0B94-40FC-BC85-ED0B975A3EAD}"/>
              </a:ext>
            </a:extLst>
          </p:cNvPr>
          <p:cNvSpPr>
            <a:spLocks noGrp="1"/>
          </p:cNvSpPr>
          <p:nvPr>
            <p:ph type="pic" sz="quarter" idx="73" hasCustomPrompt="1"/>
          </p:nvPr>
        </p:nvSpPr>
        <p:spPr>
          <a:xfrm>
            <a:off x="4362525" y="4002540"/>
            <a:ext cx="362777" cy="362777"/>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5" name="Text Placeholder 6">
            <a:extLst>
              <a:ext uri="{FF2B5EF4-FFF2-40B4-BE49-F238E27FC236}">
                <a16:creationId xmlns:a16="http://schemas.microsoft.com/office/drawing/2014/main" id="{36003877-4113-4A55-8105-09037ADAE4A8}"/>
              </a:ext>
            </a:extLst>
          </p:cNvPr>
          <p:cNvSpPr>
            <a:spLocks noGrp="1"/>
          </p:cNvSpPr>
          <p:nvPr>
            <p:ph type="body" sz="quarter" idx="74" hasCustomPrompt="1"/>
          </p:nvPr>
        </p:nvSpPr>
        <p:spPr>
          <a:xfrm>
            <a:off x="4869046" y="4091595"/>
            <a:ext cx="6720008"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66" name="Picture Placeholder 2">
            <a:extLst>
              <a:ext uri="{FF2B5EF4-FFF2-40B4-BE49-F238E27FC236}">
                <a16:creationId xmlns:a16="http://schemas.microsoft.com/office/drawing/2014/main" id="{F829A9C0-8872-484B-B190-FFDD0B89E51E}"/>
              </a:ext>
            </a:extLst>
          </p:cNvPr>
          <p:cNvSpPr>
            <a:spLocks noGrp="1"/>
          </p:cNvSpPr>
          <p:nvPr>
            <p:ph type="pic" sz="quarter" idx="75" hasCustomPrompt="1"/>
          </p:nvPr>
        </p:nvSpPr>
        <p:spPr>
          <a:xfrm>
            <a:off x="4392372" y="4591440"/>
            <a:ext cx="303083" cy="304053"/>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7" name="Text Placeholder 6">
            <a:extLst>
              <a:ext uri="{FF2B5EF4-FFF2-40B4-BE49-F238E27FC236}">
                <a16:creationId xmlns:a16="http://schemas.microsoft.com/office/drawing/2014/main" id="{0CBC9BB2-D2EA-43AA-81E9-8ABBBDAB9162}"/>
              </a:ext>
            </a:extLst>
          </p:cNvPr>
          <p:cNvSpPr>
            <a:spLocks noGrp="1"/>
          </p:cNvSpPr>
          <p:nvPr>
            <p:ph type="body" sz="quarter" idx="76" hasCustomPrompt="1"/>
          </p:nvPr>
        </p:nvSpPr>
        <p:spPr>
          <a:xfrm>
            <a:off x="4869046" y="4656569"/>
            <a:ext cx="6720008"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68" name="Picture Placeholder 2">
            <a:extLst>
              <a:ext uri="{FF2B5EF4-FFF2-40B4-BE49-F238E27FC236}">
                <a16:creationId xmlns:a16="http://schemas.microsoft.com/office/drawing/2014/main" id="{8E09DE71-023F-4A29-8011-1E387DC51FD9}"/>
              </a:ext>
            </a:extLst>
          </p:cNvPr>
          <p:cNvSpPr>
            <a:spLocks noGrp="1"/>
          </p:cNvSpPr>
          <p:nvPr>
            <p:ph type="pic" sz="quarter" idx="77" hasCustomPrompt="1"/>
          </p:nvPr>
        </p:nvSpPr>
        <p:spPr>
          <a:xfrm>
            <a:off x="4392372" y="5136261"/>
            <a:ext cx="303083" cy="304053"/>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69" name="Text Placeholder 6">
            <a:extLst>
              <a:ext uri="{FF2B5EF4-FFF2-40B4-BE49-F238E27FC236}">
                <a16:creationId xmlns:a16="http://schemas.microsoft.com/office/drawing/2014/main" id="{A19FE9B9-9D15-44AB-AA24-84728A3688EA}"/>
              </a:ext>
            </a:extLst>
          </p:cNvPr>
          <p:cNvSpPr>
            <a:spLocks noGrp="1"/>
          </p:cNvSpPr>
          <p:nvPr>
            <p:ph type="body" sz="quarter" idx="78" hasCustomPrompt="1"/>
          </p:nvPr>
        </p:nvSpPr>
        <p:spPr>
          <a:xfrm>
            <a:off x="4869046" y="5221544"/>
            <a:ext cx="6720008"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lvl1pPr>
          </a:lstStyle>
          <a:p>
            <a:pPr lvl="0"/>
            <a:r>
              <a:rPr lang="en-US"/>
              <a:t>Edit Master text styles</a:t>
            </a:r>
          </a:p>
        </p:txBody>
      </p:sp>
      <p:sp>
        <p:nvSpPr>
          <p:cNvPr id="70" name="Rounded Rectangle 40">
            <a:extLst>
              <a:ext uri="{FF2B5EF4-FFF2-40B4-BE49-F238E27FC236}">
                <a16:creationId xmlns:a16="http://schemas.microsoft.com/office/drawing/2014/main" id="{E4425DB0-B044-43BF-A36B-62B71719264C}"/>
              </a:ext>
            </a:extLst>
          </p:cNvPr>
          <p:cNvSpPr/>
          <p:nvPr userDrawn="1"/>
        </p:nvSpPr>
        <p:spPr>
          <a:xfrm>
            <a:off x="378649" y="5615328"/>
            <a:ext cx="3698051"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71" name="Rounded Rectangle 40">
            <a:extLst>
              <a:ext uri="{FF2B5EF4-FFF2-40B4-BE49-F238E27FC236}">
                <a16:creationId xmlns:a16="http://schemas.microsoft.com/office/drawing/2014/main" id="{7FD880F9-CAD6-4FC2-BF1F-4E061EE860CB}"/>
              </a:ext>
            </a:extLst>
          </p:cNvPr>
          <p:cNvSpPr/>
          <p:nvPr userDrawn="1"/>
        </p:nvSpPr>
        <p:spPr>
          <a:xfrm>
            <a:off x="4169203" y="5615328"/>
            <a:ext cx="7506653" cy="73152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72" name="Text Placeholder 6">
            <a:extLst>
              <a:ext uri="{FF2B5EF4-FFF2-40B4-BE49-F238E27FC236}">
                <a16:creationId xmlns:a16="http://schemas.microsoft.com/office/drawing/2014/main" id="{F5AAA5A1-95DB-4C3F-B5DC-F46C8003924C}"/>
              </a:ext>
            </a:extLst>
          </p:cNvPr>
          <p:cNvSpPr>
            <a:spLocks noGrp="1"/>
          </p:cNvSpPr>
          <p:nvPr>
            <p:ph type="body" sz="quarter" idx="79" hasCustomPrompt="1"/>
          </p:nvPr>
        </p:nvSpPr>
        <p:spPr>
          <a:xfrm>
            <a:off x="1151679" y="5888755"/>
            <a:ext cx="2535208"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solidFill>
                  <a:schemeClr val="bg1"/>
                </a:solidFill>
              </a:defRPr>
            </a:lvl1pPr>
          </a:lstStyle>
          <a:p>
            <a:pPr lvl="0"/>
            <a:r>
              <a:rPr lang="en-US"/>
              <a:t>Edit Master text styles</a:t>
            </a:r>
          </a:p>
        </p:txBody>
      </p:sp>
      <p:sp>
        <p:nvSpPr>
          <p:cNvPr id="73" name="Picture Placeholder 2">
            <a:extLst>
              <a:ext uri="{FF2B5EF4-FFF2-40B4-BE49-F238E27FC236}">
                <a16:creationId xmlns:a16="http://schemas.microsoft.com/office/drawing/2014/main" id="{3FB8B5A2-1BD7-4155-8972-7274A804307F}"/>
              </a:ext>
            </a:extLst>
          </p:cNvPr>
          <p:cNvSpPr>
            <a:spLocks noGrp="1"/>
          </p:cNvSpPr>
          <p:nvPr>
            <p:ph type="pic" sz="quarter" idx="80" hasCustomPrompt="1"/>
          </p:nvPr>
        </p:nvSpPr>
        <p:spPr>
          <a:xfrm>
            <a:off x="441176" y="5731269"/>
            <a:ext cx="498042" cy="499638"/>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74" name="Text Placeholder 6">
            <a:extLst>
              <a:ext uri="{FF2B5EF4-FFF2-40B4-BE49-F238E27FC236}">
                <a16:creationId xmlns:a16="http://schemas.microsoft.com/office/drawing/2014/main" id="{9EA02082-416A-4417-B716-A46B4CDFDAF2}"/>
              </a:ext>
            </a:extLst>
          </p:cNvPr>
          <p:cNvSpPr>
            <a:spLocks noGrp="1"/>
          </p:cNvSpPr>
          <p:nvPr>
            <p:ph type="body" sz="quarter" idx="81" hasCustomPrompt="1"/>
          </p:nvPr>
        </p:nvSpPr>
        <p:spPr>
          <a:xfrm>
            <a:off x="5033197" y="5888755"/>
            <a:ext cx="6556823" cy="184666"/>
          </a:xfrm>
        </p:spPr>
        <p:txBody>
          <a:bodyPr anchor="ctr"/>
          <a:lstStyle>
            <a:lvl1pPr marL="0" indent="0" algn="just">
              <a:lnSpc>
                <a:spcPct val="100000"/>
              </a:lnSpc>
              <a:spcBef>
                <a:spcPts val="0"/>
              </a:spcBef>
              <a:spcAft>
                <a:spcPts val="1500"/>
              </a:spcAft>
              <a:buFont typeface="Wingdings" panose="05000000000000000000" pitchFamily="2" charset="2"/>
              <a:buNone/>
              <a:defRPr sz="1200">
                <a:solidFill>
                  <a:schemeClr val="bg1"/>
                </a:solidFill>
              </a:defRPr>
            </a:lvl1pPr>
          </a:lstStyle>
          <a:p>
            <a:pPr lvl="0"/>
            <a:r>
              <a:rPr lang="en-US"/>
              <a:t>Edit Master text styles </a:t>
            </a:r>
          </a:p>
        </p:txBody>
      </p:sp>
      <p:sp>
        <p:nvSpPr>
          <p:cNvPr id="75" name="Picture Placeholder 2">
            <a:extLst>
              <a:ext uri="{FF2B5EF4-FFF2-40B4-BE49-F238E27FC236}">
                <a16:creationId xmlns:a16="http://schemas.microsoft.com/office/drawing/2014/main" id="{462312ED-9F71-4B3C-B170-FF46F65EB325}"/>
              </a:ext>
            </a:extLst>
          </p:cNvPr>
          <p:cNvSpPr>
            <a:spLocks noGrp="1"/>
          </p:cNvSpPr>
          <p:nvPr>
            <p:ph type="pic" sz="quarter" idx="82" hasCustomPrompt="1"/>
          </p:nvPr>
        </p:nvSpPr>
        <p:spPr>
          <a:xfrm>
            <a:off x="4243636" y="5675940"/>
            <a:ext cx="608348" cy="61029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Tree>
    <p:extLst>
      <p:ext uri="{BB962C8B-B14F-4D97-AF65-F5344CB8AC3E}">
        <p14:creationId xmlns:p14="http://schemas.microsoft.com/office/powerpoint/2010/main" val="23501400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4" name="Text Placeholder 6">
            <a:extLst>
              <a:ext uri="{FF2B5EF4-FFF2-40B4-BE49-F238E27FC236}">
                <a16:creationId xmlns:a16="http://schemas.microsoft.com/office/drawing/2014/main" id="{064EDB60-AD71-4605-907F-31B9C13C76E3}"/>
              </a:ext>
            </a:extLst>
          </p:cNvPr>
          <p:cNvSpPr>
            <a:spLocks noGrp="1"/>
          </p:cNvSpPr>
          <p:nvPr>
            <p:ph type="body" sz="quarter" idx="34" hasCustomPrompt="1"/>
          </p:nvPr>
        </p:nvSpPr>
        <p:spPr>
          <a:xfrm>
            <a:off x="346990" y="1248858"/>
            <a:ext cx="5339435"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rgbClr val="54B8BD"/>
                </a:solidFill>
              </a:defRPr>
            </a:lvl1pPr>
          </a:lstStyle>
          <a:p>
            <a:pPr marL="0" lvl="0">
              <a:spcAft>
                <a:spcPts val="500"/>
              </a:spcAft>
            </a:pPr>
            <a:r>
              <a:rPr lang="en-US"/>
              <a:t>EDIT MASTER TEXT STYLES</a:t>
            </a:r>
          </a:p>
        </p:txBody>
      </p:sp>
      <p:sp>
        <p:nvSpPr>
          <p:cNvPr id="50" name="Text Placeholder 6">
            <a:extLst>
              <a:ext uri="{FF2B5EF4-FFF2-40B4-BE49-F238E27FC236}">
                <a16:creationId xmlns:a16="http://schemas.microsoft.com/office/drawing/2014/main" id="{D7C31F5F-7BF0-4022-9DDC-52824E390ED8}"/>
              </a:ext>
            </a:extLst>
          </p:cNvPr>
          <p:cNvSpPr>
            <a:spLocks noGrp="1"/>
          </p:cNvSpPr>
          <p:nvPr>
            <p:ph type="body" sz="quarter" idx="35" hasCustomPrompt="1"/>
          </p:nvPr>
        </p:nvSpPr>
        <p:spPr>
          <a:xfrm>
            <a:off x="6096002" y="1248858"/>
            <a:ext cx="5674317"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rgbClr val="54B8BD"/>
                </a:solidFill>
              </a:defRPr>
            </a:lvl1pPr>
          </a:lstStyle>
          <a:p>
            <a:pPr marL="0" lvl="0">
              <a:spcAft>
                <a:spcPts val="500"/>
              </a:spcAft>
            </a:pPr>
            <a:r>
              <a:rPr lang="en-US"/>
              <a:t>EDIT MASTER TEXT STYLES</a:t>
            </a:r>
          </a:p>
        </p:txBody>
      </p:sp>
      <p:sp>
        <p:nvSpPr>
          <p:cNvPr id="51" name="Text Placeholder 6">
            <a:extLst>
              <a:ext uri="{FF2B5EF4-FFF2-40B4-BE49-F238E27FC236}">
                <a16:creationId xmlns:a16="http://schemas.microsoft.com/office/drawing/2014/main" id="{4B3D185A-54CB-40C4-850D-5199F90E35FB}"/>
              </a:ext>
            </a:extLst>
          </p:cNvPr>
          <p:cNvSpPr>
            <a:spLocks noGrp="1"/>
          </p:cNvSpPr>
          <p:nvPr>
            <p:ph type="body" sz="quarter" idx="36" hasCustomPrompt="1"/>
          </p:nvPr>
        </p:nvSpPr>
        <p:spPr>
          <a:xfrm>
            <a:off x="346990" y="1550916"/>
            <a:ext cx="5339435" cy="184666"/>
          </a:xfrm>
        </p:spPr>
        <p:txBody>
          <a:bodyPr vert="horz" wrap="square" lIns="0" tIns="0" rIns="0" bIns="0" rtlCol="0">
            <a:spAutoFit/>
          </a:bodyPr>
          <a:lstStyle>
            <a:lvl1pPr>
              <a:lnSpc>
                <a:spcPct val="110000"/>
              </a:lnSpc>
              <a:spcAft>
                <a:spcPts val="1200"/>
              </a:spcAft>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53" name="Text Placeholder 6">
            <a:extLst>
              <a:ext uri="{FF2B5EF4-FFF2-40B4-BE49-F238E27FC236}">
                <a16:creationId xmlns:a16="http://schemas.microsoft.com/office/drawing/2014/main" id="{AAA66CF0-3CBE-470D-B924-1A4940BF5DB3}"/>
              </a:ext>
            </a:extLst>
          </p:cNvPr>
          <p:cNvSpPr>
            <a:spLocks noGrp="1"/>
          </p:cNvSpPr>
          <p:nvPr>
            <p:ph type="body" sz="quarter" idx="37" hasCustomPrompt="1"/>
          </p:nvPr>
        </p:nvSpPr>
        <p:spPr>
          <a:xfrm>
            <a:off x="6096002" y="1550916"/>
            <a:ext cx="5674317" cy="184666"/>
          </a:xfrm>
        </p:spPr>
        <p:txBody>
          <a:bodyPr vert="horz" wrap="square" lIns="0" tIns="0" rIns="0" bIns="0" rtlCol="0">
            <a:spAutoFit/>
          </a:bodyPr>
          <a:lstStyle>
            <a:lvl1pPr>
              <a:lnSpc>
                <a:spcPct val="110000"/>
              </a:lnSpc>
              <a:spcAft>
                <a:spcPts val="1200"/>
              </a:spcAft>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54" name="Text Placeholder 6">
            <a:extLst>
              <a:ext uri="{FF2B5EF4-FFF2-40B4-BE49-F238E27FC236}">
                <a16:creationId xmlns:a16="http://schemas.microsoft.com/office/drawing/2014/main" id="{3B51E008-7785-49F1-9A85-0B70620927EB}"/>
              </a:ext>
            </a:extLst>
          </p:cNvPr>
          <p:cNvSpPr>
            <a:spLocks noGrp="1"/>
          </p:cNvSpPr>
          <p:nvPr>
            <p:ph type="body" sz="quarter" idx="38" hasCustomPrompt="1"/>
          </p:nvPr>
        </p:nvSpPr>
        <p:spPr>
          <a:xfrm>
            <a:off x="6096002" y="5028985"/>
            <a:ext cx="5674317"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rgbClr val="54B8BD"/>
                </a:solidFill>
              </a:defRPr>
            </a:lvl1pPr>
          </a:lstStyle>
          <a:p>
            <a:pPr marL="0" lvl="0">
              <a:spcAft>
                <a:spcPts val="500"/>
              </a:spcAft>
            </a:pPr>
            <a:r>
              <a:rPr lang="en-US"/>
              <a:t>EDIT MASTER TEXT STYLES</a:t>
            </a:r>
          </a:p>
        </p:txBody>
      </p:sp>
      <p:sp>
        <p:nvSpPr>
          <p:cNvPr id="76" name="Rectangle 75">
            <a:extLst>
              <a:ext uri="{FF2B5EF4-FFF2-40B4-BE49-F238E27FC236}">
                <a16:creationId xmlns:a16="http://schemas.microsoft.com/office/drawing/2014/main" id="{F0831658-E391-4D49-8343-FCF34D69F621}"/>
              </a:ext>
            </a:extLst>
          </p:cNvPr>
          <p:cNvSpPr/>
          <p:nvPr userDrawn="1"/>
        </p:nvSpPr>
        <p:spPr>
          <a:xfrm>
            <a:off x="6096001"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636DBB6C-11BC-4FB6-B8FB-57E0B888FB94}"/>
              </a:ext>
            </a:extLst>
          </p:cNvPr>
          <p:cNvSpPr/>
          <p:nvPr userDrawn="1"/>
        </p:nvSpPr>
        <p:spPr>
          <a:xfrm>
            <a:off x="7064787"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77">
            <a:extLst>
              <a:ext uri="{FF2B5EF4-FFF2-40B4-BE49-F238E27FC236}">
                <a16:creationId xmlns:a16="http://schemas.microsoft.com/office/drawing/2014/main" id="{1362FA78-19DE-4D4A-9E2E-30EFB53B8FA9}"/>
              </a:ext>
            </a:extLst>
          </p:cNvPr>
          <p:cNvSpPr/>
          <p:nvPr userDrawn="1"/>
        </p:nvSpPr>
        <p:spPr>
          <a:xfrm>
            <a:off x="8033573"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78">
            <a:extLst>
              <a:ext uri="{FF2B5EF4-FFF2-40B4-BE49-F238E27FC236}">
                <a16:creationId xmlns:a16="http://schemas.microsoft.com/office/drawing/2014/main" id="{6FFF2C33-A908-420A-A03D-0DA89CD17271}"/>
              </a:ext>
            </a:extLst>
          </p:cNvPr>
          <p:cNvSpPr/>
          <p:nvPr userDrawn="1"/>
        </p:nvSpPr>
        <p:spPr>
          <a:xfrm>
            <a:off x="9002359"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a:extLst>
              <a:ext uri="{FF2B5EF4-FFF2-40B4-BE49-F238E27FC236}">
                <a16:creationId xmlns:a16="http://schemas.microsoft.com/office/drawing/2014/main" id="{4DA84191-9FAD-47FA-86E8-5D230E7751C7}"/>
              </a:ext>
            </a:extLst>
          </p:cNvPr>
          <p:cNvSpPr/>
          <p:nvPr userDrawn="1"/>
        </p:nvSpPr>
        <p:spPr>
          <a:xfrm>
            <a:off x="9971145"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80">
            <a:extLst>
              <a:ext uri="{FF2B5EF4-FFF2-40B4-BE49-F238E27FC236}">
                <a16:creationId xmlns:a16="http://schemas.microsoft.com/office/drawing/2014/main" id="{50D538B8-8E69-4171-8548-3C5B08E863FB}"/>
              </a:ext>
            </a:extLst>
          </p:cNvPr>
          <p:cNvSpPr/>
          <p:nvPr userDrawn="1"/>
        </p:nvSpPr>
        <p:spPr>
          <a:xfrm>
            <a:off x="10939931" y="5323107"/>
            <a:ext cx="830387" cy="999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 Placeholder 6">
            <a:extLst>
              <a:ext uri="{FF2B5EF4-FFF2-40B4-BE49-F238E27FC236}">
                <a16:creationId xmlns:a16="http://schemas.microsoft.com/office/drawing/2014/main" id="{115D1744-BEB1-4E2D-A9B7-BA2953191AFD}"/>
              </a:ext>
            </a:extLst>
          </p:cNvPr>
          <p:cNvSpPr>
            <a:spLocks noGrp="1"/>
          </p:cNvSpPr>
          <p:nvPr>
            <p:ph type="body" sz="quarter" idx="39" hasCustomPrompt="1"/>
          </p:nvPr>
        </p:nvSpPr>
        <p:spPr>
          <a:xfrm>
            <a:off x="6168060"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3" name="Text Placeholder 6">
            <a:extLst>
              <a:ext uri="{FF2B5EF4-FFF2-40B4-BE49-F238E27FC236}">
                <a16:creationId xmlns:a16="http://schemas.microsoft.com/office/drawing/2014/main" id="{E4246055-86AB-4077-A85B-59A74F396EF1}"/>
              </a:ext>
            </a:extLst>
          </p:cNvPr>
          <p:cNvSpPr>
            <a:spLocks noGrp="1"/>
          </p:cNvSpPr>
          <p:nvPr>
            <p:ph type="body" sz="quarter" idx="40" hasCustomPrompt="1"/>
          </p:nvPr>
        </p:nvSpPr>
        <p:spPr>
          <a:xfrm>
            <a:off x="7136846"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4" name="Text Placeholder 6">
            <a:extLst>
              <a:ext uri="{FF2B5EF4-FFF2-40B4-BE49-F238E27FC236}">
                <a16:creationId xmlns:a16="http://schemas.microsoft.com/office/drawing/2014/main" id="{3BA69067-8460-4161-B9BD-01F0F1298367}"/>
              </a:ext>
            </a:extLst>
          </p:cNvPr>
          <p:cNvSpPr>
            <a:spLocks noGrp="1"/>
          </p:cNvSpPr>
          <p:nvPr>
            <p:ph type="body" sz="quarter" idx="41" hasCustomPrompt="1"/>
          </p:nvPr>
        </p:nvSpPr>
        <p:spPr>
          <a:xfrm>
            <a:off x="8105632"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5" name="Text Placeholder 6">
            <a:extLst>
              <a:ext uri="{FF2B5EF4-FFF2-40B4-BE49-F238E27FC236}">
                <a16:creationId xmlns:a16="http://schemas.microsoft.com/office/drawing/2014/main" id="{A7ACC256-2916-40A4-93F2-C6A5658079BC}"/>
              </a:ext>
            </a:extLst>
          </p:cNvPr>
          <p:cNvSpPr>
            <a:spLocks noGrp="1"/>
          </p:cNvSpPr>
          <p:nvPr>
            <p:ph type="body" sz="quarter" idx="42" hasCustomPrompt="1"/>
          </p:nvPr>
        </p:nvSpPr>
        <p:spPr>
          <a:xfrm>
            <a:off x="9074418"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6" name="Text Placeholder 6">
            <a:extLst>
              <a:ext uri="{FF2B5EF4-FFF2-40B4-BE49-F238E27FC236}">
                <a16:creationId xmlns:a16="http://schemas.microsoft.com/office/drawing/2014/main" id="{790211D5-01D2-4C0D-8E52-27B8E1B4370F}"/>
              </a:ext>
            </a:extLst>
          </p:cNvPr>
          <p:cNvSpPr>
            <a:spLocks noGrp="1"/>
          </p:cNvSpPr>
          <p:nvPr>
            <p:ph type="body" sz="quarter" idx="43" hasCustomPrompt="1"/>
          </p:nvPr>
        </p:nvSpPr>
        <p:spPr>
          <a:xfrm>
            <a:off x="10043204"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7" name="Text Placeholder 6">
            <a:extLst>
              <a:ext uri="{FF2B5EF4-FFF2-40B4-BE49-F238E27FC236}">
                <a16:creationId xmlns:a16="http://schemas.microsoft.com/office/drawing/2014/main" id="{F0A839BF-29DA-4DB8-AF61-F3A2378FB953}"/>
              </a:ext>
            </a:extLst>
          </p:cNvPr>
          <p:cNvSpPr>
            <a:spLocks noGrp="1"/>
          </p:cNvSpPr>
          <p:nvPr>
            <p:ph type="body" sz="quarter" idx="44" hasCustomPrompt="1"/>
          </p:nvPr>
        </p:nvSpPr>
        <p:spPr>
          <a:xfrm>
            <a:off x="11011990" y="5869037"/>
            <a:ext cx="676065" cy="307777"/>
          </a:xfrm>
          <a:noFill/>
        </p:spPr>
        <p:txBody>
          <a:bodyPr wrap="square" lIns="0" tIns="0" rIns="0" bIns="0" rtlCol="0" anchor="ctr">
            <a:noAutofit/>
          </a:bodyPr>
          <a:lstStyle>
            <a:lvl1pPr marL="0" indent="0">
              <a:defRPr lang="en-US" sz="1000" dirty="0">
                <a:solidFill>
                  <a:schemeClr val="bg1"/>
                </a:solidFill>
              </a:defRPr>
            </a:lvl1pPr>
          </a:lstStyle>
          <a:p>
            <a:pPr marL="0" lvl="0" algn="ctr"/>
            <a:r>
              <a:rPr lang="en-US"/>
              <a:t>Edit Master text styles</a:t>
            </a:r>
          </a:p>
        </p:txBody>
      </p:sp>
      <p:sp>
        <p:nvSpPr>
          <p:cNvPr id="88" name="Picture Placeholder 2">
            <a:extLst>
              <a:ext uri="{FF2B5EF4-FFF2-40B4-BE49-F238E27FC236}">
                <a16:creationId xmlns:a16="http://schemas.microsoft.com/office/drawing/2014/main" id="{E112B5FE-5A38-4A12-BBF1-5AE195310C70}"/>
              </a:ext>
            </a:extLst>
          </p:cNvPr>
          <p:cNvSpPr>
            <a:spLocks noGrp="1"/>
          </p:cNvSpPr>
          <p:nvPr>
            <p:ph type="pic" sz="quarter" idx="63" hasCustomPrompt="1"/>
          </p:nvPr>
        </p:nvSpPr>
        <p:spPr>
          <a:xfrm>
            <a:off x="6376413" y="5481475"/>
            <a:ext cx="269564" cy="287606"/>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89" name="Picture Placeholder 2">
            <a:extLst>
              <a:ext uri="{FF2B5EF4-FFF2-40B4-BE49-F238E27FC236}">
                <a16:creationId xmlns:a16="http://schemas.microsoft.com/office/drawing/2014/main" id="{FF4AABE0-33E2-43C2-83FE-295F749E945D}"/>
              </a:ext>
            </a:extLst>
          </p:cNvPr>
          <p:cNvSpPr>
            <a:spLocks noGrp="1"/>
          </p:cNvSpPr>
          <p:nvPr>
            <p:ph type="pic" sz="quarter" idx="64" hasCustomPrompt="1"/>
          </p:nvPr>
        </p:nvSpPr>
        <p:spPr>
          <a:xfrm>
            <a:off x="7301443" y="5434791"/>
            <a:ext cx="357074" cy="380974"/>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90" name="Picture Placeholder 2">
            <a:extLst>
              <a:ext uri="{FF2B5EF4-FFF2-40B4-BE49-F238E27FC236}">
                <a16:creationId xmlns:a16="http://schemas.microsoft.com/office/drawing/2014/main" id="{660DFD30-6477-443C-8091-87CE05BB002A}"/>
              </a:ext>
            </a:extLst>
          </p:cNvPr>
          <p:cNvSpPr>
            <a:spLocks noGrp="1"/>
          </p:cNvSpPr>
          <p:nvPr>
            <p:ph type="pic" sz="quarter" idx="65" hasCustomPrompt="1"/>
          </p:nvPr>
        </p:nvSpPr>
        <p:spPr>
          <a:xfrm>
            <a:off x="8270229" y="5434791"/>
            <a:ext cx="357074" cy="380974"/>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91" name="Picture Placeholder 2">
            <a:extLst>
              <a:ext uri="{FF2B5EF4-FFF2-40B4-BE49-F238E27FC236}">
                <a16:creationId xmlns:a16="http://schemas.microsoft.com/office/drawing/2014/main" id="{9600DEF6-5711-4FE0-8357-0B5D6D3504B8}"/>
              </a:ext>
            </a:extLst>
          </p:cNvPr>
          <p:cNvSpPr>
            <a:spLocks noGrp="1"/>
          </p:cNvSpPr>
          <p:nvPr>
            <p:ph type="pic" sz="quarter" idx="66" hasCustomPrompt="1"/>
          </p:nvPr>
        </p:nvSpPr>
        <p:spPr>
          <a:xfrm>
            <a:off x="9236164" y="5434791"/>
            <a:ext cx="357074" cy="362777"/>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
        <p:nvSpPr>
          <p:cNvPr id="92" name="Picture Placeholder 2">
            <a:extLst>
              <a:ext uri="{FF2B5EF4-FFF2-40B4-BE49-F238E27FC236}">
                <a16:creationId xmlns:a16="http://schemas.microsoft.com/office/drawing/2014/main" id="{9180091F-41D5-4F10-A64A-741469DA177D}"/>
              </a:ext>
            </a:extLst>
          </p:cNvPr>
          <p:cNvSpPr>
            <a:spLocks noGrp="1"/>
          </p:cNvSpPr>
          <p:nvPr>
            <p:ph type="pic" sz="quarter" idx="67" hasCustomPrompt="1"/>
          </p:nvPr>
        </p:nvSpPr>
        <p:spPr>
          <a:xfrm>
            <a:off x="10204950" y="5434791"/>
            <a:ext cx="357074" cy="380974"/>
          </a:xfrm>
          <a:prstGeom prst="rect">
            <a:avLst/>
          </a:prstGeom>
        </p:spPr>
        <p:txBody>
          <a:bodyPr anchor="ctr" anchorCtr="1">
            <a:noAutofit/>
          </a:bodyPr>
          <a:lstStyle>
            <a:lvl1pPr marL="0" indent="0">
              <a:buNone/>
              <a:defRPr sz="800">
                <a:solidFill>
                  <a:schemeClr val="bg1"/>
                </a:solidFill>
              </a:defRPr>
            </a:lvl1pPr>
          </a:lstStyle>
          <a:p>
            <a:r>
              <a:rPr lang="en-US" dirty="0"/>
              <a:t>Icon</a:t>
            </a:r>
          </a:p>
        </p:txBody>
      </p:sp>
    </p:spTree>
    <p:extLst>
      <p:ext uri="{BB962C8B-B14F-4D97-AF65-F5344CB8AC3E}">
        <p14:creationId xmlns:p14="http://schemas.microsoft.com/office/powerpoint/2010/main" val="3607546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250957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6" name="Rectangle 25">
            <a:extLst>
              <a:ext uri="{FF2B5EF4-FFF2-40B4-BE49-F238E27FC236}">
                <a16:creationId xmlns:a16="http://schemas.microsoft.com/office/drawing/2014/main" id="{C0F4420E-3410-4A5D-802B-53E54E3881F2}"/>
              </a:ext>
            </a:extLst>
          </p:cNvPr>
          <p:cNvSpPr/>
          <p:nvPr userDrawn="1"/>
        </p:nvSpPr>
        <p:spPr>
          <a:xfrm>
            <a:off x="346989" y="3032833"/>
            <a:ext cx="1738290" cy="9996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27" name="Rectangle 26">
            <a:extLst>
              <a:ext uri="{FF2B5EF4-FFF2-40B4-BE49-F238E27FC236}">
                <a16:creationId xmlns:a16="http://schemas.microsoft.com/office/drawing/2014/main" id="{62B86DFF-0608-48AC-9A40-BCB0AB102337}"/>
              </a:ext>
            </a:extLst>
          </p:cNvPr>
          <p:cNvSpPr/>
          <p:nvPr userDrawn="1"/>
        </p:nvSpPr>
        <p:spPr>
          <a:xfrm>
            <a:off x="346989" y="4210767"/>
            <a:ext cx="1738290" cy="9996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28" name="Rectangle 27">
            <a:extLst>
              <a:ext uri="{FF2B5EF4-FFF2-40B4-BE49-F238E27FC236}">
                <a16:creationId xmlns:a16="http://schemas.microsoft.com/office/drawing/2014/main" id="{85C312B4-119E-4631-90B8-3E6B095CB025}"/>
              </a:ext>
            </a:extLst>
          </p:cNvPr>
          <p:cNvSpPr/>
          <p:nvPr userDrawn="1"/>
        </p:nvSpPr>
        <p:spPr>
          <a:xfrm>
            <a:off x="346989" y="5388701"/>
            <a:ext cx="1738290" cy="8535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39" name="Rectangle 38">
            <a:extLst>
              <a:ext uri="{FF2B5EF4-FFF2-40B4-BE49-F238E27FC236}">
                <a16:creationId xmlns:a16="http://schemas.microsoft.com/office/drawing/2014/main" id="{88D1AE32-FC1F-4254-A3A3-C31F7479B6F6}"/>
              </a:ext>
            </a:extLst>
          </p:cNvPr>
          <p:cNvSpPr/>
          <p:nvPr userDrawn="1"/>
        </p:nvSpPr>
        <p:spPr>
          <a:xfrm>
            <a:off x="7703419" y="3032833"/>
            <a:ext cx="4114800" cy="320937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 name="Picture Placeholder 4">
            <a:extLst>
              <a:ext uri="{FF2B5EF4-FFF2-40B4-BE49-F238E27FC236}">
                <a16:creationId xmlns:a16="http://schemas.microsoft.com/office/drawing/2014/main" id="{0F2AD637-1285-43B0-A409-0C2DE18C6CDC}"/>
              </a:ext>
            </a:extLst>
          </p:cNvPr>
          <p:cNvSpPr>
            <a:spLocks noGrp="1"/>
          </p:cNvSpPr>
          <p:nvPr>
            <p:ph type="pic" sz="quarter" idx="43"/>
          </p:nvPr>
        </p:nvSpPr>
        <p:spPr>
          <a:xfrm>
            <a:off x="7830106" y="3199742"/>
            <a:ext cx="3870754" cy="2910480"/>
          </a:xfrm>
        </p:spPr>
        <p:txBody>
          <a:bodyPr anchor="ctr">
            <a:noAutofit/>
          </a:bodyPr>
          <a:lstStyle>
            <a:lvl1pPr marL="0" indent="0" algn="ctr">
              <a:buNone/>
              <a:defRPr sz="1200"/>
            </a:lvl1pPr>
          </a:lstStyle>
          <a:p>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4" name="Text Placeholder 6">
            <a:extLst>
              <a:ext uri="{FF2B5EF4-FFF2-40B4-BE49-F238E27FC236}">
                <a16:creationId xmlns:a16="http://schemas.microsoft.com/office/drawing/2014/main" id="{064EDB60-AD71-4605-907F-31B9C13C76E3}"/>
              </a:ext>
            </a:extLst>
          </p:cNvPr>
          <p:cNvSpPr>
            <a:spLocks noGrp="1"/>
          </p:cNvSpPr>
          <p:nvPr>
            <p:ph type="body" sz="quarter" idx="34" hasCustomPrompt="1"/>
          </p:nvPr>
        </p:nvSpPr>
        <p:spPr>
          <a:xfrm>
            <a:off x="346989" y="1248858"/>
            <a:ext cx="11504763"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rgbClr val="54B8BD"/>
                </a:solidFill>
              </a:defRPr>
            </a:lvl1pPr>
          </a:lstStyle>
          <a:p>
            <a:pPr marL="0" lvl="0">
              <a:spcAft>
                <a:spcPts val="500"/>
              </a:spcAft>
            </a:pPr>
            <a:r>
              <a:rPr lang="en-US"/>
              <a:t>EDIT MASTER TEXT STYLES</a:t>
            </a:r>
          </a:p>
        </p:txBody>
      </p:sp>
      <p:sp>
        <p:nvSpPr>
          <p:cNvPr id="51" name="Text Placeholder 6">
            <a:extLst>
              <a:ext uri="{FF2B5EF4-FFF2-40B4-BE49-F238E27FC236}">
                <a16:creationId xmlns:a16="http://schemas.microsoft.com/office/drawing/2014/main" id="{4B3D185A-54CB-40C4-850D-5199F90E35FB}"/>
              </a:ext>
            </a:extLst>
          </p:cNvPr>
          <p:cNvSpPr>
            <a:spLocks noGrp="1"/>
          </p:cNvSpPr>
          <p:nvPr>
            <p:ph type="body" sz="quarter" idx="36" hasCustomPrompt="1"/>
          </p:nvPr>
        </p:nvSpPr>
        <p:spPr>
          <a:xfrm>
            <a:off x="346989" y="1550916"/>
            <a:ext cx="11504763" cy="184666"/>
          </a:xfrm>
        </p:spPr>
        <p:txBody>
          <a:bodyPr vert="horz" wrap="square" lIns="0" tIns="0" rIns="0" bIns="0" rtlCol="0">
            <a:spAutoFit/>
          </a:bodyPr>
          <a:lstStyle>
            <a:lvl1pPr marL="228600" indent="-228600">
              <a:lnSpc>
                <a:spcPct val="110000"/>
              </a:lnSpc>
              <a:spcAft>
                <a:spcPts val="1200"/>
              </a:spcAft>
              <a:buFont typeface="Wingdings" panose="05000000000000000000" pitchFamily="2" charset="2"/>
              <a:buChar char="n"/>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38" name="Text Placeholder 6">
            <a:extLst>
              <a:ext uri="{FF2B5EF4-FFF2-40B4-BE49-F238E27FC236}">
                <a16:creationId xmlns:a16="http://schemas.microsoft.com/office/drawing/2014/main" id="{63FCEED8-4FDD-4064-B51F-50C72D4F5A45}"/>
              </a:ext>
            </a:extLst>
          </p:cNvPr>
          <p:cNvSpPr>
            <a:spLocks noGrp="1"/>
          </p:cNvSpPr>
          <p:nvPr>
            <p:ph type="body" sz="quarter" idx="37" hasCustomPrompt="1"/>
          </p:nvPr>
        </p:nvSpPr>
        <p:spPr>
          <a:xfrm>
            <a:off x="2195171" y="3032833"/>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0" name="Text Placeholder 6">
            <a:extLst>
              <a:ext uri="{FF2B5EF4-FFF2-40B4-BE49-F238E27FC236}">
                <a16:creationId xmlns:a16="http://schemas.microsoft.com/office/drawing/2014/main" id="{9BEE1C8A-35A1-4ABC-9A7C-327ACD7FEB8E}"/>
              </a:ext>
            </a:extLst>
          </p:cNvPr>
          <p:cNvSpPr>
            <a:spLocks noGrp="1"/>
          </p:cNvSpPr>
          <p:nvPr>
            <p:ph type="body" sz="quarter" idx="38" hasCustomPrompt="1"/>
          </p:nvPr>
        </p:nvSpPr>
        <p:spPr>
          <a:xfrm>
            <a:off x="2195171" y="4210767"/>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1" name="Text Placeholder 6">
            <a:extLst>
              <a:ext uri="{FF2B5EF4-FFF2-40B4-BE49-F238E27FC236}">
                <a16:creationId xmlns:a16="http://schemas.microsoft.com/office/drawing/2014/main" id="{D36D420D-9130-4317-A31E-B8D449CEA1AE}"/>
              </a:ext>
            </a:extLst>
          </p:cNvPr>
          <p:cNvSpPr>
            <a:spLocks noGrp="1"/>
          </p:cNvSpPr>
          <p:nvPr>
            <p:ph type="body" sz="quarter" idx="39" hasCustomPrompt="1"/>
          </p:nvPr>
        </p:nvSpPr>
        <p:spPr>
          <a:xfrm>
            <a:off x="2195171" y="5388701"/>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2" name="Text Placeholder 6">
            <a:extLst>
              <a:ext uri="{FF2B5EF4-FFF2-40B4-BE49-F238E27FC236}">
                <a16:creationId xmlns:a16="http://schemas.microsoft.com/office/drawing/2014/main" id="{1E7FE844-99A2-4195-81E3-A04D59958EF4}"/>
              </a:ext>
            </a:extLst>
          </p:cNvPr>
          <p:cNvSpPr>
            <a:spLocks noGrp="1"/>
          </p:cNvSpPr>
          <p:nvPr>
            <p:ph type="body" sz="quarter" idx="40" hasCustomPrompt="1"/>
          </p:nvPr>
        </p:nvSpPr>
        <p:spPr>
          <a:xfrm>
            <a:off x="491141" y="3317238"/>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43" name="Text Placeholder 6">
            <a:extLst>
              <a:ext uri="{FF2B5EF4-FFF2-40B4-BE49-F238E27FC236}">
                <a16:creationId xmlns:a16="http://schemas.microsoft.com/office/drawing/2014/main" id="{213E3381-09E8-4F1D-AAB3-731D74487860}"/>
              </a:ext>
            </a:extLst>
          </p:cNvPr>
          <p:cNvSpPr>
            <a:spLocks noGrp="1"/>
          </p:cNvSpPr>
          <p:nvPr>
            <p:ph type="body" sz="quarter" idx="41" hasCustomPrompt="1"/>
          </p:nvPr>
        </p:nvSpPr>
        <p:spPr>
          <a:xfrm>
            <a:off x="491141" y="4495172"/>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45" name="Text Placeholder 6">
            <a:extLst>
              <a:ext uri="{FF2B5EF4-FFF2-40B4-BE49-F238E27FC236}">
                <a16:creationId xmlns:a16="http://schemas.microsoft.com/office/drawing/2014/main" id="{8103604F-8FA0-4C5D-90D4-EAB74C0975D9}"/>
              </a:ext>
            </a:extLst>
          </p:cNvPr>
          <p:cNvSpPr>
            <a:spLocks noGrp="1"/>
          </p:cNvSpPr>
          <p:nvPr>
            <p:ph type="body" sz="quarter" idx="42" hasCustomPrompt="1"/>
          </p:nvPr>
        </p:nvSpPr>
        <p:spPr>
          <a:xfrm>
            <a:off x="491141" y="5600009"/>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38866095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44" name="Text Placeholder 6">
            <a:extLst>
              <a:ext uri="{FF2B5EF4-FFF2-40B4-BE49-F238E27FC236}">
                <a16:creationId xmlns:a16="http://schemas.microsoft.com/office/drawing/2014/main" id="{064EDB60-AD71-4605-907F-31B9C13C76E3}"/>
              </a:ext>
            </a:extLst>
          </p:cNvPr>
          <p:cNvSpPr>
            <a:spLocks noGrp="1"/>
          </p:cNvSpPr>
          <p:nvPr>
            <p:ph type="body" sz="quarter" idx="34" hasCustomPrompt="1"/>
          </p:nvPr>
        </p:nvSpPr>
        <p:spPr>
          <a:xfrm>
            <a:off x="346989" y="1248858"/>
            <a:ext cx="11504763" cy="215444"/>
          </a:xfrm>
        </p:spPr>
        <p:txBody>
          <a:bodyPr wrap="square" lIns="0" tIns="0" rIns="0" bIns="0" anchor="b">
            <a:spAutoFit/>
          </a:bodyPr>
          <a:lstStyle>
            <a:lvl1pPr marL="0" indent="0">
              <a:lnSpc>
                <a:spcPct val="100000"/>
              </a:lnSpc>
              <a:spcBef>
                <a:spcPts val="0"/>
              </a:spcBef>
              <a:spcAft>
                <a:spcPts val="0"/>
              </a:spcAft>
              <a:buNone/>
              <a:defRPr lang="en-US" sz="1400" b="1" cap="all" baseline="0" dirty="0">
                <a:solidFill>
                  <a:srgbClr val="54B8BD"/>
                </a:solidFill>
              </a:defRPr>
            </a:lvl1pPr>
          </a:lstStyle>
          <a:p>
            <a:pPr marL="0" lvl="0">
              <a:spcAft>
                <a:spcPts val="500"/>
              </a:spcAft>
            </a:pPr>
            <a:r>
              <a:rPr lang="en-US"/>
              <a:t>EDIT MASTER TEXT STYLES</a:t>
            </a:r>
          </a:p>
        </p:txBody>
      </p:sp>
      <p:sp>
        <p:nvSpPr>
          <p:cNvPr id="51" name="Text Placeholder 6">
            <a:extLst>
              <a:ext uri="{FF2B5EF4-FFF2-40B4-BE49-F238E27FC236}">
                <a16:creationId xmlns:a16="http://schemas.microsoft.com/office/drawing/2014/main" id="{4B3D185A-54CB-40C4-850D-5199F90E35FB}"/>
              </a:ext>
            </a:extLst>
          </p:cNvPr>
          <p:cNvSpPr>
            <a:spLocks noGrp="1"/>
          </p:cNvSpPr>
          <p:nvPr>
            <p:ph type="body" sz="quarter" idx="36" hasCustomPrompt="1"/>
          </p:nvPr>
        </p:nvSpPr>
        <p:spPr>
          <a:xfrm>
            <a:off x="346989" y="1550916"/>
            <a:ext cx="11504763" cy="184666"/>
          </a:xfrm>
        </p:spPr>
        <p:txBody>
          <a:bodyPr vert="horz" wrap="square" lIns="0" tIns="0" rIns="0" bIns="0" rtlCol="0">
            <a:spAutoFit/>
          </a:bodyPr>
          <a:lstStyle>
            <a:lvl1pPr>
              <a:lnSpc>
                <a:spcPct val="110000"/>
              </a:lnSpc>
              <a:spcAft>
                <a:spcPts val="1200"/>
              </a:spcAft>
              <a:buClr>
                <a:schemeClr val="accent1"/>
              </a:buClr>
              <a:defRPr lang="en-US" sz="1200" dirty="0"/>
            </a:lvl1pPr>
          </a:lstStyle>
          <a:p>
            <a:pPr marL="237744" lvl="0" indent="-237744" algn="just">
              <a:lnSpc>
                <a:spcPct val="100000"/>
              </a:lnSpc>
              <a:spcBef>
                <a:spcPts val="0"/>
              </a:spcBef>
              <a:spcAft>
                <a:spcPts val="1500"/>
              </a:spcAft>
              <a:buClr>
                <a:schemeClr val="accent1"/>
              </a:buClr>
              <a:buFont typeface="Wingdings" panose="05000000000000000000" pitchFamily="2" charset="2"/>
              <a:buChar char="n"/>
            </a:pPr>
            <a:r>
              <a:rPr lang="en-US"/>
              <a:t>Edit Master text styles</a:t>
            </a:r>
          </a:p>
        </p:txBody>
      </p:sp>
      <p:sp>
        <p:nvSpPr>
          <p:cNvPr id="25" name="Freeform: Shape 24">
            <a:extLst>
              <a:ext uri="{FF2B5EF4-FFF2-40B4-BE49-F238E27FC236}">
                <a16:creationId xmlns:a16="http://schemas.microsoft.com/office/drawing/2014/main" id="{0C45E551-4BF6-4105-BD07-60A424F3C725}"/>
              </a:ext>
            </a:extLst>
          </p:cNvPr>
          <p:cNvSpPr/>
          <p:nvPr userDrawn="1"/>
        </p:nvSpPr>
        <p:spPr>
          <a:xfrm rot="12735155">
            <a:off x="9271260" y="4522206"/>
            <a:ext cx="1948317" cy="1948317"/>
          </a:xfrm>
          <a:custGeom>
            <a:avLst/>
            <a:gdLst>
              <a:gd name="connsiteX0" fmla="*/ 904828 w 1809656"/>
              <a:gd name="connsiteY0" fmla="*/ 0 h 1809656"/>
              <a:gd name="connsiteX1" fmla="*/ 1809656 w 1809656"/>
              <a:gd name="connsiteY1" fmla="*/ 904828 h 1809656"/>
              <a:gd name="connsiteX2" fmla="*/ 1700448 w 1809656"/>
              <a:gd name="connsiteY2" fmla="*/ 1336123 h 1809656"/>
              <a:gd name="connsiteX3" fmla="*/ 1690390 w 1809656"/>
              <a:gd name="connsiteY3" fmla="*/ 1352680 h 1809656"/>
              <a:gd name="connsiteX4" fmla="*/ 1598056 w 1809656"/>
              <a:gd name="connsiteY4" fmla="*/ 1357343 h 1809656"/>
              <a:gd name="connsiteX5" fmla="*/ 940271 w 1809656"/>
              <a:gd name="connsiteY5" fmla="*/ 1751601 h 1809656"/>
              <a:gd name="connsiteX6" fmla="*/ 905008 w 1809656"/>
              <a:gd name="connsiteY6" fmla="*/ 1809647 h 1809656"/>
              <a:gd name="connsiteX7" fmla="*/ 904828 w 1809656"/>
              <a:gd name="connsiteY7" fmla="*/ 1809656 h 1809656"/>
              <a:gd name="connsiteX8" fmla="*/ 0 w 1809656"/>
              <a:gd name="connsiteY8" fmla="*/ 904828 h 1809656"/>
              <a:gd name="connsiteX9" fmla="*/ 904828 w 1809656"/>
              <a:gd name="connsiteY9" fmla="*/ 0 h 18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656" h="1809656">
                <a:moveTo>
                  <a:pt x="904828" y="0"/>
                </a:moveTo>
                <a:cubicBezTo>
                  <a:pt x="1404551" y="0"/>
                  <a:pt x="1809656" y="405105"/>
                  <a:pt x="1809656" y="904828"/>
                </a:cubicBezTo>
                <a:cubicBezTo>
                  <a:pt x="1809656" y="1060992"/>
                  <a:pt x="1770095" y="1207915"/>
                  <a:pt x="1700448" y="1336123"/>
                </a:cubicBezTo>
                <a:lnTo>
                  <a:pt x="1690390" y="1352680"/>
                </a:lnTo>
                <a:lnTo>
                  <a:pt x="1598056" y="1357343"/>
                </a:lnTo>
                <a:cubicBezTo>
                  <a:pt x="1324297" y="1385144"/>
                  <a:pt x="1086615" y="1534984"/>
                  <a:pt x="940271" y="1751601"/>
                </a:cubicBezTo>
                <a:lnTo>
                  <a:pt x="905008" y="1809647"/>
                </a:lnTo>
                <a:lnTo>
                  <a:pt x="904828" y="1809656"/>
                </a:lnTo>
                <a:cubicBezTo>
                  <a:pt x="405105" y="1809656"/>
                  <a:pt x="0" y="1404551"/>
                  <a:pt x="0" y="904828"/>
                </a:cubicBezTo>
                <a:cubicBezTo>
                  <a:pt x="0" y="405105"/>
                  <a:pt x="405105" y="0"/>
                  <a:pt x="904828" y="0"/>
                </a:cubicBezTo>
                <a:close/>
              </a:path>
            </a:pathLst>
          </a:cu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Shape 25">
            <a:extLst>
              <a:ext uri="{FF2B5EF4-FFF2-40B4-BE49-F238E27FC236}">
                <a16:creationId xmlns:a16="http://schemas.microsoft.com/office/drawing/2014/main" id="{64D84EE2-FF93-4484-A91C-9368E3D49E24}"/>
              </a:ext>
            </a:extLst>
          </p:cNvPr>
          <p:cNvSpPr/>
          <p:nvPr userDrawn="1"/>
        </p:nvSpPr>
        <p:spPr>
          <a:xfrm rot="19917244">
            <a:off x="7836064" y="3627409"/>
            <a:ext cx="1948317" cy="1948317"/>
          </a:xfrm>
          <a:custGeom>
            <a:avLst/>
            <a:gdLst>
              <a:gd name="connsiteX0" fmla="*/ 904828 w 1809656"/>
              <a:gd name="connsiteY0" fmla="*/ 0 h 1809656"/>
              <a:gd name="connsiteX1" fmla="*/ 1809656 w 1809656"/>
              <a:gd name="connsiteY1" fmla="*/ 904828 h 1809656"/>
              <a:gd name="connsiteX2" fmla="*/ 1700448 w 1809656"/>
              <a:gd name="connsiteY2" fmla="*/ 1336123 h 1809656"/>
              <a:gd name="connsiteX3" fmla="*/ 1690390 w 1809656"/>
              <a:gd name="connsiteY3" fmla="*/ 1352680 h 1809656"/>
              <a:gd name="connsiteX4" fmla="*/ 1598056 w 1809656"/>
              <a:gd name="connsiteY4" fmla="*/ 1357343 h 1809656"/>
              <a:gd name="connsiteX5" fmla="*/ 940271 w 1809656"/>
              <a:gd name="connsiteY5" fmla="*/ 1751601 h 1809656"/>
              <a:gd name="connsiteX6" fmla="*/ 905008 w 1809656"/>
              <a:gd name="connsiteY6" fmla="*/ 1809647 h 1809656"/>
              <a:gd name="connsiteX7" fmla="*/ 904828 w 1809656"/>
              <a:gd name="connsiteY7" fmla="*/ 1809656 h 1809656"/>
              <a:gd name="connsiteX8" fmla="*/ 0 w 1809656"/>
              <a:gd name="connsiteY8" fmla="*/ 904828 h 1809656"/>
              <a:gd name="connsiteX9" fmla="*/ 904828 w 1809656"/>
              <a:gd name="connsiteY9" fmla="*/ 0 h 18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656" h="1809656">
                <a:moveTo>
                  <a:pt x="904828" y="0"/>
                </a:moveTo>
                <a:cubicBezTo>
                  <a:pt x="1404551" y="0"/>
                  <a:pt x="1809656" y="405105"/>
                  <a:pt x="1809656" y="904828"/>
                </a:cubicBezTo>
                <a:cubicBezTo>
                  <a:pt x="1809656" y="1060992"/>
                  <a:pt x="1770095" y="1207915"/>
                  <a:pt x="1700448" y="1336123"/>
                </a:cubicBezTo>
                <a:lnTo>
                  <a:pt x="1690390" y="1352680"/>
                </a:lnTo>
                <a:lnTo>
                  <a:pt x="1598056" y="1357343"/>
                </a:lnTo>
                <a:cubicBezTo>
                  <a:pt x="1324297" y="1385144"/>
                  <a:pt x="1086615" y="1534984"/>
                  <a:pt x="940271" y="1751601"/>
                </a:cubicBezTo>
                <a:lnTo>
                  <a:pt x="905008" y="1809647"/>
                </a:lnTo>
                <a:lnTo>
                  <a:pt x="904828" y="1809656"/>
                </a:lnTo>
                <a:cubicBezTo>
                  <a:pt x="405105" y="1809656"/>
                  <a:pt x="0" y="1404551"/>
                  <a:pt x="0" y="904828"/>
                </a:cubicBezTo>
                <a:cubicBezTo>
                  <a:pt x="0" y="405105"/>
                  <a:pt x="405105" y="0"/>
                  <a:pt x="904828" y="0"/>
                </a:cubicBezTo>
                <a:close/>
              </a:path>
            </a:pathLst>
          </a:cu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badi" panose="020B0604020104020204" pitchFamily="34" charset="0"/>
            </a:endParaRPr>
          </a:p>
        </p:txBody>
      </p:sp>
      <p:sp>
        <p:nvSpPr>
          <p:cNvPr id="27" name="Freeform: Shape 26">
            <a:extLst>
              <a:ext uri="{FF2B5EF4-FFF2-40B4-BE49-F238E27FC236}">
                <a16:creationId xmlns:a16="http://schemas.microsoft.com/office/drawing/2014/main" id="{9CE8AFF2-E60F-4C86-A215-21732E8ED72E}"/>
              </a:ext>
            </a:extLst>
          </p:cNvPr>
          <p:cNvSpPr/>
          <p:nvPr userDrawn="1"/>
        </p:nvSpPr>
        <p:spPr>
          <a:xfrm rot="5525730">
            <a:off x="9329283" y="2831915"/>
            <a:ext cx="1948317" cy="1948317"/>
          </a:xfrm>
          <a:custGeom>
            <a:avLst/>
            <a:gdLst>
              <a:gd name="connsiteX0" fmla="*/ 904828 w 1809656"/>
              <a:gd name="connsiteY0" fmla="*/ 0 h 1809656"/>
              <a:gd name="connsiteX1" fmla="*/ 1809656 w 1809656"/>
              <a:gd name="connsiteY1" fmla="*/ 904828 h 1809656"/>
              <a:gd name="connsiteX2" fmla="*/ 1700448 w 1809656"/>
              <a:gd name="connsiteY2" fmla="*/ 1336123 h 1809656"/>
              <a:gd name="connsiteX3" fmla="*/ 1690390 w 1809656"/>
              <a:gd name="connsiteY3" fmla="*/ 1352680 h 1809656"/>
              <a:gd name="connsiteX4" fmla="*/ 1598056 w 1809656"/>
              <a:gd name="connsiteY4" fmla="*/ 1357343 h 1809656"/>
              <a:gd name="connsiteX5" fmla="*/ 940271 w 1809656"/>
              <a:gd name="connsiteY5" fmla="*/ 1751601 h 1809656"/>
              <a:gd name="connsiteX6" fmla="*/ 905008 w 1809656"/>
              <a:gd name="connsiteY6" fmla="*/ 1809647 h 1809656"/>
              <a:gd name="connsiteX7" fmla="*/ 904828 w 1809656"/>
              <a:gd name="connsiteY7" fmla="*/ 1809656 h 1809656"/>
              <a:gd name="connsiteX8" fmla="*/ 0 w 1809656"/>
              <a:gd name="connsiteY8" fmla="*/ 904828 h 1809656"/>
              <a:gd name="connsiteX9" fmla="*/ 904828 w 1809656"/>
              <a:gd name="connsiteY9" fmla="*/ 0 h 180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656" h="1809656">
                <a:moveTo>
                  <a:pt x="904828" y="0"/>
                </a:moveTo>
                <a:cubicBezTo>
                  <a:pt x="1404551" y="0"/>
                  <a:pt x="1809656" y="405105"/>
                  <a:pt x="1809656" y="904828"/>
                </a:cubicBezTo>
                <a:cubicBezTo>
                  <a:pt x="1809656" y="1060992"/>
                  <a:pt x="1770095" y="1207915"/>
                  <a:pt x="1700448" y="1336123"/>
                </a:cubicBezTo>
                <a:lnTo>
                  <a:pt x="1690390" y="1352680"/>
                </a:lnTo>
                <a:lnTo>
                  <a:pt x="1598056" y="1357343"/>
                </a:lnTo>
                <a:cubicBezTo>
                  <a:pt x="1324297" y="1385144"/>
                  <a:pt x="1086615" y="1534984"/>
                  <a:pt x="940271" y="1751601"/>
                </a:cubicBezTo>
                <a:lnTo>
                  <a:pt x="905008" y="1809647"/>
                </a:lnTo>
                <a:lnTo>
                  <a:pt x="904828" y="1809656"/>
                </a:lnTo>
                <a:cubicBezTo>
                  <a:pt x="405105" y="1809656"/>
                  <a:pt x="0" y="1404551"/>
                  <a:pt x="0" y="904828"/>
                </a:cubicBezTo>
                <a:cubicBezTo>
                  <a:pt x="0" y="405105"/>
                  <a:pt x="405105" y="0"/>
                  <a:pt x="904828" y="0"/>
                </a:cubicBezTo>
                <a:close/>
              </a:path>
            </a:pathLst>
          </a:cu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badi" panose="020B0604020104020204" pitchFamily="34" charset="0"/>
            </a:endParaRPr>
          </a:p>
        </p:txBody>
      </p:sp>
      <p:sp>
        <p:nvSpPr>
          <p:cNvPr id="28" name="Text Placeholder 6">
            <a:extLst>
              <a:ext uri="{FF2B5EF4-FFF2-40B4-BE49-F238E27FC236}">
                <a16:creationId xmlns:a16="http://schemas.microsoft.com/office/drawing/2014/main" id="{3421E92A-428C-4B4C-8A55-555561898BBE}"/>
              </a:ext>
            </a:extLst>
          </p:cNvPr>
          <p:cNvSpPr>
            <a:spLocks noGrp="1"/>
          </p:cNvSpPr>
          <p:nvPr>
            <p:ph type="body" sz="quarter" idx="43" hasCustomPrompt="1"/>
          </p:nvPr>
        </p:nvSpPr>
        <p:spPr>
          <a:xfrm>
            <a:off x="8005133" y="4386124"/>
            <a:ext cx="1610179" cy="430887"/>
          </a:xfrm>
        </p:spPr>
        <p:txBody>
          <a:bodyPr anchor="ctr"/>
          <a:lstStyle>
            <a:lvl1pPr marL="0" indent="0" algn="ctr">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29" name="Text Placeholder 6">
            <a:extLst>
              <a:ext uri="{FF2B5EF4-FFF2-40B4-BE49-F238E27FC236}">
                <a16:creationId xmlns:a16="http://schemas.microsoft.com/office/drawing/2014/main" id="{973D774F-6D1F-4DAB-B239-E31E7222A925}"/>
              </a:ext>
            </a:extLst>
          </p:cNvPr>
          <p:cNvSpPr>
            <a:spLocks noGrp="1"/>
          </p:cNvSpPr>
          <p:nvPr>
            <p:ph type="body" sz="quarter" idx="44" hasCustomPrompt="1"/>
          </p:nvPr>
        </p:nvSpPr>
        <p:spPr>
          <a:xfrm>
            <a:off x="9498352" y="3590630"/>
            <a:ext cx="1610179" cy="430887"/>
          </a:xfrm>
        </p:spPr>
        <p:txBody>
          <a:bodyPr anchor="ctr"/>
          <a:lstStyle>
            <a:lvl1pPr marL="0" indent="0" algn="ctr">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30" name="Text Placeholder 6">
            <a:extLst>
              <a:ext uri="{FF2B5EF4-FFF2-40B4-BE49-F238E27FC236}">
                <a16:creationId xmlns:a16="http://schemas.microsoft.com/office/drawing/2014/main" id="{6F7105FB-9CEA-4235-BA85-CBC391BDC509}"/>
              </a:ext>
            </a:extLst>
          </p:cNvPr>
          <p:cNvSpPr>
            <a:spLocks noGrp="1"/>
          </p:cNvSpPr>
          <p:nvPr>
            <p:ph type="body" sz="quarter" idx="45" hasCustomPrompt="1"/>
          </p:nvPr>
        </p:nvSpPr>
        <p:spPr>
          <a:xfrm>
            <a:off x="9440329" y="5280921"/>
            <a:ext cx="1610179" cy="430887"/>
          </a:xfrm>
        </p:spPr>
        <p:txBody>
          <a:bodyPr anchor="ctr"/>
          <a:lstStyle>
            <a:lvl1pPr marL="0" indent="0" algn="ctr">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33" name="Rectangle 32">
            <a:extLst>
              <a:ext uri="{FF2B5EF4-FFF2-40B4-BE49-F238E27FC236}">
                <a16:creationId xmlns:a16="http://schemas.microsoft.com/office/drawing/2014/main" id="{A269F452-9EAA-4223-8DC7-A410DFFB0B8C}"/>
              </a:ext>
            </a:extLst>
          </p:cNvPr>
          <p:cNvSpPr/>
          <p:nvPr userDrawn="1"/>
        </p:nvSpPr>
        <p:spPr>
          <a:xfrm>
            <a:off x="346989" y="3032833"/>
            <a:ext cx="1738290" cy="9996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34" name="Rectangle 33">
            <a:extLst>
              <a:ext uri="{FF2B5EF4-FFF2-40B4-BE49-F238E27FC236}">
                <a16:creationId xmlns:a16="http://schemas.microsoft.com/office/drawing/2014/main" id="{0C178CBF-DD85-4162-BD2D-08A584E217DE}"/>
              </a:ext>
            </a:extLst>
          </p:cNvPr>
          <p:cNvSpPr/>
          <p:nvPr userDrawn="1"/>
        </p:nvSpPr>
        <p:spPr>
          <a:xfrm>
            <a:off x="346989" y="4210767"/>
            <a:ext cx="1738290" cy="9996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39" name="Rectangle 38">
            <a:extLst>
              <a:ext uri="{FF2B5EF4-FFF2-40B4-BE49-F238E27FC236}">
                <a16:creationId xmlns:a16="http://schemas.microsoft.com/office/drawing/2014/main" id="{0962F0D0-4760-49A9-A646-EE0F84046A55}"/>
              </a:ext>
            </a:extLst>
          </p:cNvPr>
          <p:cNvSpPr/>
          <p:nvPr userDrawn="1"/>
        </p:nvSpPr>
        <p:spPr>
          <a:xfrm>
            <a:off x="346989" y="5388701"/>
            <a:ext cx="1738290" cy="8535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sp>
        <p:nvSpPr>
          <p:cNvPr id="46" name="Text Placeholder 6">
            <a:extLst>
              <a:ext uri="{FF2B5EF4-FFF2-40B4-BE49-F238E27FC236}">
                <a16:creationId xmlns:a16="http://schemas.microsoft.com/office/drawing/2014/main" id="{9401A867-4994-4CCA-B2B1-105887CFFF1C}"/>
              </a:ext>
            </a:extLst>
          </p:cNvPr>
          <p:cNvSpPr>
            <a:spLocks noGrp="1"/>
          </p:cNvSpPr>
          <p:nvPr>
            <p:ph type="body" sz="quarter" idx="37" hasCustomPrompt="1"/>
          </p:nvPr>
        </p:nvSpPr>
        <p:spPr>
          <a:xfrm>
            <a:off x="2195171" y="3032833"/>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7" name="Text Placeholder 6">
            <a:extLst>
              <a:ext uri="{FF2B5EF4-FFF2-40B4-BE49-F238E27FC236}">
                <a16:creationId xmlns:a16="http://schemas.microsoft.com/office/drawing/2014/main" id="{BE123BEC-B4D7-414F-9CAB-1482DBEAE2AE}"/>
              </a:ext>
            </a:extLst>
          </p:cNvPr>
          <p:cNvSpPr>
            <a:spLocks noGrp="1"/>
          </p:cNvSpPr>
          <p:nvPr>
            <p:ph type="body" sz="quarter" idx="38" hasCustomPrompt="1"/>
          </p:nvPr>
        </p:nvSpPr>
        <p:spPr>
          <a:xfrm>
            <a:off x="2195171" y="4210767"/>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8" name="Text Placeholder 6">
            <a:extLst>
              <a:ext uri="{FF2B5EF4-FFF2-40B4-BE49-F238E27FC236}">
                <a16:creationId xmlns:a16="http://schemas.microsoft.com/office/drawing/2014/main" id="{1DAC0B22-0394-4662-B778-8C13000037AA}"/>
              </a:ext>
            </a:extLst>
          </p:cNvPr>
          <p:cNvSpPr>
            <a:spLocks noGrp="1"/>
          </p:cNvSpPr>
          <p:nvPr>
            <p:ph type="body" sz="quarter" idx="39" hasCustomPrompt="1"/>
          </p:nvPr>
        </p:nvSpPr>
        <p:spPr>
          <a:xfrm>
            <a:off x="2195171" y="5388701"/>
            <a:ext cx="5105389" cy="184665"/>
          </a:xfrm>
        </p:spPr>
        <p:txBody>
          <a:bodyPr/>
          <a:lstStyle>
            <a:lvl1pPr marL="0" indent="0" algn="just">
              <a:lnSpc>
                <a:spcPct val="110000"/>
              </a:lnSpc>
              <a:spcBef>
                <a:spcPts val="0"/>
              </a:spcBef>
              <a:spcAft>
                <a:spcPts val="600"/>
              </a:spcAft>
              <a:buFont typeface="Wingdings" panose="05000000000000000000" pitchFamily="2" charset="2"/>
              <a:buNone/>
              <a:defRPr sz="1200"/>
            </a:lvl1pPr>
          </a:lstStyle>
          <a:p>
            <a:pPr lvl="0"/>
            <a:r>
              <a:rPr lang="en-US"/>
              <a:t>Edit Master text styles</a:t>
            </a:r>
          </a:p>
        </p:txBody>
      </p:sp>
      <p:sp>
        <p:nvSpPr>
          <p:cNvPr id="49" name="Text Placeholder 6">
            <a:extLst>
              <a:ext uri="{FF2B5EF4-FFF2-40B4-BE49-F238E27FC236}">
                <a16:creationId xmlns:a16="http://schemas.microsoft.com/office/drawing/2014/main" id="{E242CAD4-DA15-4890-98A7-C08F128A8D47}"/>
              </a:ext>
            </a:extLst>
          </p:cNvPr>
          <p:cNvSpPr>
            <a:spLocks noGrp="1"/>
          </p:cNvSpPr>
          <p:nvPr>
            <p:ph type="body" sz="quarter" idx="40" hasCustomPrompt="1"/>
          </p:nvPr>
        </p:nvSpPr>
        <p:spPr>
          <a:xfrm>
            <a:off x="491141" y="3317238"/>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50" name="Text Placeholder 6">
            <a:extLst>
              <a:ext uri="{FF2B5EF4-FFF2-40B4-BE49-F238E27FC236}">
                <a16:creationId xmlns:a16="http://schemas.microsoft.com/office/drawing/2014/main" id="{A1101D1C-2EDF-4A4C-9AB7-58F7B13C859A}"/>
              </a:ext>
            </a:extLst>
          </p:cNvPr>
          <p:cNvSpPr>
            <a:spLocks noGrp="1"/>
          </p:cNvSpPr>
          <p:nvPr>
            <p:ph type="body" sz="quarter" idx="41" hasCustomPrompt="1"/>
          </p:nvPr>
        </p:nvSpPr>
        <p:spPr>
          <a:xfrm>
            <a:off x="491141" y="4495172"/>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
        <p:nvSpPr>
          <p:cNvPr id="52" name="Text Placeholder 6">
            <a:extLst>
              <a:ext uri="{FF2B5EF4-FFF2-40B4-BE49-F238E27FC236}">
                <a16:creationId xmlns:a16="http://schemas.microsoft.com/office/drawing/2014/main" id="{CFEB41F1-D000-4965-8882-A2773A670889}"/>
              </a:ext>
            </a:extLst>
          </p:cNvPr>
          <p:cNvSpPr>
            <a:spLocks noGrp="1"/>
          </p:cNvSpPr>
          <p:nvPr>
            <p:ph type="body" sz="quarter" idx="42" hasCustomPrompt="1"/>
          </p:nvPr>
        </p:nvSpPr>
        <p:spPr>
          <a:xfrm>
            <a:off x="491141" y="5600009"/>
            <a:ext cx="1449986" cy="430887"/>
          </a:xfrm>
        </p:spPr>
        <p:txBody>
          <a:bodyPr anchor="ctr"/>
          <a:lstStyle>
            <a:lvl1pPr marL="0" indent="0" algn="l">
              <a:lnSpc>
                <a:spcPct val="100000"/>
              </a:lnSpc>
              <a:spcBef>
                <a:spcPts val="0"/>
              </a:spcBef>
              <a:spcAft>
                <a:spcPts val="1500"/>
              </a:spcAft>
              <a:buFont typeface="Wingdings" panose="05000000000000000000" pitchFamily="2" charset="2"/>
              <a:buNone/>
              <a:defRPr sz="1400" b="1" cap="all"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9876240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7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2" name="Rectangle 31">
            <a:extLst>
              <a:ext uri="{FF2B5EF4-FFF2-40B4-BE49-F238E27FC236}">
                <a16:creationId xmlns:a16="http://schemas.microsoft.com/office/drawing/2014/main" id="{70DA4D90-CDE6-4656-B371-5EF51799C5DF}"/>
              </a:ext>
            </a:extLst>
          </p:cNvPr>
          <p:cNvSpPr/>
          <p:nvPr userDrawn="1"/>
        </p:nvSpPr>
        <p:spPr>
          <a:xfrm>
            <a:off x="4187076" y="3772870"/>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7CD7640C-D729-44EF-A45D-2F8A8E2D7640}"/>
              </a:ext>
            </a:extLst>
          </p:cNvPr>
          <p:cNvSpPr/>
          <p:nvPr userDrawn="1"/>
        </p:nvSpPr>
        <p:spPr>
          <a:xfrm>
            <a:off x="4187076" y="1098556"/>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6C58EBC0-D4B5-42AA-A551-9AEE9E25B56F}"/>
              </a:ext>
            </a:extLst>
          </p:cNvPr>
          <p:cNvSpPr/>
          <p:nvPr userDrawn="1"/>
        </p:nvSpPr>
        <p:spPr>
          <a:xfrm>
            <a:off x="329061" y="3772870"/>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08DDBA0D-DAAE-422A-890E-37D858C109D4}"/>
              </a:ext>
            </a:extLst>
          </p:cNvPr>
          <p:cNvSpPr/>
          <p:nvPr userDrawn="1"/>
        </p:nvSpPr>
        <p:spPr>
          <a:xfrm>
            <a:off x="329061" y="1098556"/>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D3536EAD-54E4-42F2-B914-30B3CA3E3EE4}"/>
              </a:ext>
            </a:extLst>
          </p:cNvPr>
          <p:cNvSpPr/>
          <p:nvPr userDrawn="1"/>
        </p:nvSpPr>
        <p:spPr>
          <a:xfrm>
            <a:off x="8048230" y="3772870"/>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3DBEA25C-000F-4EE2-897F-2391BFBEE140}"/>
              </a:ext>
            </a:extLst>
          </p:cNvPr>
          <p:cNvSpPr/>
          <p:nvPr userDrawn="1"/>
        </p:nvSpPr>
        <p:spPr>
          <a:xfrm>
            <a:off x="8048230" y="1098556"/>
            <a:ext cx="3766482" cy="2583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hart Placeholder 4">
            <a:extLst>
              <a:ext uri="{FF2B5EF4-FFF2-40B4-BE49-F238E27FC236}">
                <a16:creationId xmlns:a16="http://schemas.microsoft.com/office/drawing/2014/main" id="{2A7FBD77-B462-4A45-A8B2-DD7D9CA133EF}"/>
              </a:ext>
            </a:extLst>
          </p:cNvPr>
          <p:cNvSpPr>
            <a:spLocks noGrp="1"/>
          </p:cNvSpPr>
          <p:nvPr>
            <p:ph type="chart" sz="quarter" idx="13"/>
          </p:nvPr>
        </p:nvSpPr>
        <p:spPr>
          <a:xfrm>
            <a:off x="446209" y="1175641"/>
            <a:ext cx="3532187" cy="2428875"/>
          </a:xfrm>
        </p:spPr>
        <p:txBody>
          <a:bodyPr anchor="ctr" anchorCtr="0">
            <a:noAutofit/>
          </a:bodyPr>
          <a:lstStyle>
            <a:lvl1pPr marL="0" indent="0" algn="ctr">
              <a:buNone/>
              <a:defRPr sz="1400"/>
            </a:lvl1pPr>
          </a:lstStyle>
          <a:p>
            <a:endParaRPr lang="en-US" dirty="0"/>
          </a:p>
        </p:txBody>
      </p:sp>
      <p:sp>
        <p:nvSpPr>
          <p:cNvPr id="48" name="Chart Placeholder 4">
            <a:extLst>
              <a:ext uri="{FF2B5EF4-FFF2-40B4-BE49-F238E27FC236}">
                <a16:creationId xmlns:a16="http://schemas.microsoft.com/office/drawing/2014/main" id="{F7B35599-1038-4A30-84A7-96DEA497DA56}"/>
              </a:ext>
            </a:extLst>
          </p:cNvPr>
          <p:cNvSpPr>
            <a:spLocks noGrp="1"/>
          </p:cNvSpPr>
          <p:nvPr>
            <p:ph type="chart" sz="quarter" idx="14"/>
          </p:nvPr>
        </p:nvSpPr>
        <p:spPr>
          <a:xfrm>
            <a:off x="4304224" y="1175641"/>
            <a:ext cx="3532187" cy="2428875"/>
          </a:xfrm>
        </p:spPr>
        <p:txBody>
          <a:bodyPr anchor="ctr" anchorCtr="0">
            <a:noAutofit/>
          </a:bodyPr>
          <a:lstStyle>
            <a:lvl1pPr marL="0" indent="0" algn="ctr">
              <a:buNone/>
              <a:defRPr sz="1400"/>
            </a:lvl1pPr>
          </a:lstStyle>
          <a:p>
            <a:endParaRPr lang="en-US" dirty="0"/>
          </a:p>
        </p:txBody>
      </p:sp>
      <p:sp>
        <p:nvSpPr>
          <p:cNvPr id="49" name="Chart Placeholder 4">
            <a:extLst>
              <a:ext uri="{FF2B5EF4-FFF2-40B4-BE49-F238E27FC236}">
                <a16:creationId xmlns:a16="http://schemas.microsoft.com/office/drawing/2014/main" id="{30963AA9-7709-498F-BE75-4C194B4A5611}"/>
              </a:ext>
            </a:extLst>
          </p:cNvPr>
          <p:cNvSpPr>
            <a:spLocks noGrp="1"/>
          </p:cNvSpPr>
          <p:nvPr>
            <p:ph type="chart" sz="quarter" idx="15"/>
          </p:nvPr>
        </p:nvSpPr>
        <p:spPr>
          <a:xfrm>
            <a:off x="8165378" y="1175641"/>
            <a:ext cx="3532187" cy="2428875"/>
          </a:xfrm>
        </p:spPr>
        <p:txBody>
          <a:bodyPr anchor="ctr" anchorCtr="0">
            <a:noAutofit/>
          </a:bodyPr>
          <a:lstStyle>
            <a:lvl1pPr marL="0" indent="0" algn="ctr">
              <a:buNone/>
              <a:defRPr sz="1400"/>
            </a:lvl1pPr>
          </a:lstStyle>
          <a:p>
            <a:endParaRPr lang="en-US" dirty="0"/>
          </a:p>
        </p:txBody>
      </p:sp>
      <p:sp>
        <p:nvSpPr>
          <p:cNvPr id="50" name="Chart Placeholder 4">
            <a:extLst>
              <a:ext uri="{FF2B5EF4-FFF2-40B4-BE49-F238E27FC236}">
                <a16:creationId xmlns:a16="http://schemas.microsoft.com/office/drawing/2014/main" id="{BAE50395-E23D-4D3E-A78A-35C5F00871D2}"/>
              </a:ext>
            </a:extLst>
          </p:cNvPr>
          <p:cNvSpPr>
            <a:spLocks noGrp="1"/>
          </p:cNvSpPr>
          <p:nvPr>
            <p:ph type="chart" sz="quarter" idx="16"/>
          </p:nvPr>
        </p:nvSpPr>
        <p:spPr>
          <a:xfrm>
            <a:off x="446209" y="3849955"/>
            <a:ext cx="3532187" cy="2428875"/>
          </a:xfrm>
        </p:spPr>
        <p:txBody>
          <a:bodyPr anchor="ctr" anchorCtr="0">
            <a:noAutofit/>
          </a:bodyPr>
          <a:lstStyle>
            <a:lvl1pPr marL="0" indent="0" algn="ctr">
              <a:buNone/>
              <a:defRPr sz="1400"/>
            </a:lvl1pPr>
          </a:lstStyle>
          <a:p>
            <a:endParaRPr lang="en-US" dirty="0"/>
          </a:p>
        </p:txBody>
      </p:sp>
      <p:sp>
        <p:nvSpPr>
          <p:cNvPr id="52" name="Chart Placeholder 4">
            <a:extLst>
              <a:ext uri="{FF2B5EF4-FFF2-40B4-BE49-F238E27FC236}">
                <a16:creationId xmlns:a16="http://schemas.microsoft.com/office/drawing/2014/main" id="{7DACB2C1-9F29-4F6E-8F70-4AE288B211D5}"/>
              </a:ext>
            </a:extLst>
          </p:cNvPr>
          <p:cNvSpPr>
            <a:spLocks noGrp="1"/>
          </p:cNvSpPr>
          <p:nvPr>
            <p:ph type="chart" sz="quarter" idx="17"/>
          </p:nvPr>
        </p:nvSpPr>
        <p:spPr>
          <a:xfrm>
            <a:off x="4304224" y="3849955"/>
            <a:ext cx="3532187" cy="2428875"/>
          </a:xfrm>
        </p:spPr>
        <p:txBody>
          <a:bodyPr anchor="ctr" anchorCtr="0">
            <a:noAutofit/>
          </a:bodyPr>
          <a:lstStyle>
            <a:lvl1pPr marL="0" indent="0" algn="ctr">
              <a:buNone/>
              <a:defRPr sz="1400"/>
            </a:lvl1pPr>
          </a:lstStyle>
          <a:p>
            <a:endParaRPr lang="en-US" dirty="0"/>
          </a:p>
        </p:txBody>
      </p:sp>
      <p:sp>
        <p:nvSpPr>
          <p:cNvPr id="53" name="Chart Placeholder 4">
            <a:extLst>
              <a:ext uri="{FF2B5EF4-FFF2-40B4-BE49-F238E27FC236}">
                <a16:creationId xmlns:a16="http://schemas.microsoft.com/office/drawing/2014/main" id="{20F10C35-36B0-4A5F-9827-89A9C96A9520}"/>
              </a:ext>
            </a:extLst>
          </p:cNvPr>
          <p:cNvSpPr>
            <a:spLocks noGrp="1"/>
          </p:cNvSpPr>
          <p:nvPr>
            <p:ph type="chart" sz="quarter" idx="18"/>
          </p:nvPr>
        </p:nvSpPr>
        <p:spPr>
          <a:xfrm>
            <a:off x="8165378" y="3849955"/>
            <a:ext cx="3532187" cy="2428875"/>
          </a:xfrm>
        </p:spPr>
        <p:txBody>
          <a:bodyPr anchor="ctr" anchorCtr="0">
            <a:noAutofit/>
          </a:bodyPr>
          <a:lstStyle>
            <a:lvl1pPr marL="0" indent="0" algn="ctr">
              <a:buNone/>
              <a:defRPr sz="1400"/>
            </a:lvl1pPr>
          </a:lstStyle>
          <a:p>
            <a:endParaRPr lang="en-US" dirty="0"/>
          </a:p>
        </p:txBody>
      </p:sp>
    </p:spTree>
    <p:extLst>
      <p:ext uri="{BB962C8B-B14F-4D97-AF65-F5344CB8AC3E}">
        <p14:creationId xmlns:p14="http://schemas.microsoft.com/office/powerpoint/2010/main" val="16795785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8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4" name="Rectangle 23">
            <a:extLst>
              <a:ext uri="{FF2B5EF4-FFF2-40B4-BE49-F238E27FC236}">
                <a16:creationId xmlns:a16="http://schemas.microsoft.com/office/drawing/2014/main" id="{1F842A23-5DD3-49B1-B4E0-F31F8350FC94}"/>
              </a:ext>
            </a:extLst>
          </p:cNvPr>
          <p:cNvSpPr/>
          <p:nvPr userDrawn="1"/>
        </p:nvSpPr>
        <p:spPr>
          <a:xfrm>
            <a:off x="329060" y="1173908"/>
            <a:ext cx="7303687" cy="5216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Chart Placeholder 4">
            <a:extLst>
              <a:ext uri="{FF2B5EF4-FFF2-40B4-BE49-F238E27FC236}">
                <a16:creationId xmlns:a16="http://schemas.microsoft.com/office/drawing/2014/main" id="{8FCD5F30-98A9-47CB-B3CA-D9C1094E02E7}"/>
              </a:ext>
            </a:extLst>
          </p:cNvPr>
          <p:cNvSpPr>
            <a:spLocks noGrp="1"/>
          </p:cNvSpPr>
          <p:nvPr>
            <p:ph type="chart" sz="quarter" idx="13"/>
          </p:nvPr>
        </p:nvSpPr>
        <p:spPr>
          <a:xfrm>
            <a:off x="446209" y="1945449"/>
            <a:ext cx="7069016" cy="4064826"/>
          </a:xfrm>
        </p:spPr>
        <p:txBody>
          <a:bodyPr anchor="ctr" anchorCtr="0">
            <a:noAutofit/>
          </a:bodyPr>
          <a:lstStyle>
            <a:lvl1pPr marL="0" indent="0" algn="ctr">
              <a:buNone/>
              <a:defRPr sz="1400"/>
            </a:lvl1pPr>
          </a:lstStyle>
          <a:p>
            <a:endParaRPr lang="en-US" dirty="0"/>
          </a:p>
        </p:txBody>
      </p:sp>
      <p:sp>
        <p:nvSpPr>
          <p:cNvPr id="26" name="Text Placeholder 6">
            <a:extLst>
              <a:ext uri="{FF2B5EF4-FFF2-40B4-BE49-F238E27FC236}">
                <a16:creationId xmlns:a16="http://schemas.microsoft.com/office/drawing/2014/main" id="{95EA5223-2724-42C0-A501-BB61D4B3DA9B}"/>
              </a:ext>
            </a:extLst>
          </p:cNvPr>
          <p:cNvSpPr>
            <a:spLocks noGrp="1"/>
          </p:cNvSpPr>
          <p:nvPr>
            <p:ph type="body" sz="quarter" idx="36" hasCustomPrompt="1"/>
          </p:nvPr>
        </p:nvSpPr>
        <p:spPr>
          <a:xfrm>
            <a:off x="7781925" y="1173908"/>
            <a:ext cx="3960132" cy="187167"/>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28" name="Text Placeholder 6">
            <a:extLst>
              <a:ext uri="{FF2B5EF4-FFF2-40B4-BE49-F238E27FC236}">
                <a16:creationId xmlns:a16="http://schemas.microsoft.com/office/drawing/2014/main" id="{B1859550-DAD3-407D-B8A0-68BB4B6AC478}"/>
              </a:ext>
            </a:extLst>
          </p:cNvPr>
          <p:cNvSpPr>
            <a:spLocks noGrp="1"/>
          </p:cNvSpPr>
          <p:nvPr>
            <p:ph type="body" sz="quarter" idx="37" hasCustomPrompt="1"/>
          </p:nvPr>
        </p:nvSpPr>
        <p:spPr>
          <a:xfrm>
            <a:off x="446209" y="6119168"/>
            <a:ext cx="7069016" cy="185115"/>
          </a:xfrm>
        </p:spPr>
        <p:txBody>
          <a:bodyPr/>
          <a:lstStyle>
            <a:lvl1pPr marL="0" indent="0" algn="just">
              <a:lnSpc>
                <a:spcPct val="100000"/>
              </a:lnSpc>
              <a:spcBef>
                <a:spcPts val="0"/>
              </a:spcBef>
              <a:spcAft>
                <a:spcPts val="1500"/>
              </a:spcAft>
              <a:buClr>
                <a:schemeClr val="accent1"/>
              </a:buClr>
              <a:buFontTx/>
              <a:buNone/>
              <a:defRPr lang="en-US" sz="12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18" name="Text Placeholder 4">
            <a:extLst>
              <a:ext uri="{FF2B5EF4-FFF2-40B4-BE49-F238E27FC236}">
                <a16:creationId xmlns:a16="http://schemas.microsoft.com/office/drawing/2014/main" id="{00CF1813-22AE-4236-AA17-3036EDBE3097}"/>
              </a:ext>
            </a:extLst>
          </p:cNvPr>
          <p:cNvSpPr>
            <a:spLocks noGrp="1"/>
          </p:cNvSpPr>
          <p:nvPr>
            <p:ph type="body" sz="quarter" idx="53" hasCustomPrompt="1"/>
          </p:nvPr>
        </p:nvSpPr>
        <p:spPr>
          <a:xfrm>
            <a:off x="446209" y="1329918"/>
            <a:ext cx="7069016" cy="184666"/>
          </a:xfrm>
        </p:spPr>
        <p:txBody>
          <a:bodyPr wrap="square" lIns="0" tIns="0" rIns="0" bIns="0" anchor="b">
            <a:no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a:t>EDIT MASTER TITLE</a:t>
            </a:r>
          </a:p>
        </p:txBody>
      </p:sp>
      <p:sp>
        <p:nvSpPr>
          <p:cNvPr id="19" name="Text Placeholder 4">
            <a:extLst>
              <a:ext uri="{FF2B5EF4-FFF2-40B4-BE49-F238E27FC236}">
                <a16:creationId xmlns:a16="http://schemas.microsoft.com/office/drawing/2014/main" id="{9B02C437-A223-460E-BBAB-228F2A0AC934}"/>
              </a:ext>
            </a:extLst>
          </p:cNvPr>
          <p:cNvSpPr>
            <a:spLocks noGrp="1"/>
          </p:cNvSpPr>
          <p:nvPr>
            <p:ph type="body" sz="quarter" idx="56" hasCustomPrompt="1"/>
          </p:nvPr>
        </p:nvSpPr>
        <p:spPr>
          <a:xfrm>
            <a:off x="446209" y="1575335"/>
            <a:ext cx="7069016" cy="184666"/>
          </a:xfrm>
        </p:spPr>
        <p:txBody>
          <a:bodyPr wrap="square" lIns="0" tIns="0" rIns="0" bIns="0" anchor="b">
            <a:noAutofit/>
          </a:bodyPr>
          <a:lstStyle>
            <a:lvl1pPr marL="0" indent="0">
              <a:lnSpc>
                <a:spcPct val="100000"/>
              </a:lnSpc>
              <a:spcBef>
                <a:spcPts val="0"/>
              </a:spcBef>
              <a:spcAft>
                <a:spcPts val="0"/>
              </a:spcAft>
              <a:buNone/>
              <a:defRPr lang="en-US" sz="1200" b="0" dirty="0">
                <a:solidFill>
                  <a:schemeClr val="bg1">
                    <a:lumMod val="50000"/>
                  </a:schemeClr>
                </a:solidFill>
              </a:defRPr>
            </a:lvl1pPr>
          </a:lstStyle>
          <a:p>
            <a:pPr marL="0" lvl="0">
              <a:spcAft>
                <a:spcPts val="500"/>
              </a:spcAft>
            </a:pPr>
            <a:r>
              <a:rPr lang="en-US"/>
              <a:t>Edit master title</a:t>
            </a:r>
          </a:p>
        </p:txBody>
      </p:sp>
    </p:spTree>
    <p:extLst>
      <p:ext uri="{BB962C8B-B14F-4D97-AF65-F5344CB8AC3E}">
        <p14:creationId xmlns:p14="http://schemas.microsoft.com/office/powerpoint/2010/main" val="20753026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9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 name="Rectangle 17">
            <a:extLst>
              <a:ext uri="{FF2B5EF4-FFF2-40B4-BE49-F238E27FC236}">
                <a16:creationId xmlns:a16="http://schemas.microsoft.com/office/drawing/2014/main" id="{53E3BF6A-9238-42FC-98C1-BEB474D35D70}"/>
              </a:ext>
            </a:extLst>
          </p:cNvPr>
          <p:cNvSpPr/>
          <p:nvPr userDrawn="1"/>
        </p:nvSpPr>
        <p:spPr>
          <a:xfrm>
            <a:off x="2389952" y="1582671"/>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B5C341A-5405-4F3B-97A0-B9C268997181}"/>
              </a:ext>
            </a:extLst>
          </p:cNvPr>
          <p:cNvSpPr/>
          <p:nvPr userDrawn="1"/>
        </p:nvSpPr>
        <p:spPr>
          <a:xfrm>
            <a:off x="344245" y="1582671"/>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EE4B376B-2BB5-454E-B8FC-E6FE748E1DD0}"/>
              </a:ext>
            </a:extLst>
          </p:cNvPr>
          <p:cNvSpPr/>
          <p:nvPr userDrawn="1"/>
        </p:nvSpPr>
        <p:spPr>
          <a:xfrm>
            <a:off x="4435658" y="1582671"/>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EF6C509-8134-44C5-ADEB-B3364CBFED6E}"/>
              </a:ext>
            </a:extLst>
          </p:cNvPr>
          <p:cNvSpPr/>
          <p:nvPr userDrawn="1"/>
        </p:nvSpPr>
        <p:spPr>
          <a:xfrm>
            <a:off x="344245" y="2752197"/>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FD5DF96B-AB5B-4E89-A351-18C77006E223}"/>
              </a:ext>
            </a:extLst>
          </p:cNvPr>
          <p:cNvSpPr/>
          <p:nvPr userDrawn="1"/>
        </p:nvSpPr>
        <p:spPr>
          <a:xfrm>
            <a:off x="2389952" y="2752197"/>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542BF4A8-CEAA-4688-BB9D-606FC0B83513}"/>
              </a:ext>
            </a:extLst>
          </p:cNvPr>
          <p:cNvSpPr/>
          <p:nvPr userDrawn="1"/>
        </p:nvSpPr>
        <p:spPr>
          <a:xfrm>
            <a:off x="4435658" y="2752197"/>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387A863-3118-4259-9A67-E49D5F5E3B5B}"/>
              </a:ext>
            </a:extLst>
          </p:cNvPr>
          <p:cNvSpPr/>
          <p:nvPr userDrawn="1"/>
        </p:nvSpPr>
        <p:spPr>
          <a:xfrm>
            <a:off x="344245" y="3921723"/>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E367928-722D-4718-945F-CB6FEA78C46D}"/>
              </a:ext>
            </a:extLst>
          </p:cNvPr>
          <p:cNvSpPr/>
          <p:nvPr userDrawn="1"/>
        </p:nvSpPr>
        <p:spPr>
          <a:xfrm>
            <a:off x="2389952" y="3921723"/>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13D143AD-C4CA-4F0D-AA60-84237295E4C2}"/>
              </a:ext>
            </a:extLst>
          </p:cNvPr>
          <p:cNvSpPr/>
          <p:nvPr userDrawn="1"/>
        </p:nvSpPr>
        <p:spPr>
          <a:xfrm>
            <a:off x="4435658" y="3921723"/>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DBBED6F7-16B6-496B-A03F-EBC70AD1CBB0}"/>
              </a:ext>
            </a:extLst>
          </p:cNvPr>
          <p:cNvSpPr/>
          <p:nvPr userDrawn="1"/>
        </p:nvSpPr>
        <p:spPr>
          <a:xfrm>
            <a:off x="344245" y="5091250"/>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1B5D8E00-24A6-41A9-A74B-A95B8F0AD24A}"/>
              </a:ext>
            </a:extLst>
          </p:cNvPr>
          <p:cNvSpPr/>
          <p:nvPr userDrawn="1"/>
        </p:nvSpPr>
        <p:spPr>
          <a:xfrm>
            <a:off x="2389952" y="5091250"/>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F596ABD7-9F2B-4F6E-917A-4CF0F94416FB}"/>
              </a:ext>
            </a:extLst>
          </p:cNvPr>
          <p:cNvSpPr/>
          <p:nvPr userDrawn="1"/>
        </p:nvSpPr>
        <p:spPr>
          <a:xfrm>
            <a:off x="4435658" y="5091250"/>
            <a:ext cx="1878844" cy="998695"/>
          </a:xfrm>
          <a:prstGeom prst="rect">
            <a:avLst/>
          </a:prstGeom>
          <a:solidFill>
            <a:schemeClr val="bg1"/>
          </a:solidFill>
          <a:ln>
            <a:solidFill>
              <a:schemeClr val="tx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 Placeholder 6">
            <a:extLst>
              <a:ext uri="{FF2B5EF4-FFF2-40B4-BE49-F238E27FC236}">
                <a16:creationId xmlns:a16="http://schemas.microsoft.com/office/drawing/2014/main" id="{3186F7B7-E7CE-4140-B70B-49164E690FF2}"/>
              </a:ext>
            </a:extLst>
          </p:cNvPr>
          <p:cNvSpPr>
            <a:spLocks noGrp="1"/>
          </p:cNvSpPr>
          <p:nvPr userDrawn="1">
            <p:ph type="body" sz="quarter" idx="34" hasCustomPrompt="1"/>
          </p:nvPr>
        </p:nvSpPr>
        <p:spPr>
          <a:xfrm>
            <a:off x="346989" y="1218081"/>
            <a:ext cx="5970257" cy="246221"/>
          </a:xfrm>
        </p:spPr>
        <p:txBody>
          <a:bodyPr wrap="square" lIns="0" tIns="0" rIns="0" bIns="0" anchor="b">
            <a:spAutoFit/>
          </a:bodyPr>
          <a:lstStyle>
            <a:lvl1pPr marL="0" indent="0">
              <a:lnSpc>
                <a:spcPct val="100000"/>
              </a:lnSpc>
              <a:spcBef>
                <a:spcPts val="0"/>
              </a:spcBef>
              <a:spcAft>
                <a:spcPts val="0"/>
              </a:spcAft>
              <a:buNone/>
              <a:defRPr lang="en-US" sz="1600" b="1" cap="all" baseline="0" dirty="0">
                <a:solidFill>
                  <a:srgbClr val="54B8BD"/>
                </a:solidFill>
              </a:defRPr>
            </a:lvl1pPr>
          </a:lstStyle>
          <a:p>
            <a:pPr marL="0" lvl="0">
              <a:spcAft>
                <a:spcPts val="500"/>
              </a:spcAft>
            </a:pPr>
            <a:r>
              <a:rPr lang="en-US"/>
              <a:t>EDIT MASTER TEXT STYLES</a:t>
            </a:r>
          </a:p>
        </p:txBody>
      </p:sp>
      <p:sp>
        <p:nvSpPr>
          <p:cNvPr id="36" name="Text Placeholder 6">
            <a:extLst>
              <a:ext uri="{FF2B5EF4-FFF2-40B4-BE49-F238E27FC236}">
                <a16:creationId xmlns:a16="http://schemas.microsoft.com/office/drawing/2014/main" id="{B9DB7E9B-2901-4E91-911D-A1F446131C02}"/>
              </a:ext>
            </a:extLst>
          </p:cNvPr>
          <p:cNvSpPr>
            <a:spLocks noGrp="1"/>
          </p:cNvSpPr>
          <p:nvPr>
            <p:ph type="body" sz="quarter" idx="35" hasCustomPrompt="1"/>
          </p:nvPr>
        </p:nvSpPr>
        <p:spPr>
          <a:xfrm>
            <a:off x="6795844" y="1218081"/>
            <a:ext cx="5049165" cy="246221"/>
          </a:xfrm>
        </p:spPr>
        <p:txBody>
          <a:bodyPr wrap="square" lIns="0" tIns="0" rIns="0" bIns="0" anchor="b">
            <a:spAutoFit/>
          </a:bodyPr>
          <a:lstStyle>
            <a:lvl1pPr marL="0" indent="0">
              <a:lnSpc>
                <a:spcPct val="100000"/>
              </a:lnSpc>
              <a:spcBef>
                <a:spcPts val="0"/>
              </a:spcBef>
              <a:spcAft>
                <a:spcPts val="0"/>
              </a:spcAft>
              <a:buNone/>
              <a:defRPr lang="en-US" sz="1600" b="1" cap="all" baseline="0" dirty="0">
                <a:solidFill>
                  <a:srgbClr val="54B8BD"/>
                </a:solidFill>
              </a:defRPr>
            </a:lvl1pPr>
          </a:lstStyle>
          <a:p>
            <a:pPr marL="0" lvl="0">
              <a:spcAft>
                <a:spcPts val="500"/>
              </a:spcAft>
            </a:pPr>
            <a:r>
              <a:rPr lang="en-US"/>
              <a:t>EDIT MASTER TEXT STYLES</a:t>
            </a:r>
          </a:p>
        </p:txBody>
      </p:sp>
      <p:sp>
        <p:nvSpPr>
          <p:cNvPr id="37" name="Speech Bubble: Rectangle 36">
            <a:extLst>
              <a:ext uri="{FF2B5EF4-FFF2-40B4-BE49-F238E27FC236}">
                <a16:creationId xmlns:a16="http://schemas.microsoft.com/office/drawing/2014/main" id="{40507A36-FCF9-4335-B4E6-9522BF4F579F}"/>
              </a:ext>
            </a:extLst>
          </p:cNvPr>
          <p:cNvSpPr/>
          <p:nvPr userDrawn="1"/>
        </p:nvSpPr>
        <p:spPr>
          <a:xfrm>
            <a:off x="6795845" y="1582671"/>
            <a:ext cx="3349642" cy="1410705"/>
          </a:xfrm>
          <a:prstGeom prst="wedgeRectCallout">
            <a:avLst>
              <a:gd name="adj1" fmla="val 55328"/>
              <a:gd name="adj2" fmla="val -2001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0CD59EE9-6261-4D22-A6EF-E53F64454970}"/>
              </a:ext>
            </a:extLst>
          </p:cNvPr>
          <p:cNvSpPr/>
          <p:nvPr userDrawn="1"/>
        </p:nvSpPr>
        <p:spPr>
          <a:xfrm>
            <a:off x="6860118" y="1642660"/>
            <a:ext cx="3221096" cy="12907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78D5346A-5EF6-4778-A713-24913CED1A7F}"/>
              </a:ext>
            </a:extLst>
          </p:cNvPr>
          <p:cNvSpPr>
            <a:spLocks noGrp="1"/>
          </p:cNvSpPr>
          <p:nvPr>
            <p:ph type="body" sz="quarter" idx="36"/>
          </p:nvPr>
        </p:nvSpPr>
        <p:spPr>
          <a:xfrm>
            <a:off x="6972300" y="1729974"/>
            <a:ext cx="3018224" cy="1079334"/>
          </a:xfrm>
        </p:spPr>
        <p:txBody>
          <a:bodyPr wrap="square" lIns="0" tIns="0" rIns="0" bIns="0" anchor="t">
            <a:noAutofit/>
          </a:bodyPr>
          <a:lstStyle>
            <a:lvl1pPr marL="0" indent="0">
              <a:buNone/>
              <a:defRPr lang="en-US" sz="1000" i="1"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marL="0" lvl="0">
              <a:lnSpc>
                <a:spcPct val="110000"/>
              </a:lnSpc>
              <a:spcAft>
                <a:spcPts val="600"/>
              </a:spcAft>
            </a:pPr>
            <a:r>
              <a:rPr lang="en-US"/>
              <a:t>Click to edit Master text styles</a:t>
            </a:r>
          </a:p>
        </p:txBody>
      </p:sp>
      <p:sp>
        <p:nvSpPr>
          <p:cNvPr id="41" name="Text Placeholder 6">
            <a:extLst>
              <a:ext uri="{FF2B5EF4-FFF2-40B4-BE49-F238E27FC236}">
                <a16:creationId xmlns:a16="http://schemas.microsoft.com/office/drawing/2014/main" id="{118E2FEB-6265-462B-A983-DDCB7799FB2F}"/>
              </a:ext>
            </a:extLst>
          </p:cNvPr>
          <p:cNvSpPr>
            <a:spLocks noGrp="1"/>
          </p:cNvSpPr>
          <p:nvPr>
            <p:ph type="body" sz="quarter" idx="37" hasCustomPrompt="1"/>
          </p:nvPr>
        </p:nvSpPr>
        <p:spPr>
          <a:xfrm>
            <a:off x="10402361" y="1819473"/>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1" cap="all" baseline="0">
                <a:solidFill>
                  <a:schemeClr val="accent1"/>
                </a:solidFill>
              </a:defRPr>
            </a:lvl1pPr>
          </a:lstStyle>
          <a:p>
            <a:pPr lvl="0"/>
            <a:r>
              <a:rPr lang="en-US"/>
              <a:t>NAME</a:t>
            </a:r>
          </a:p>
        </p:txBody>
      </p:sp>
      <p:sp>
        <p:nvSpPr>
          <p:cNvPr id="42" name="Text Placeholder 6">
            <a:extLst>
              <a:ext uri="{FF2B5EF4-FFF2-40B4-BE49-F238E27FC236}">
                <a16:creationId xmlns:a16="http://schemas.microsoft.com/office/drawing/2014/main" id="{839D7DC1-9FE5-4999-A729-01A2C4363392}"/>
              </a:ext>
            </a:extLst>
          </p:cNvPr>
          <p:cNvSpPr>
            <a:spLocks noGrp="1"/>
          </p:cNvSpPr>
          <p:nvPr>
            <p:ph type="body" sz="quarter" idx="38" hasCustomPrompt="1"/>
          </p:nvPr>
        </p:nvSpPr>
        <p:spPr>
          <a:xfrm>
            <a:off x="10402361" y="2082018"/>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0">
                <a:solidFill>
                  <a:schemeClr val="tx1"/>
                </a:solidFill>
              </a:defRPr>
            </a:lvl1pPr>
          </a:lstStyle>
          <a:p>
            <a:pPr lvl="0"/>
            <a:r>
              <a:rPr lang="en-US"/>
              <a:t>Designation | Company</a:t>
            </a:r>
          </a:p>
        </p:txBody>
      </p:sp>
      <p:sp>
        <p:nvSpPr>
          <p:cNvPr id="43" name="Speech Bubble: Rectangle 42">
            <a:extLst>
              <a:ext uri="{FF2B5EF4-FFF2-40B4-BE49-F238E27FC236}">
                <a16:creationId xmlns:a16="http://schemas.microsoft.com/office/drawing/2014/main" id="{81FE023B-B654-4A02-8AF9-425C218F80D3}"/>
              </a:ext>
            </a:extLst>
          </p:cNvPr>
          <p:cNvSpPr/>
          <p:nvPr userDrawn="1"/>
        </p:nvSpPr>
        <p:spPr>
          <a:xfrm flipH="1">
            <a:off x="8495367" y="3275321"/>
            <a:ext cx="3349642" cy="1410705"/>
          </a:xfrm>
          <a:prstGeom prst="wedgeRectCallout">
            <a:avLst>
              <a:gd name="adj1" fmla="val 55328"/>
              <a:gd name="adj2" fmla="val -2001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24CAAC26-A54B-48C4-8C7A-CEE082F55818}"/>
              </a:ext>
            </a:extLst>
          </p:cNvPr>
          <p:cNvSpPr/>
          <p:nvPr userDrawn="1"/>
        </p:nvSpPr>
        <p:spPr>
          <a:xfrm>
            <a:off x="8559640" y="3335310"/>
            <a:ext cx="3221096" cy="12907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 Placeholder 6">
            <a:extLst>
              <a:ext uri="{FF2B5EF4-FFF2-40B4-BE49-F238E27FC236}">
                <a16:creationId xmlns:a16="http://schemas.microsoft.com/office/drawing/2014/main" id="{24A480BA-325A-4259-A105-C97929351429}"/>
              </a:ext>
            </a:extLst>
          </p:cNvPr>
          <p:cNvSpPr>
            <a:spLocks noGrp="1"/>
          </p:cNvSpPr>
          <p:nvPr>
            <p:ph type="body" sz="quarter" idx="39"/>
          </p:nvPr>
        </p:nvSpPr>
        <p:spPr>
          <a:xfrm>
            <a:off x="8661076" y="3422624"/>
            <a:ext cx="3018224" cy="1079334"/>
          </a:xfrm>
        </p:spPr>
        <p:txBody>
          <a:bodyPr wrap="square" lIns="0" tIns="0" rIns="0" bIns="0" anchor="t">
            <a:noAutofit/>
          </a:bodyPr>
          <a:lstStyle>
            <a:lvl1pPr marL="0" indent="0">
              <a:buNone/>
              <a:defRPr lang="en-US" sz="1000" i="1"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marL="0" lvl="0">
              <a:lnSpc>
                <a:spcPct val="110000"/>
              </a:lnSpc>
              <a:spcAft>
                <a:spcPts val="600"/>
              </a:spcAft>
            </a:pPr>
            <a:r>
              <a:rPr lang="en-US"/>
              <a:t>Click to edit Master text styles</a:t>
            </a:r>
          </a:p>
        </p:txBody>
      </p:sp>
      <p:sp>
        <p:nvSpPr>
          <p:cNvPr id="46" name="Text Placeholder 6">
            <a:extLst>
              <a:ext uri="{FF2B5EF4-FFF2-40B4-BE49-F238E27FC236}">
                <a16:creationId xmlns:a16="http://schemas.microsoft.com/office/drawing/2014/main" id="{7B2C8CD6-46B1-4767-BF8B-BD56119C084A}"/>
              </a:ext>
            </a:extLst>
          </p:cNvPr>
          <p:cNvSpPr>
            <a:spLocks noGrp="1"/>
          </p:cNvSpPr>
          <p:nvPr>
            <p:ph type="body" sz="quarter" idx="40" hasCustomPrompt="1"/>
          </p:nvPr>
        </p:nvSpPr>
        <p:spPr>
          <a:xfrm>
            <a:off x="6795844" y="3512123"/>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1" cap="all" baseline="0">
                <a:solidFill>
                  <a:schemeClr val="accent2"/>
                </a:solidFill>
              </a:defRPr>
            </a:lvl1pPr>
          </a:lstStyle>
          <a:p>
            <a:pPr lvl="0"/>
            <a:r>
              <a:rPr lang="en-US"/>
              <a:t>NAME</a:t>
            </a:r>
          </a:p>
        </p:txBody>
      </p:sp>
      <p:sp>
        <p:nvSpPr>
          <p:cNvPr id="47" name="Text Placeholder 6">
            <a:extLst>
              <a:ext uri="{FF2B5EF4-FFF2-40B4-BE49-F238E27FC236}">
                <a16:creationId xmlns:a16="http://schemas.microsoft.com/office/drawing/2014/main" id="{9B870327-ED09-43F6-813D-C25A6C02B4C4}"/>
              </a:ext>
            </a:extLst>
          </p:cNvPr>
          <p:cNvSpPr>
            <a:spLocks noGrp="1"/>
          </p:cNvSpPr>
          <p:nvPr>
            <p:ph type="body" sz="quarter" idx="41" hasCustomPrompt="1"/>
          </p:nvPr>
        </p:nvSpPr>
        <p:spPr>
          <a:xfrm>
            <a:off x="6795844" y="3774668"/>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0">
                <a:solidFill>
                  <a:schemeClr val="tx1"/>
                </a:solidFill>
              </a:defRPr>
            </a:lvl1pPr>
          </a:lstStyle>
          <a:p>
            <a:pPr lvl="0"/>
            <a:r>
              <a:rPr lang="en-US"/>
              <a:t>Designation | Company</a:t>
            </a:r>
          </a:p>
        </p:txBody>
      </p:sp>
      <p:sp>
        <p:nvSpPr>
          <p:cNvPr id="48" name="Speech Bubble: Rectangle 47">
            <a:extLst>
              <a:ext uri="{FF2B5EF4-FFF2-40B4-BE49-F238E27FC236}">
                <a16:creationId xmlns:a16="http://schemas.microsoft.com/office/drawing/2014/main" id="{BF93E442-D13F-4AEE-ACDA-9FCCC5D00075}"/>
              </a:ext>
            </a:extLst>
          </p:cNvPr>
          <p:cNvSpPr/>
          <p:nvPr userDrawn="1"/>
        </p:nvSpPr>
        <p:spPr>
          <a:xfrm>
            <a:off x="6795845" y="4930918"/>
            <a:ext cx="3349642" cy="1410705"/>
          </a:xfrm>
          <a:prstGeom prst="wedgeRectCallout">
            <a:avLst>
              <a:gd name="adj1" fmla="val 55328"/>
              <a:gd name="adj2" fmla="val -2001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2DC9650B-724F-4841-B4E1-00C72BCEFBB3}"/>
              </a:ext>
            </a:extLst>
          </p:cNvPr>
          <p:cNvSpPr/>
          <p:nvPr userDrawn="1"/>
        </p:nvSpPr>
        <p:spPr>
          <a:xfrm>
            <a:off x="6860118" y="4990907"/>
            <a:ext cx="3221096" cy="1290728"/>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 Placeholder 6">
            <a:extLst>
              <a:ext uri="{FF2B5EF4-FFF2-40B4-BE49-F238E27FC236}">
                <a16:creationId xmlns:a16="http://schemas.microsoft.com/office/drawing/2014/main" id="{9198E4C1-1C06-48B6-8A6D-9E46DDC66C14}"/>
              </a:ext>
            </a:extLst>
          </p:cNvPr>
          <p:cNvSpPr>
            <a:spLocks noGrp="1"/>
          </p:cNvSpPr>
          <p:nvPr>
            <p:ph type="body" sz="quarter" idx="42"/>
          </p:nvPr>
        </p:nvSpPr>
        <p:spPr>
          <a:xfrm>
            <a:off x="6972300" y="5078221"/>
            <a:ext cx="3018224" cy="1079334"/>
          </a:xfrm>
        </p:spPr>
        <p:txBody>
          <a:bodyPr wrap="square" lIns="0" tIns="0" rIns="0" bIns="0" anchor="t">
            <a:noAutofit/>
          </a:bodyPr>
          <a:lstStyle>
            <a:lvl1pPr marL="0" indent="0">
              <a:buNone/>
              <a:defRPr lang="en-US" sz="1000" i="1"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marL="0" lvl="0">
              <a:lnSpc>
                <a:spcPct val="110000"/>
              </a:lnSpc>
              <a:spcAft>
                <a:spcPts val="600"/>
              </a:spcAft>
            </a:pPr>
            <a:r>
              <a:rPr lang="en-US"/>
              <a:t>Click to edit Master text styles</a:t>
            </a:r>
          </a:p>
        </p:txBody>
      </p:sp>
      <p:sp>
        <p:nvSpPr>
          <p:cNvPr id="51" name="Text Placeholder 6">
            <a:extLst>
              <a:ext uri="{FF2B5EF4-FFF2-40B4-BE49-F238E27FC236}">
                <a16:creationId xmlns:a16="http://schemas.microsoft.com/office/drawing/2014/main" id="{3497C6FB-A9DF-473C-8208-9DB5704F22EB}"/>
              </a:ext>
            </a:extLst>
          </p:cNvPr>
          <p:cNvSpPr>
            <a:spLocks noGrp="1"/>
          </p:cNvSpPr>
          <p:nvPr>
            <p:ph type="body" sz="quarter" idx="43" hasCustomPrompt="1"/>
          </p:nvPr>
        </p:nvSpPr>
        <p:spPr>
          <a:xfrm>
            <a:off x="10402361" y="5167720"/>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1" cap="all" baseline="0">
                <a:solidFill>
                  <a:schemeClr val="accent3"/>
                </a:solidFill>
              </a:defRPr>
            </a:lvl1pPr>
          </a:lstStyle>
          <a:p>
            <a:pPr lvl="0"/>
            <a:r>
              <a:rPr lang="en-US"/>
              <a:t>NAME</a:t>
            </a:r>
          </a:p>
        </p:txBody>
      </p:sp>
      <p:sp>
        <p:nvSpPr>
          <p:cNvPr id="52" name="Text Placeholder 6">
            <a:extLst>
              <a:ext uri="{FF2B5EF4-FFF2-40B4-BE49-F238E27FC236}">
                <a16:creationId xmlns:a16="http://schemas.microsoft.com/office/drawing/2014/main" id="{C23F1FA7-047A-498B-86A3-6F1BFBA2FB36}"/>
              </a:ext>
            </a:extLst>
          </p:cNvPr>
          <p:cNvSpPr>
            <a:spLocks noGrp="1"/>
          </p:cNvSpPr>
          <p:nvPr>
            <p:ph type="body" sz="quarter" idx="44" hasCustomPrompt="1"/>
          </p:nvPr>
        </p:nvSpPr>
        <p:spPr>
          <a:xfrm>
            <a:off x="10402361" y="5430265"/>
            <a:ext cx="1439403" cy="153888"/>
          </a:xfrm>
        </p:spPr>
        <p:txBody>
          <a:bodyPr wrap="square">
            <a:spAutoFit/>
          </a:bodyPr>
          <a:lstStyle>
            <a:lvl1pPr marL="0" indent="0" algn="l">
              <a:lnSpc>
                <a:spcPct val="100000"/>
              </a:lnSpc>
              <a:spcBef>
                <a:spcPts val="0"/>
              </a:spcBef>
              <a:spcAft>
                <a:spcPts val="1500"/>
              </a:spcAft>
              <a:buFont typeface="Wingdings" panose="05000000000000000000" pitchFamily="2" charset="2"/>
              <a:buNone/>
              <a:defRPr sz="1000" b="0">
                <a:solidFill>
                  <a:schemeClr val="tx1"/>
                </a:solidFill>
              </a:defRPr>
            </a:lvl1pPr>
          </a:lstStyle>
          <a:p>
            <a:pPr lvl="0"/>
            <a:r>
              <a:rPr lang="en-US"/>
              <a:t>Designation | Company</a:t>
            </a:r>
          </a:p>
        </p:txBody>
      </p:sp>
    </p:spTree>
    <p:extLst>
      <p:ext uri="{BB962C8B-B14F-4D97-AF65-F5344CB8AC3E}">
        <p14:creationId xmlns:p14="http://schemas.microsoft.com/office/powerpoint/2010/main" val="15405538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0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34" name="Text Placeholder 6">
            <a:extLst>
              <a:ext uri="{FF2B5EF4-FFF2-40B4-BE49-F238E27FC236}">
                <a16:creationId xmlns:a16="http://schemas.microsoft.com/office/drawing/2014/main" id="{3186F7B7-E7CE-4140-B70B-49164E690FF2}"/>
              </a:ext>
            </a:extLst>
          </p:cNvPr>
          <p:cNvSpPr>
            <a:spLocks noGrp="1"/>
          </p:cNvSpPr>
          <p:nvPr userDrawn="1">
            <p:ph type="body" sz="quarter" idx="34" hasCustomPrompt="1"/>
          </p:nvPr>
        </p:nvSpPr>
        <p:spPr>
          <a:xfrm>
            <a:off x="2163911" y="1345376"/>
            <a:ext cx="8883822" cy="171585"/>
          </a:xfrm>
        </p:spPr>
        <p:txBody>
          <a:bodyPr wrap="square" lIns="0" tIns="0" rIns="0" bIns="0" anchor="t">
            <a:spAutoFit/>
          </a:bodyPr>
          <a:lstStyle>
            <a:lvl1pPr marL="0" indent="0">
              <a:buNone/>
              <a:defRPr lang="en-US" sz="1100" b="1" kern="1200" cap="all" baseline="0" dirty="0">
                <a:solidFill>
                  <a:schemeClr val="accent1"/>
                </a:solidFill>
                <a:latin typeface="+mn-lt"/>
                <a:ea typeface="+mn-ea"/>
                <a:cs typeface="+mn-cs"/>
              </a:defRPr>
            </a:lvl1pPr>
          </a:lstStyle>
          <a:p>
            <a:pPr marL="0" lvl="0" algn="l" defTabSz="914400" rtl="0" eaLnBrk="1" latinLnBrk="0" hangingPunct="1">
              <a:lnSpc>
                <a:spcPct val="110000"/>
              </a:lnSpc>
              <a:spcAft>
                <a:spcPts val="300"/>
              </a:spcAft>
            </a:pPr>
            <a:r>
              <a:rPr lang="en-US"/>
              <a:t>EDIT MASTER TEXT STYLES</a:t>
            </a:r>
          </a:p>
        </p:txBody>
      </p:sp>
      <p:sp>
        <p:nvSpPr>
          <p:cNvPr id="36" name="Text Placeholder 6">
            <a:extLst>
              <a:ext uri="{FF2B5EF4-FFF2-40B4-BE49-F238E27FC236}">
                <a16:creationId xmlns:a16="http://schemas.microsoft.com/office/drawing/2014/main" id="{B9DB7E9B-2901-4E91-911D-A1F446131C02}"/>
              </a:ext>
            </a:extLst>
          </p:cNvPr>
          <p:cNvSpPr>
            <a:spLocks noGrp="1"/>
          </p:cNvSpPr>
          <p:nvPr>
            <p:ph type="body" sz="quarter" idx="35" hasCustomPrompt="1"/>
          </p:nvPr>
        </p:nvSpPr>
        <p:spPr>
          <a:xfrm>
            <a:off x="11221763" y="1159171"/>
            <a:ext cx="669704" cy="355931"/>
          </a:xfrm>
        </p:spPr>
        <p:txBody>
          <a:bodyPr vert="horz" wrap="square" lIns="0" tIns="0" rIns="0" bIns="0" rtlCol="0" anchor="b">
            <a:spAutoFit/>
          </a:bodyPr>
          <a:lstStyle>
            <a:lvl1pPr>
              <a:defRPr lang="en-US" sz="1100" b="1" cap="all" baseline="0" dirty="0">
                <a:solidFill>
                  <a:schemeClr val="accent1"/>
                </a:solidFill>
              </a:defRPr>
            </a:lvl1pPr>
          </a:lstStyle>
          <a:p>
            <a:pPr marL="0" lvl="0" indent="0">
              <a:lnSpc>
                <a:spcPct val="110000"/>
              </a:lnSpc>
              <a:spcAft>
                <a:spcPts val="300"/>
              </a:spcAft>
              <a:buNone/>
            </a:pPr>
            <a:r>
              <a:rPr lang="en-US"/>
              <a:t>TEXT TITLE</a:t>
            </a:r>
          </a:p>
        </p:txBody>
      </p:sp>
      <p:sp>
        <p:nvSpPr>
          <p:cNvPr id="53" name="Text Placeholder 3">
            <a:extLst>
              <a:ext uri="{FF2B5EF4-FFF2-40B4-BE49-F238E27FC236}">
                <a16:creationId xmlns:a16="http://schemas.microsoft.com/office/drawing/2014/main" id="{2C41CF87-05DA-4579-83DB-462AA5370A8C}"/>
              </a:ext>
            </a:extLst>
          </p:cNvPr>
          <p:cNvSpPr>
            <a:spLocks noGrp="1"/>
          </p:cNvSpPr>
          <p:nvPr>
            <p:ph type="body" sz="quarter" idx="45" hasCustomPrompt="1"/>
          </p:nvPr>
        </p:nvSpPr>
        <p:spPr>
          <a:xfrm>
            <a:off x="335490" y="174600"/>
            <a:ext cx="11504762" cy="138499"/>
          </a:xfrm>
        </p:spPr>
        <p:txBody>
          <a:bodyPr>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54" name="Rectangle 53">
            <a:extLst>
              <a:ext uri="{FF2B5EF4-FFF2-40B4-BE49-F238E27FC236}">
                <a16:creationId xmlns:a16="http://schemas.microsoft.com/office/drawing/2014/main" id="{DB005E08-614E-4F5D-B785-5C790B9C3AB3}"/>
              </a:ext>
            </a:extLst>
          </p:cNvPr>
          <p:cNvSpPr/>
          <p:nvPr userDrawn="1"/>
        </p:nvSpPr>
        <p:spPr>
          <a:xfrm>
            <a:off x="872600" y="1619725"/>
            <a:ext cx="1207491" cy="993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lnSpc>
                <a:spcPct val="110000"/>
              </a:lnSpc>
              <a:spcAft>
                <a:spcPts val="500"/>
              </a:spcAft>
            </a:pPr>
            <a:endParaRPr lang="en-US" sz="1100" b="1" cap="all" baseline="0" dirty="0">
              <a:solidFill>
                <a:schemeClr val="bg1"/>
              </a:solidFill>
            </a:endParaRPr>
          </a:p>
        </p:txBody>
      </p:sp>
      <p:sp>
        <p:nvSpPr>
          <p:cNvPr id="55" name="Rectangle 54">
            <a:extLst>
              <a:ext uri="{FF2B5EF4-FFF2-40B4-BE49-F238E27FC236}">
                <a16:creationId xmlns:a16="http://schemas.microsoft.com/office/drawing/2014/main" id="{50C0B680-2E83-4C86-8FFE-E7C529BDB1A5}"/>
              </a:ext>
            </a:extLst>
          </p:cNvPr>
          <p:cNvSpPr/>
          <p:nvPr userDrawn="1"/>
        </p:nvSpPr>
        <p:spPr>
          <a:xfrm>
            <a:off x="300533" y="1619725"/>
            <a:ext cx="527671" cy="993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lvl="0" algn="ctr">
              <a:spcAft>
                <a:spcPts val="500"/>
              </a:spcAft>
            </a:pPr>
            <a:endParaRPr lang="en-US" sz="2800" cap="all" baseline="0" dirty="0">
              <a:solidFill>
                <a:schemeClr val="bg1"/>
              </a:solidFill>
            </a:endParaRPr>
          </a:p>
        </p:txBody>
      </p:sp>
      <p:sp>
        <p:nvSpPr>
          <p:cNvPr id="56" name="Text Placeholder 6">
            <a:extLst>
              <a:ext uri="{FF2B5EF4-FFF2-40B4-BE49-F238E27FC236}">
                <a16:creationId xmlns:a16="http://schemas.microsoft.com/office/drawing/2014/main" id="{0EA2E323-668E-451F-A3A7-C885DC11A457}"/>
              </a:ext>
            </a:extLst>
          </p:cNvPr>
          <p:cNvSpPr>
            <a:spLocks noGrp="1"/>
          </p:cNvSpPr>
          <p:nvPr>
            <p:ph type="body" sz="quarter" idx="36" hasCustomPrompt="1"/>
          </p:nvPr>
        </p:nvSpPr>
        <p:spPr>
          <a:xfrm>
            <a:off x="2163911" y="1619725"/>
            <a:ext cx="8883822" cy="171585"/>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cxnSp>
        <p:nvCxnSpPr>
          <p:cNvPr id="58" name="Straight Connector 57">
            <a:extLst>
              <a:ext uri="{FF2B5EF4-FFF2-40B4-BE49-F238E27FC236}">
                <a16:creationId xmlns:a16="http://schemas.microsoft.com/office/drawing/2014/main" id="{CE132579-A880-471E-AD56-3F279CDCD709}"/>
              </a:ext>
            </a:extLst>
          </p:cNvPr>
          <p:cNvCxnSpPr>
            <a:cxnSpLocks/>
          </p:cNvCxnSpPr>
          <p:nvPr userDrawn="1"/>
        </p:nvCxnSpPr>
        <p:spPr>
          <a:xfrm>
            <a:off x="2163911" y="1558047"/>
            <a:ext cx="888382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60D496A-656D-469C-8F17-5D42909A79F0}"/>
              </a:ext>
            </a:extLst>
          </p:cNvPr>
          <p:cNvCxnSpPr/>
          <p:nvPr userDrawn="1"/>
        </p:nvCxnSpPr>
        <p:spPr>
          <a:xfrm>
            <a:off x="11221763" y="1558047"/>
            <a:ext cx="66970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Text Placeholder 6">
            <a:extLst>
              <a:ext uri="{FF2B5EF4-FFF2-40B4-BE49-F238E27FC236}">
                <a16:creationId xmlns:a16="http://schemas.microsoft.com/office/drawing/2014/main" id="{91745694-FB7B-40BD-BFEF-0E8A1DA15A80}"/>
              </a:ext>
            </a:extLst>
          </p:cNvPr>
          <p:cNvSpPr>
            <a:spLocks noGrp="1"/>
          </p:cNvSpPr>
          <p:nvPr>
            <p:ph type="body" sz="quarter" idx="46" hasCustomPrompt="1"/>
          </p:nvPr>
        </p:nvSpPr>
        <p:spPr>
          <a:xfrm>
            <a:off x="11221763" y="1619725"/>
            <a:ext cx="669704" cy="169726"/>
          </a:xfrm>
        </p:spPr>
        <p:txBody>
          <a:bodyPr/>
          <a:lstStyle>
            <a:lvl1pPr marL="0" indent="0" algn="just">
              <a:lnSpc>
                <a:spcPct val="100000"/>
              </a:lnSpc>
              <a:spcBef>
                <a:spcPts val="0"/>
              </a:spcBef>
              <a:spcAft>
                <a:spcPts val="1500"/>
              </a:spcAft>
              <a:buClr>
                <a:schemeClr val="accent1"/>
              </a:buClr>
              <a:buFont typeface="Wingdings" panose="05000000000000000000" pitchFamily="2" charset="2"/>
              <a:buNone/>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Text</a:t>
            </a:r>
          </a:p>
        </p:txBody>
      </p:sp>
      <p:sp>
        <p:nvSpPr>
          <p:cNvPr id="62" name="Text Placeholder 6">
            <a:extLst>
              <a:ext uri="{FF2B5EF4-FFF2-40B4-BE49-F238E27FC236}">
                <a16:creationId xmlns:a16="http://schemas.microsoft.com/office/drawing/2014/main" id="{FAB92EB4-746D-4670-AA3D-5BD3A7F082C3}"/>
              </a:ext>
            </a:extLst>
          </p:cNvPr>
          <p:cNvSpPr>
            <a:spLocks noGrp="1"/>
          </p:cNvSpPr>
          <p:nvPr>
            <p:ph type="body" sz="quarter" idx="41" hasCustomPrompt="1"/>
          </p:nvPr>
        </p:nvSpPr>
        <p:spPr>
          <a:xfrm>
            <a:off x="952780" y="1947123"/>
            <a:ext cx="1047131" cy="338554"/>
          </a:xfrm>
        </p:spPr>
        <p:txBody>
          <a:bodyPr wrap="square" anchor="ctr">
            <a:spAutoFit/>
          </a:bodyPr>
          <a:lstStyle>
            <a:lvl1pPr marL="0" indent="0" algn="l">
              <a:lnSpc>
                <a:spcPct val="100000"/>
              </a:lnSpc>
              <a:spcBef>
                <a:spcPts val="0"/>
              </a:spcBef>
              <a:spcAft>
                <a:spcPts val="1500"/>
              </a:spcAft>
              <a:buFont typeface="Wingdings" panose="05000000000000000000" pitchFamily="2" charset="2"/>
              <a:buNone/>
              <a:defRPr sz="1100" b="1" cap="all" baseline="0">
                <a:solidFill>
                  <a:schemeClr val="bg1"/>
                </a:solidFill>
              </a:defRPr>
            </a:lvl1pPr>
          </a:lstStyle>
          <a:p>
            <a:pPr lvl="0"/>
            <a:r>
              <a:rPr lang="en-US"/>
              <a:t>EDIT MASTER TEXT STYLES</a:t>
            </a:r>
          </a:p>
        </p:txBody>
      </p:sp>
      <p:sp>
        <p:nvSpPr>
          <p:cNvPr id="63" name="Text Placeholder 6">
            <a:extLst>
              <a:ext uri="{FF2B5EF4-FFF2-40B4-BE49-F238E27FC236}">
                <a16:creationId xmlns:a16="http://schemas.microsoft.com/office/drawing/2014/main" id="{6BAF45B6-20D1-431E-90AC-399E45A33248}"/>
              </a:ext>
            </a:extLst>
          </p:cNvPr>
          <p:cNvSpPr>
            <a:spLocks noGrp="1"/>
          </p:cNvSpPr>
          <p:nvPr>
            <p:ph type="body" sz="quarter" idx="47" hasCustomPrompt="1"/>
          </p:nvPr>
        </p:nvSpPr>
        <p:spPr>
          <a:xfrm>
            <a:off x="300533" y="1900958"/>
            <a:ext cx="527671" cy="430887"/>
          </a:xfrm>
        </p:spPr>
        <p:txBody>
          <a:bodyPr wrap="square" anchor="ctr">
            <a:spAutoFit/>
          </a:bodyPr>
          <a:lstStyle>
            <a:lvl1pPr marL="0" indent="0" algn="ctr">
              <a:lnSpc>
                <a:spcPct val="100000"/>
              </a:lnSpc>
              <a:spcBef>
                <a:spcPts val="0"/>
              </a:spcBef>
              <a:spcAft>
                <a:spcPts val="1500"/>
              </a:spcAft>
              <a:buFont typeface="Wingdings" panose="05000000000000000000" pitchFamily="2" charset="2"/>
              <a:buNone/>
              <a:defRPr sz="2800" b="1" cap="all" baseline="0">
                <a:solidFill>
                  <a:schemeClr val="bg1"/>
                </a:solidFill>
              </a:defRPr>
            </a:lvl1pPr>
          </a:lstStyle>
          <a:p>
            <a:pPr lvl="0"/>
            <a:r>
              <a:rPr lang="en-US"/>
              <a:t>00</a:t>
            </a:r>
          </a:p>
        </p:txBody>
      </p:sp>
      <p:sp>
        <p:nvSpPr>
          <p:cNvPr id="70" name="Rectangle 69">
            <a:extLst>
              <a:ext uri="{FF2B5EF4-FFF2-40B4-BE49-F238E27FC236}">
                <a16:creationId xmlns:a16="http://schemas.microsoft.com/office/drawing/2014/main" id="{3870CF85-E713-46AB-A30E-DDAB759F077D}"/>
              </a:ext>
            </a:extLst>
          </p:cNvPr>
          <p:cNvSpPr/>
          <p:nvPr userDrawn="1"/>
        </p:nvSpPr>
        <p:spPr>
          <a:xfrm>
            <a:off x="872600" y="2775160"/>
            <a:ext cx="1207491" cy="768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nSpc>
                <a:spcPct val="110000"/>
              </a:lnSpc>
              <a:spcAft>
                <a:spcPts val="500"/>
              </a:spcAft>
            </a:pPr>
            <a:endParaRPr lang="en-US" sz="1100" b="1" cap="all" baseline="0" dirty="0">
              <a:solidFill>
                <a:schemeClr val="bg1"/>
              </a:solidFill>
            </a:endParaRPr>
          </a:p>
        </p:txBody>
      </p:sp>
      <p:sp>
        <p:nvSpPr>
          <p:cNvPr id="71" name="Rectangle 70">
            <a:extLst>
              <a:ext uri="{FF2B5EF4-FFF2-40B4-BE49-F238E27FC236}">
                <a16:creationId xmlns:a16="http://schemas.microsoft.com/office/drawing/2014/main" id="{F10E859D-6AFD-4754-BEA3-A80A85A5129D}"/>
              </a:ext>
            </a:extLst>
          </p:cNvPr>
          <p:cNvSpPr/>
          <p:nvPr userDrawn="1"/>
        </p:nvSpPr>
        <p:spPr>
          <a:xfrm>
            <a:off x="872600" y="3705918"/>
            <a:ext cx="1207491" cy="768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nSpc>
                <a:spcPct val="110000"/>
              </a:lnSpc>
              <a:spcAft>
                <a:spcPts val="500"/>
              </a:spcAft>
            </a:pPr>
            <a:endParaRPr lang="en-US" sz="1100" b="1" cap="all" baseline="0" dirty="0">
              <a:solidFill>
                <a:schemeClr val="bg1"/>
              </a:solidFill>
            </a:endParaRPr>
          </a:p>
        </p:txBody>
      </p:sp>
      <p:sp>
        <p:nvSpPr>
          <p:cNvPr id="72" name="Rectangle 71">
            <a:extLst>
              <a:ext uri="{FF2B5EF4-FFF2-40B4-BE49-F238E27FC236}">
                <a16:creationId xmlns:a16="http://schemas.microsoft.com/office/drawing/2014/main" id="{D18D9271-2895-419D-9F16-146BA1D8E801}"/>
              </a:ext>
            </a:extLst>
          </p:cNvPr>
          <p:cNvSpPr/>
          <p:nvPr userDrawn="1"/>
        </p:nvSpPr>
        <p:spPr>
          <a:xfrm>
            <a:off x="872600" y="4636676"/>
            <a:ext cx="1207491" cy="7686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nSpc>
                <a:spcPct val="110000"/>
              </a:lnSpc>
              <a:spcAft>
                <a:spcPts val="500"/>
              </a:spcAft>
            </a:pPr>
            <a:endParaRPr lang="en-US" sz="1100" b="1" cap="all" baseline="0" dirty="0">
              <a:solidFill>
                <a:schemeClr val="bg1"/>
              </a:solidFill>
            </a:endParaRPr>
          </a:p>
        </p:txBody>
      </p:sp>
      <p:sp>
        <p:nvSpPr>
          <p:cNvPr id="73" name="Rectangle 72">
            <a:extLst>
              <a:ext uri="{FF2B5EF4-FFF2-40B4-BE49-F238E27FC236}">
                <a16:creationId xmlns:a16="http://schemas.microsoft.com/office/drawing/2014/main" id="{281D9381-958F-4125-9A8B-F0DE9D83D1D8}"/>
              </a:ext>
            </a:extLst>
          </p:cNvPr>
          <p:cNvSpPr/>
          <p:nvPr userDrawn="1"/>
        </p:nvSpPr>
        <p:spPr>
          <a:xfrm>
            <a:off x="872600" y="5567433"/>
            <a:ext cx="1207491" cy="7686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nSpc>
                <a:spcPct val="110000"/>
              </a:lnSpc>
              <a:spcAft>
                <a:spcPts val="500"/>
              </a:spcAft>
            </a:pPr>
            <a:endParaRPr lang="en-US" sz="1100" b="1" cap="all" baseline="0" dirty="0">
              <a:solidFill>
                <a:schemeClr val="bg1"/>
              </a:solidFill>
            </a:endParaRPr>
          </a:p>
        </p:txBody>
      </p:sp>
      <p:sp>
        <p:nvSpPr>
          <p:cNvPr id="74" name="Rectangle 73">
            <a:extLst>
              <a:ext uri="{FF2B5EF4-FFF2-40B4-BE49-F238E27FC236}">
                <a16:creationId xmlns:a16="http://schemas.microsoft.com/office/drawing/2014/main" id="{946D630A-962F-4803-8ABD-AC1F2B81DD7E}"/>
              </a:ext>
            </a:extLst>
          </p:cNvPr>
          <p:cNvSpPr/>
          <p:nvPr userDrawn="1"/>
        </p:nvSpPr>
        <p:spPr>
          <a:xfrm>
            <a:off x="300533" y="2775160"/>
            <a:ext cx="527671" cy="768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lvl="0" algn="ctr">
              <a:spcAft>
                <a:spcPts val="500"/>
              </a:spcAft>
            </a:pPr>
            <a:endParaRPr lang="en-US" sz="2800" cap="all" baseline="0" dirty="0">
              <a:solidFill>
                <a:schemeClr val="bg1"/>
              </a:solidFill>
            </a:endParaRPr>
          </a:p>
        </p:txBody>
      </p:sp>
      <p:sp>
        <p:nvSpPr>
          <p:cNvPr id="75" name="Rectangle 74">
            <a:extLst>
              <a:ext uri="{FF2B5EF4-FFF2-40B4-BE49-F238E27FC236}">
                <a16:creationId xmlns:a16="http://schemas.microsoft.com/office/drawing/2014/main" id="{C530979D-BF13-4954-8692-12C67CBC8BA5}"/>
              </a:ext>
            </a:extLst>
          </p:cNvPr>
          <p:cNvSpPr/>
          <p:nvPr userDrawn="1"/>
        </p:nvSpPr>
        <p:spPr>
          <a:xfrm>
            <a:off x="300533" y="3705918"/>
            <a:ext cx="527671" cy="7686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lvl="0" algn="ctr">
              <a:spcAft>
                <a:spcPts val="500"/>
              </a:spcAft>
            </a:pPr>
            <a:endParaRPr lang="en-US" sz="2800" cap="all" baseline="0" dirty="0">
              <a:solidFill>
                <a:schemeClr val="bg1"/>
              </a:solidFill>
            </a:endParaRPr>
          </a:p>
        </p:txBody>
      </p:sp>
      <p:sp>
        <p:nvSpPr>
          <p:cNvPr id="76" name="Rectangle 75">
            <a:extLst>
              <a:ext uri="{FF2B5EF4-FFF2-40B4-BE49-F238E27FC236}">
                <a16:creationId xmlns:a16="http://schemas.microsoft.com/office/drawing/2014/main" id="{0C329A3A-28CB-45D9-85BD-977565F156FE}"/>
              </a:ext>
            </a:extLst>
          </p:cNvPr>
          <p:cNvSpPr/>
          <p:nvPr userDrawn="1"/>
        </p:nvSpPr>
        <p:spPr>
          <a:xfrm>
            <a:off x="300533" y="4636676"/>
            <a:ext cx="527671" cy="7686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lvl="0" algn="ctr">
              <a:spcAft>
                <a:spcPts val="500"/>
              </a:spcAft>
            </a:pPr>
            <a:endParaRPr lang="en-US" sz="2800" cap="all" baseline="0" dirty="0">
              <a:solidFill>
                <a:schemeClr val="bg1"/>
              </a:solidFill>
            </a:endParaRPr>
          </a:p>
        </p:txBody>
      </p:sp>
      <p:sp>
        <p:nvSpPr>
          <p:cNvPr id="77" name="Rectangle 76">
            <a:extLst>
              <a:ext uri="{FF2B5EF4-FFF2-40B4-BE49-F238E27FC236}">
                <a16:creationId xmlns:a16="http://schemas.microsoft.com/office/drawing/2014/main" id="{C52C9A0D-2070-491E-AD47-94E2E4D6E1D6}"/>
              </a:ext>
            </a:extLst>
          </p:cNvPr>
          <p:cNvSpPr/>
          <p:nvPr userDrawn="1"/>
        </p:nvSpPr>
        <p:spPr>
          <a:xfrm>
            <a:off x="300533" y="5567433"/>
            <a:ext cx="527671" cy="7686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lvl="0" algn="ctr">
              <a:spcAft>
                <a:spcPts val="500"/>
              </a:spcAft>
            </a:pPr>
            <a:endParaRPr lang="en-US" sz="2800" cap="all" baseline="0" dirty="0">
              <a:solidFill>
                <a:schemeClr val="bg1"/>
              </a:solidFill>
            </a:endParaRPr>
          </a:p>
        </p:txBody>
      </p:sp>
      <p:cxnSp>
        <p:nvCxnSpPr>
          <p:cNvPr id="78" name="Straight Connector 77">
            <a:extLst>
              <a:ext uri="{FF2B5EF4-FFF2-40B4-BE49-F238E27FC236}">
                <a16:creationId xmlns:a16="http://schemas.microsoft.com/office/drawing/2014/main" id="{58E89BEB-A35F-45B2-B8D8-16F39D14EC6E}"/>
              </a:ext>
            </a:extLst>
          </p:cNvPr>
          <p:cNvCxnSpPr/>
          <p:nvPr userDrawn="1"/>
        </p:nvCxnSpPr>
        <p:spPr>
          <a:xfrm flipV="1">
            <a:off x="2163912" y="2694117"/>
            <a:ext cx="9725024"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9" name="Text Placeholder 6">
            <a:extLst>
              <a:ext uri="{FF2B5EF4-FFF2-40B4-BE49-F238E27FC236}">
                <a16:creationId xmlns:a16="http://schemas.microsoft.com/office/drawing/2014/main" id="{B5009BA8-DB35-4C81-8FCE-F843A52A8860}"/>
              </a:ext>
            </a:extLst>
          </p:cNvPr>
          <p:cNvSpPr>
            <a:spLocks noGrp="1"/>
          </p:cNvSpPr>
          <p:nvPr>
            <p:ph type="body" sz="quarter" idx="48" hasCustomPrompt="1"/>
          </p:nvPr>
        </p:nvSpPr>
        <p:spPr>
          <a:xfrm>
            <a:off x="952780" y="2990219"/>
            <a:ext cx="1047131" cy="338554"/>
          </a:xfrm>
        </p:spPr>
        <p:txBody>
          <a:bodyPr wrap="square" anchor="ctr">
            <a:spAutoFit/>
          </a:bodyPr>
          <a:lstStyle>
            <a:lvl1pPr marL="0" indent="0" algn="l">
              <a:lnSpc>
                <a:spcPct val="100000"/>
              </a:lnSpc>
              <a:spcBef>
                <a:spcPts val="0"/>
              </a:spcBef>
              <a:spcAft>
                <a:spcPts val="1500"/>
              </a:spcAft>
              <a:buFont typeface="Wingdings" panose="05000000000000000000" pitchFamily="2" charset="2"/>
              <a:buNone/>
              <a:defRPr sz="1100" b="1" cap="all" baseline="0">
                <a:solidFill>
                  <a:schemeClr val="bg1"/>
                </a:solidFill>
              </a:defRPr>
            </a:lvl1pPr>
          </a:lstStyle>
          <a:p>
            <a:pPr lvl="0"/>
            <a:r>
              <a:rPr lang="en-US"/>
              <a:t>EDIT MASTER TEXT STYLES</a:t>
            </a:r>
          </a:p>
        </p:txBody>
      </p:sp>
      <p:sp>
        <p:nvSpPr>
          <p:cNvPr id="80" name="Text Placeholder 6">
            <a:extLst>
              <a:ext uri="{FF2B5EF4-FFF2-40B4-BE49-F238E27FC236}">
                <a16:creationId xmlns:a16="http://schemas.microsoft.com/office/drawing/2014/main" id="{2AAA6294-26ED-4E12-9AB8-49D765FD1562}"/>
              </a:ext>
            </a:extLst>
          </p:cNvPr>
          <p:cNvSpPr>
            <a:spLocks noGrp="1"/>
          </p:cNvSpPr>
          <p:nvPr>
            <p:ph type="body" sz="quarter" idx="49" hasCustomPrompt="1"/>
          </p:nvPr>
        </p:nvSpPr>
        <p:spPr>
          <a:xfrm>
            <a:off x="300533" y="2944053"/>
            <a:ext cx="527671" cy="430887"/>
          </a:xfrm>
        </p:spPr>
        <p:txBody>
          <a:bodyPr wrap="square" anchor="ctr">
            <a:spAutoFit/>
          </a:bodyPr>
          <a:lstStyle>
            <a:lvl1pPr marL="0" indent="0" algn="ctr">
              <a:lnSpc>
                <a:spcPct val="100000"/>
              </a:lnSpc>
              <a:spcBef>
                <a:spcPts val="0"/>
              </a:spcBef>
              <a:spcAft>
                <a:spcPts val="1500"/>
              </a:spcAft>
              <a:buFont typeface="Wingdings" panose="05000000000000000000" pitchFamily="2" charset="2"/>
              <a:buNone/>
              <a:defRPr sz="2800" b="1" cap="all" baseline="0">
                <a:solidFill>
                  <a:schemeClr val="bg1"/>
                </a:solidFill>
              </a:defRPr>
            </a:lvl1pPr>
          </a:lstStyle>
          <a:p>
            <a:pPr lvl="0"/>
            <a:r>
              <a:rPr lang="en-US"/>
              <a:t>00</a:t>
            </a:r>
          </a:p>
        </p:txBody>
      </p:sp>
      <p:sp>
        <p:nvSpPr>
          <p:cNvPr id="81" name="Text Placeholder 6">
            <a:extLst>
              <a:ext uri="{FF2B5EF4-FFF2-40B4-BE49-F238E27FC236}">
                <a16:creationId xmlns:a16="http://schemas.microsoft.com/office/drawing/2014/main" id="{10C8CD73-C677-4CC5-BC4E-D0F67D701DE8}"/>
              </a:ext>
            </a:extLst>
          </p:cNvPr>
          <p:cNvSpPr>
            <a:spLocks noGrp="1"/>
          </p:cNvSpPr>
          <p:nvPr>
            <p:ph type="body" sz="quarter" idx="50" hasCustomPrompt="1"/>
          </p:nvPr>
        </p:nvSpPr>
        <p:spPr>
          <a:xfrm>
            <a:off x="300533" y="3874811"/>
            <a:ext cx="527671" cy="430887"/>
          </a:xfrm>
        </p:spPr>
        <p:txBody>
          <a:bodyPr wrap="square" anchor="ctr">
            <a:spAutoFit/>
          </a:bodyPr>
          <a:lstStyle>
            <a:lvl1pPr marL="0" indent="0" algn="ctr">
              <a:lnSpc>
                <a:spcPct val="100000"/>
              </a:lnSpc>
              <a:spcBef>
                <a:spcPts val="0"/>
              </a:spcBef>
              <a:spcAft>
                <a:spcPts val="1500"/>
              </a:spcAft>
              <a:buFont typeface="Wingdings" panose="05000000000000000000" pitchFamily="2" charset="2"/>
              <a:buNone/>
              <a:defRPr sz="2800" b="1" cap="all" baseline="0">
                <a:solidFill>
                  <a:schemeClr val="bg1"/>
                </a:solidFill>
              </a:defRPr>
            </a:lvl1pPr>
          </a:lstStyle>
          <a:p>
            <a:pPr lvl="0"/>
            <a:r>
              <a:rPr lang="en-US"/>
              <a:t>00</a:t>
            </a:r>
          </a:p>
        </p:txBody>
      </p:sp>
      <p:sp>
        <p:nvSpPr>
          <p:cNvPr id="82" name="Text Placeholder 6">
            <a:extLst>
              <a:ext uri="{FF2B5EF4-FFF2-40B4-BE49-F238E27FC236}">
                <a16:creationId xmlns:a16="http://schemas.microsoft.com/office/drawing/2014/main" id="{22553931-3E49-470B-ACEA-02AA37516EA5}"/>
              </a:ext>
            </a:extLst>
          </p:cNvPr>
          <p:cNvSpPr>
            <a:spLocks noGrp="1"/>
          </p:cNvSpPr>
          <p:nvPr>
            <p:ph type="body" sz="quarter" idx="51" hasCustomPrompt="1"/>
          </p:nvPr>
        </p:nvSpPr>
        <p:spPr>
          <a:xfrm>
            <a:off x="300533" y="4805569"/>
            <a:ext cx="527671" cy="430887"/>
          </a:xfrm>
        </p:spPr>
        <p:txBody>
          <a:bodyPr wrap="square" anchor="ctr">
            <a:spAutoFit/>
          </a:bodyPr>
          <a:lstStyle>
            <a:lvl1pPr marL="0" indent="0" algn="ctr">
              <a:lnSpc>
                <a:spcPct val="100000"/>
              </a:lnSpc>
              <a:spcBef>
                <a:spcPts val="0"/>
              </a:spcBef>
              <a:spcAft>
                <a:spcPts val="1500"/>
              </a:spcAft>
              <a:buFont typeface="Wingdings" panose="05000000000000000000" pitchFamily="2" charset="2"/>
              <a:buNone/>
              <a:defRPr sz="2800" b="1" cap="all" baseline="0">
                <a:solidFill>
                  <a:schemeClr val="bg1"/>
                </a:solidFill>
              </a:defRPr>
            </a:lvl1pPr>
          </a:lstStyle>
          <a:p>
            <a:pPr lvl="0"/>
            <a:r>
              <a:rPr lang="en-US"/>
              <a:t>00</a:t>
            </a:r>
          </a:p>
        </p:txBody>
      </p:sp>
      <p:sp>
        <p:nvSpPr>
          <p:cNvPr id="83" name="Text Placeholder 6">
            <a:extLst>
              <a:ext uri="{FF2B5EF4-FFF2-40B4-BE49-F238E27FC236}">
                <a16:creationId xmlns:a16="http://schemas.microsoft.com/office/drawing/2014/main" id="{756E4D2F-A89A-4193-A0C8-9F390CD07848}"/>
              </a:ext>
            </a:extLst>
          </p:cNvPr>
          <p:cNvSpPr>
            <a:spLocks noGrp="1"/>
          </p:cNvSpPr>
          <p:nvPr>
            <p:ph type="body" sz="quarter" idx="52" hasCustomPrompt="1"/>
          </p:nvPr>
        </p:nvSpPr>
        <p:spPr>
          <a:xfrm>
            <a:off x="300533" y="5736326"/>
            <a:ext cx="527671" cy="430887"/>
          </a:xfrm>
        </p:spPr>
        <p:txBody>
          <a:bodyPr wrap="square" anchor="ctr">
            <a:spAutoFit/>
          </a:bodyPr>
          <a:lstStyle>
            <a:lvl1pPr marL="0" indent="0" algn="ctr">
              <a:lnSpc>
                <a:spcPct val="100000"/>
              </a:lnSpc>
              <a:spcBef>
                <a:spcPts val="0"/>
              </a:spcBef>
              <a:spcAft>
                <a:spcPts val="1500"/>
              </a:spcAft>
              <a:buFont typeface="Wingdings" panose="05000000000000000000" pitchFamily="2" charset="2"/>
              <a:buNone/>
              <a:defRPr sz="2800" b="1" cap="all" baseline="0">
                <a:solidFill>
                  <a:schemeClr val="bg1"/>
                </a:solidFill>
              </a:defRPr>
            </a:lvl1pPr>
          </a:lstStyle>
          <a:p>
            <a:pPr lvl="0"/>
            <a:r>
              <a:rPr lang="en-US"/>
              <a:t>00</a:t>
            </a:r>
          </a:p>
        </p:txBody>
      </p:sp>
      <p:sp>
        <p:nvSpPr>
          <p:cNvPr id="84" name="Text Placeholder 6">
            <a:extLst>
              <a:ext uri="{FF2B5EF4-FFF2-40B4-BE49-F238E27FC236}">
                <a16:creationId xmlns:a16="http://schemas.microsoft.com/office/drawing/2014/main" id="{20A66A25-97B0-409C-BB57-31C50EEB71ED}"/>
              </a:ext>
            </a:extLst>
          </p:cNvPr>
          <p:cNvSpPr>
            <a:spLocks noGrp="1"/>
          </p:cNvSpPr>
          <p:nvPr>
            <p:ph type="body" sz="quarter" idx="53" hasCustomPrompt="1"/>
          </p:nvPr>
        </p:nvSpPr>
        <p:spPr>
          <a:xfrm>
            <a:off x="952780" y="3920977"/>
            <a:ext cx="1047131" cy="338554"/>
          </a:xfrm>
        </p:spPr>
        <p:txBody>
          <a:bodyPr wrap="square" anchor="ctr">
            <a:spAutoFit/>
          </a:bodyPr>
          <a:lstStyle>
            <a:lvl1pPr marL="0" indent="0" algn="l">
              <a:lnSpc>
                <a:spcPct val="100000"/>
              </a:lnSpc>
              <a:spcBef>
                <a:spcPts val="0"/>
              </a:spcBef>
              <a:spcAft>
                <a:spcPts val="1500"/>
              </a:spcAft>
              <a:buFont typeface="Wingdings" panose="05000000000000000000" pitchFamily="2" charset="2"/>
              <a:buNone/>
              <a:defRPr sz="1100" b="1" cap="all" baseline="0">
                <a:solidFill>
                  <a:schemeClr val="bg1"/>
                </a:solidFill>
              </a:defRPr>
            </a:lvl1pPr>
          </a:lstStyle>
          <a:p>
            <a:pPr lvl="0"/>
            <a:r>
              <a:rPr lang="en-US"/>
              <a:t>EDIT MASTER TEXT STYLES</a:t>
            </a:r>
          </a:p>
        </p:txBody>
      </p:sp>
      <p:sp>
        <p:nvSpPr>
          <p:cNvPr id="85" name="Text Placeholder 6">
            <a:extLst>
              <a:ext uri="{FF2B5EF4-FFF2-40B4-BE49-F238E27FC236}">
                <a16:creationId xmlns:a16="http://schemas.microsoft.com/office/drawing/2014/main" id="{E0F59E86-6BA0-421F-8DD5-C7E9BB2F270F}"/>
              </a:ext>
            </a:extLst>
          </p:cNvPr>
          <p:cNvSpPr>
            <a:spLocks noGrp="1"/>
          </p:cNvSpPr>
          <p:nvPr>
            <p:ph type="body" sz="quarter" idx="54" hasCustomPrompt="1"/>
          </p:nvPr>
        </p:nvSpPr>
        <p:spPr>
          <a:xfrm>
            <a:off x="952780" y="4851735"/>
            <a:ext cx="1047131" cy="338554"/>
          </a:xfrm>
        </p:spPr>
        <p:txBody>
          <a:bodyPr wrap="square" anchor="ctr">
            <a:spAutoFit/>
          </a:bodyPr>
          <a:lstStyle>
            <a:lvl1pPr marL="0" indent="0" algn="l">
              <a:lnSpc>
                <a:spcPct val="100000"/>
              </a:lnSpc>
              <a:spcBef>
                <a:spcPts val="0"/>
              </a:spcBef>
              <a:spcAft>
                <a:spcPts val="1500"/>
              </a:spcAft>
              <a:buFont typeface="Wingdings" panose="05000000000000000000" pitchFamily="2" charset="2"/>
              <a:buNone/>
              <a:defRPr sz="1100" b="1" cap="all" baseline="0">
                <a:solidFill>
                  <a:schemeClr val="bg1"/>
                </a:solidFill>
              </a:defRPr>
            </a:lvl1pPr>
          </a:lstStyle>
          <a:p>
            <a:pPr lvl="0"/>
            <a:r>
              <a:rPr lang="en-US"/>
              <a:t>EDIT MASTER TEXT STYLES</a:t>
            </a:r>
          </a:p>
        </p:txBody>
      </p:sp>
      <p:sp>
        <p:nvSpPr>
          <p:cNvPr id="86" name="Text Placeholder 6">
            <a:extLst>
              <a:ext uri="{FF2B5EF4-FFF2-40B4-BE49-F238E27FC236}">
                <a16:creationId xmlns:a16="http://schemas.microsoft.com/office/drawing/2014/main" id="{94790A6C-3C33-477D-A9CC-4E4EF540E783}"/>
              </a:ext>
            </a:extLst>
          </p:cNvPr>
          <p:cNvSpPr>
            <a:spLocks noGrp="1"/>
          </p:cNvSpPr>
          <p:nvPr>
            <p:ph type="body" sz="quarter" idx="55" hasCustomPrompt="1"/>
          </p:nvPr>
        </p:nvSpPr>
        <p:spPr>
          <a:xfrm>
            <a:off x="952780" y="5782492"/>
            <a:ext cx="1047131" cy="338554"/>
          </a:xfrm>
        </p:spPr>
        <p:txBody>
          <a:bodyPr wrap="square" anchor="ctr">
            <a:spAutoFit/>
          </a:bodyPr>
          <a:lstStyle>
            <a:lvl1pPr marL="0" indent="0" algn="l">
              <a:lnSpc>
                <a:spcPct val="100000"/>
              </a:lnSpc>
              <a:spcBef>
                <a:spcPts val="0"/>
              </a:spcBef>
              <a:spcAft>
                <a:spcPts val="1500"/>
              </a:spcAft>
              <a:buFont typeface="Wingdings" panose="05000000000000000000" pitchFamily="2" charset="2"/>
              <a:buNone/>
              <a:defRPr sz="1100" b="1" cap="all" baseline="0">
                <a:solidFill>
                  <a:schemeClr val="bg1"/>
                </a:solidFill>
              </a:defRPr>
            </a:lvl1pPr>
          </a:lstStyle>
          <a:p>
            <a:pPr lvl="0"/>
            <a:r>
              <a:rPr lang="en-US"/>
              <a:t>EDIT MASTER TEXT STYLES</a:t>
            </a:r>
          </a:p>
        </p:txBody>
      </p:sp>
      <p:sp>
        <p:nvSpPr>
          <p:cNvPr id="87" name="Text Placeholder 6">
            <a:extLst>
              <a:ext uri="{FF2B5EF4-FFF2-40B4-BE49-F238E27FC236}">
                <a16:creationId xmlns:a16="http://schemas.microsoft.com/office/drawing/2014/main" id="{FB75C816-3999-416B-863E-61B2F6E66B09}"/>
              </a:ext>
            </a:extLst>
          </p:cNvPr>
          <p:cNvSpPr>
            <a:spLocks noGrp="1"/>
          </p:cNvSpPr>
          <p:nvPr>
            <p:ph type="body" sz="quarter" idx="56" hasCustomPrompt="1"/>
          </p:nvPr>
        </p:nvSpPr>
        <p:spPr>
          <a:xfrm>
            <a:off x="2163911" y="2775160"/>
            <a:ext cx="8883822" cy="171585"/>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88" name="Text Placeholder 6">
            <a:extLst>
              <a:ext uri="{FF2B5EF4-FFF2-40B4-BE49-F238E27FC236}">
                <a16:creationId xmlns:a16="http://schemas.microsoft.com/office/drawing/2014/main" id="{758906FD-C003-42FD-A0E5-36EF126E4281}"/>
              </a:ext>
            </a:extLst>
          </p:cNvPr>
          <p:cNvSpPr>
            <a:spLocks noGrp="1"/>
          </p:cNvSpPr>
          <p:nvPr>
            <p:ph type="body" sz="quarter" idx="57" hasCustomPrompt="1"/>
          </p:nvPr>
        </p:nvSpPr>
        <p:spPr>
          <a:xfrm>
            <a:off x="11221763" y="2775160"/>
            <a:ext cx="669704" cy="169726"/>
          </a:xfrm>
        </p:spPr>
        <p:txBody>
          <a:bodyPr/>
          <a:lstStyle>
            <a:lvl1pPr marL="0" indent="0" algn="just">
              <a:lnSpc>
                <a:spcPct val="100000"/>
              </a:lnSpc>
              <a:spcBef>
                <a:spcPts val="0"/>
              </a:spcBef>
              <a:spcAft>
                <a:spcPts val="1500"/>
              </a:spcAft>
              <a:buClr>
                <a:schemeClr val="accent1"/>
              </a:buClr>
              <a:buFont typeface="Wingdings" panose="05000000000000000000" pitchFamily="2" charset="2"/>
              <a:buNone/>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Text</a:t>
            </a:r>
          </a:p>
        </p:txBody>
      </p:sp>
      <p:sp>
        <p:nvSpPr>
          <p:cNvPr id="89" name="Text Placeholder 6">
            <a:extLst>
              <a:ext uri="{FF2B5EF4-FFF2-40B4-BE49-F238E27FC236}">
                <a16:creationId xmlns:a16="http://schemas.microsoft.com/office/drawing/2014/main" id="{74B1EA82-A85F-4C32-A6CA-0934E9E01689}"/>
              </a:ext>
            </a:extLst>
          </p:cNvPr>
          <p:cNvSpPr>
            <a:spLocks noGrp="1"/>
          </p:cNvSpPr>
          <p:nvPr>
            <p:ph type="body" sz="quarter" idx="58" hasCustomPrompt="1"/>
          </p:nvPr>
        </p:nvSpPr>
        <p:spPr>
          <a:xfrm>
            <a:off x="2163911" y="3705918"/>
            <a:ext cx="8883822" cy="171585"/>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90" name="Text Placeholder 6">
            <a:extLst>
              <a:ext uri="{FF2B5EF4-FFF2-40B4-BE49-F238E27FC236}">
                <a16:creationId xmlns:a16="http://schemas.microsoft.com/office/drawing/2014/main" id="{9FE5D08B-CBA7-411F-9304-0A15278F0104}"/>
              </a:ext>
            </a:extLst>
          </p:cNvPr>
          <p:cNvSpPr>
            <a:spLocks noGrp="1"/>
          </p:cNvSpPr>
          <p:nvPr>
            <p:ph type="body" sz="quarter" idx="59" hasCustomPrompt="1"/>
          </p:nvPr>
        </p:nvSpPr>
        <p:spPr>
          <a:xfrm>
            <a:off x="2163911" y="4636676"/>
            <a:ext cx="8883822" cy="171585"/>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91" name="Text Placeholder 6">
            <a:extLst>
              <a:ext uri="{FF2B5EF4-FFF2-40B4-BE49-F238E27FC236}">
                <a16:creationId xmlns:a16="http://schemas.microsoft.com/office/drawing/2014/main" id="{1F69EF62-E446-4596-B44D-27D91A77EE55}"/>
              </a:ext>
            </a:extLst>
          </p:cNvPr>
          <p:cNvSpPr>
            <a:spLocks noGrp="1"/>
          </p:cNvSpPr>
          <p:nvPr>
            <p:ph type="body" sz="quarter" idx="60" hasCustomPrompt="1"/>
          </p:nvPr>
        </p:nvSpPr>
        <p:spPr>
          <a:xfrm>
            <a:off x="11221763" y="3705918"/>
            <a:ext cx="669704" cy="169726"/>
          </a:xfrm>
        </p:spPr>
        <p:txBody>
          <a:bodyPr/>
          <a:lstStyle>
            <a:lvl1pPr marL="0" indent="0" algn="just">
              <a:lnSpc>
                <a:spcPct val="100000"/>
              </a:lnSpc>
              <a:spcBef>
                <a:spcPts val="0"/>
              </a:spcBef>
              <a:spcAft>
                <a:spcPts val="1500"/>
              </a:spcAft>
              <a:buClr>
                <a:schemeClr val="accent1"/>
              </a:buClr>
              <a:buFont typeface="Wingdings" panose="05000000000000000000" pitchFamily="2" charset="2"/>
              <a:buNone/>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Text</a:t>
            </a:r>
          </a:p>
        </p:txBody>
      </p:sp>
      <p:cxnSp>
        <p:nvCxnSpPr>
          <p:cNvPr id="92" name="Straight Connector 91">
            <a:extLst>
              <a:ext uri="{FF2B5EF4-FFF2-40B4-BE49-F238E27FC236}">
                <a16:creationId xmlns:a16="http://schemas.microsoft.com/office/drawing/2014/main" id="{F782AF9C-4197-43D5-9019-8F7A817953AE}"/>
              </a:ext>
            </a:extLst>
          </p:cNvPr>
          <p:cNvCxnSpPr/>
          <p:nvPr userDrawn="1"/>
        </p:nvCxnSpPr>
        <p:spPr>
          <a:xfrm flipV="1">
            <a:off x="2163912" y="3624875"/>
            <a:ext cx="9725024"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BA0CAE2-BECE-40A6-A319-90CAC87E524A}"/>
              </a:ext>
            </a:extLst>
          </p:cNvPr>
          <p:cNvCxnSpPr/>
          <p:nvPr userDrawn="1"/>
        </p:nvCxnSpPr>
        <p:spPr>
          <a:xfrm flipV="1">
            <a:off x="2163912" y="4555633"/>
            <a:ext cx="9725024"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3E166EF-CB2E-4158-8C58-B1FB4D43DF9C}"/>
              </a:ext>
            </a:extLst>
          </p:cNvPr>
          <p:cNvCxnSpPr/>
          <p:nvPr userDrawn="1"/>
        </p:nvCxnSpPr>
        <p:spPr>
          <a:xfrm flipV="1">
            <a:off x="2163912" y="5486391"/>
            <a:ext cx="9725024" cy="0"/>
          </a:xfrm>
          <a:prstGeom prst="line">
            <a:avLst/>
          </a:prstGeom>
          <a:ln w="95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5" name="Text Placeholder 6">
            <a:extLst>
              <a:ext uri="{FF2B5EF4-FFF2-40B4-BE49-F238E27FC236}">
                <a16:creationId xmlns:a16="http://schemas.microsoft.com/office/drawing/2014/main" id="{DD6B3773-028F-4D7A-9B14-E2D7DB8B3EAF}"/>
              </a:ext>
            </a:extLst>
          </p:cNvPr>
          <p:cNvSpPr>
            <a:spLocks noGrp="1"/>
          </p:cNvSpPr>
          <p:nvPr>
            <p:ph type="body" sz="quarter" idx="61" hasCustomPrompt="1"/>
          </p:nvPr>
        </p:nvSpPr>
        <p:spPr>
          <a:xfrm>
            <a:off x="11221763" y="4636676"/>
            <a:ext cx="669704" cy="169726"/>
          </a:xfrm>
        </p:spPr>
        <p:txBody>
          <a:bodyPr/>
          <a:lstStyle>
            <a:lvl1pPr marL="0" indent="0" algn="just">
              <a:lnSpc>
                <a:spcPct val="100000"/>
              </a:lnSpc>
              <a:spcBef>
                <a:spcPts val="0"/>
              </a:spcBef>
              <a:spcAft>
                <a:spcPts val="1500"/>
              </a:spcAft>
              <a:buClr>
                <a:schemeClr val="accent1"/>
              </a:buClr>
              <a:buFont typeface="Wingdings" panose="05000000000000000000" pitchFamily="2" charset="2"/>
              <a:buNone/>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Text</a:t>
            </a:r>
          </a:p>
        </p:txBody>
      </p:sp>
      <p:sp>
        <p:nvSpPr>
          <p:cNvPr id="96" name="Text Placeholder 6">
            <a:extLst>
              <a:ext uri="{FF2B5EF4-FFF2-40B4-BE49-F238E27FC236}">
                <a16:creationId xmlns:a16="http://schemas.microsoft.com/office/drawing/2014/main" id="{C080CF91-7B86-4455-8C6D-11FBC9535B4B}"/>
              </a:ext>
            </a:extLst>
          </p:cNvPr>
          <p:cNvSpPr>
            <a:spLocks noGrp="1"/>
          </p:cNvSpPr>
          <p:nvPr>
            <p:ph type="body" sz="quarter" idx="62" hasCustomPrompt="1"/>
          </p:nvPr>
        </p:nvSpPr>
        <p:spPr>
          <a:xfrm>
            <a:off x="2163911" y="5567433"/>
            <a:ext cx="8883822" cy="171585"/>
          </a:xfrm>
        </p:spPr>
        <p:txBody>
          <a:bodyPr/>
          <a:lstStyle>
            <a:lvl1pPr marL="237744" indent="-237744" algn="just">
              <a:lnSpc>
                <a:spcPct val="100000"/>
              </a:lnSpc>
              <a:spcBef>
                <a:spcPts val="0"/>
              </a:spcBef>
              <a:spcAft>
                <a:spcPts val="1500"/>
              </a:spcAft>
              <a:buClr>
                <a:schemeClr val="accent1"/>
              </a:buClr>
              <a:buFont typeface="Wingdings" panose="05000000000000000000" pitchFamily="2" charset="2"/>
              <a:buChar char="n"/>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Edit Master text styles</a:t>
            </a:r>
          </a:p>
        </p:txBody>
      </p:sp>
      <p:sp>
        <p:nvSpPr>
          <p:cNvPr id="97" name="Text Placeholder 6">
            <a:extLst>
              <a:ext uri="{FF2B5EF4-FFF2-40B4-BE49-F238E27FC236}">
                <a16:creationId xmlns:a16="http://schemas.microsoft.com/office/drawing/2014/main" id="{F15484EB-4BA7-469B-B25B-4646886397E3}"/>
              </a:ext>
            </a:extLst>
          </p:cNvPr>
          <p:cNvSpPr>
            <a:spLocks noGrp="1"/>
          </p:cNvSpPr>
          <p:nvPr>
            <p:ph type="body" sz="quarter" idx="63" hasCustomPrompt="1"/>
          </p:nvPr>
        </p:nvSpPr>
        <p:spPr>
          <a:xfrm>
            <a:off x="11221763" y="5567433"/>
            <a:ext cx="669704" cy="169726"/>
          </a:xfrm>
        </p:spPr>
        <p:txBody>
          <a:bodyPr/>
          <a:lstStyle>
            <a:lvl1pPr marL="0" indent="0" algn="just">
              <a:lnSpc>
                <a:spcPct val="100000"/>
              </a:lnSpc>
              <a:spcBef>
                <a:spcPts val="0"/>
              </a:spcBef>
              <a:spcAft>
                <a:spcPts val="1500"/>
              </a:spcAft>
              <a:buClr>
                <a:schemeClr val="accent1"/>
              </a:buClr>
              <a:buFont typeface="Wingdings" panose="05000000000000000000" pitchFamily="2" charset="2"/>
              <a:buNone/>
              <a:defRPr lang="en-US" sz="1100" kern="1200" dirty="0">
                <a:solidFill>
                  <a:schemeClr val="tx1"/>
                </a:solidFill>
                <a:latin typeface="+mn-lt"/>
                <a:ea typeface="+mn-ea"/>
                <a:cs typeface="+mn-cs"/>
              </a:defRPr>
            </a:lvl1pPr>
          </a:lstStyle>
          <a:p>
            <a:pPr marL="247650" lvl="0" indent="-247650" algn="just" defTabSz="914400" rtl="0" eaLnBrk="1" latinLnBrk="0" hangingPunct="1">
              <a:lnSpc>
                <a:spcPct val="110000"/>
              </a:lnSpc>
              <a:spcBef>
                <a:spcPts val="1000"/>
              </a:spcBef>
              <a:spcAft>
                <a:spcPts val="1200"/>
              </a:spcAft>
              <a:buClr>
                <a:schemeClr val="accent1"/>
              </a:buClr>
              <a:buFontTx/>
              <a:buChar char="■"/>
            </a:pPr>
            <a:r>
              <a:rPr lang="en-US"/>
              <a:t>Text</a:t>
            </a:r>
          </a:p>
        </p:txBody>
      </p:sp>
    </p:spTree>
    <p:extLst>
      <p:ext uri="{BB962C8B-B14F-4D97-AF65-F5344CB8AC3E}">
        <p14:creationId xmlns:p14="http://schemas.microsoft.com/office/powerpoint/2010/main" val="1868716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3305916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 name="Text Placeholder 4">
            <a:extLst>
              <a:ext uri="{FF2B5EF4-FFF2-40B4-BE49-F238E27FC236}">
                <a16:creationId xmlns:a16="http://schemas.microsoft.com/office/drawing/2014/main" id="{FC5D250B-A340-4362-B636-4F7903E4815B}"/>
              </a:ext>
            </a:extLst>
          </p:cNvPr>
          <p:cNvSpPr>
            <a:spLocks noGrp="1"/>
          </p:cNvSpPr>
          <p:nvPr>
            <p:ph type="body" sz="quarter" idx="46" hasCustomPrompt="1"/>
          </p:nvPr>
        </p:nvSpPr>
        <p:spPr>
          <a:xfrm>
            <a:off x="2708270" y="1182085"/>
            <a:ext cx="2089592" cy="763413"/>
          </a:xfr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l">
              <a:lnSpc>
                <a:spcPct val="100000"/>
              </a:lnSpc>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4" name="Text Placeholder 4">
            <a:extLst>
              <a:ext uri="{FF2B5EF4-FFF2-40B4-BE49-F238E27FC236}">
                <a16:creationId xmlns:a16="http://schemas.microsoft.com/office/drawing/2014/main" id="{F24A6CF2-DA12-4F69-B4F0-D0818D8857E2}"/>
              </a:ext>
            </a:extLst>
          </p:cNvPr>
          <p:cNvSpPr>
            <a:spLocks noGrp="1"/>
          </p:cNvSpPr>
          <p:nvPr>
            <p:ph type="body" sz="quarter" idx="47" hasCustomPrompt="1"/>
          </p:nvPr>
        </p:nvSpPr>
        <p:spPr>
          <a:xfrm>
            <a:off x="2708270" y="2268184"/>
            <a:ext cx="2089592" cy="763413"/>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l">
              <a:lnSpc>
                <a:spcPct val="100000"/>
              </a:lnSpc>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5" name="Text Placeholder 4">
            <a:extLst>
              <a:ext uri="{FF2B5EF4-FFF2-40B4-BE49-F238E27FC236}">
                <a16:creationId xmlns:a16="http://schemas.microsoft.com/office/drawing/2014/main" id="{8405345F-192D-4473-A7B4-9B49E3A0BD3D}"/>
              </a:ext>
            </a:extLst>
          </p:cNvPr>
          <p:cNvSpPr>
            <a:spLocks noGrp="1"/>
          </p:cNvSpPr>
          <p:nvPr>
            <p:ph type="body" sz="quarter" idx="48" hasCustomPrompt="1"/>
          </p:nvPr>
        </p:nvSpPr>
        <p:spPr>
          <a:xfrm>
            <a:off x="2708270" y="3509440"/>
            <a:ext cx="2089592" cy="763413"/>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l">
              <a:lnSpc>
                <a:spcPct val="100000"/>
              </a:lnSpc>
              <a:buNone/>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6" name="Text Placeholder 4">
            <a:extLst>
              <a:ext uri="{FF2B5EF4-FFF2-40B4-BE49-F238E27FC236}">
                <a16:creationId xmlns:a16="http://schemas.microsoft.com/office/drawing/2014/main" id="{E38D9F2A-70AC-4167-9E62-ADCFF6CE3BD6}"/>
              </a:ext>
            </a:extLst>
          </p:cNvPr>
          <p:cNvSpPr>
            <a:spLocks noGrp="1"/>
          </p:cNvSpPr>
          <p:nvPr>
            <p:ph type="body" sz="quarter" idx="49" hasCustomPrompt="1"/>
          </p:nvPr>
        </p:nvSpPr>
        <p:spPr>
          <a:xfrm>
            <a:off x="2708270" y="5061007"/>
            <a:ext cx="2089592" cy="763413"/>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gn="l">
              <a:lnSpc>
                <a:spcPct val="100000"/>
              </a:lnSpc>
              <a:buNone/>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8" name="Text Placeholder 4">
            <a:extLst>
              <a:ext uri="{FF2B5EF4-FFF2-40B4-BE49-F238E27FC236}">
                <a16:creationId xmlns:a16="http://schemas.microsoft.com/office/drawing/2014/main" id="{70DD05D6-EE8F-49CA-91D1-050F29C42424}"/>
              </a:ext>
            </a:extLst>
          </p:cNvPr>
          <p:cNvSpPr>
            <a:spLocks noGrp="1"/>
          </p:cNvSpPr>
          <p:nvPr>
            <p:ph type="body" sz="quarter" idx="50" hasCustomPrompt="1"/>
          </p:nvPr>
        </p:nvSpPr>
        <p:spPr>
          <a:xfrm>
            <a:off x="5318129" y="1133907"/>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69" name="Text Placeholder 4">
            <a:extLst>
              <a:ext uri="{FF2B5EF4-FFF2-40B4-BE49-F238E27FC236}">
                <a16:creationId xmlns:a16="http://schemas.microsoft.com/office/drawing/2014/main" id="{1EA99A25-56A8-4612-8EB1-CD92E7E2F57D}"/>
              </a:ext>
            </a:extLst>
          </p:cNvPr>
          <p:cNvSpPr>
            <a:spLocks noGrp="1"/>
          </p:cNvSpPr>
          <p:nvPr>
            <p:ph type="body" sz="quarter" idx="51" hasCustomPrompt="1"/>
          </p:nvPr>
        </p:nvSpPr>
        <p:spPr>
          <a:xfrm>
            <a:off x="5318129" y="1444221"/>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98" name="Text Placeholder 4">
            <a:extLst>
              <a:ext uri="{FF2B5EF4-FFF2-40B4-BE49-F238E27FC236}">
                <a16:creationId xmlns:a16="http://schemas.microsoft.com/office/drawing/2014/main" id="{3265F17E-0B5C-43ED-BDA9-599DB191A225}"/>
              </a:ext>
            </a:extLst>
          </p:cNvPr>
          <p:cNvSpPr>
            <a:spLocks noGrp="1"/>
          </p:cNvSpPr>
          <p:nvPr>
            <p:ph type="body" sz="quarter" idx="52" hasCustomPrompt="1"/>
          </p:nvPr>
        </p:nvSpPr>
        <p:spPr>
          <a:xfrm>
            <a:off x="5318129" y="1754535"/>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99" name="Text Placeholder 4">
            <a:extLst>
              <a:ext uri="{FF2B5EF4-FFF2-40B4-BE49-F238E27FC236}">
                <a16:creationId xmlns:a16="http://schemas.microsoft.com/office/drawing/2014/main" id="{796181D3-F2A9-4AEF-9326-39AA3FA5AEE2}"/>
              </a:ext>
            </a:extLst>
          </p:cNvPr>
          <p:cNvSpPr>
            <a:spLocks noGrp="1"/>
          </p:cNvSpPr>
          <p:nvPr>
            <p:ph type="body" sz="quarter" idx="53" hasCustomPrompt="1"/>
          </p:nvPr>
        </p:nvSpPr>
        <p:spPr>
          <a:xfrm>
            <a:off x="5318129" y="2064849"/>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0" name="Text Placeholder 4">
            <a:extLst>
              <a:ext uri="{FF2B5EF4-FFF2-40B4-BE49-F238E27FC236}">
                <a16:creationId xmlns:a16="http://schemas.microsoft.com/office/drawing/2014/main" id="{C723E6EA-CA8D-4EBE-AB71-4CD12753ED1E}"/>
              </a:ext>
            </a:extLst>
          </p:cNvPr>
          <p:cNvSpPr>
            <a:spLocks noGrp="1"/>
          </p:cNvSpPr>
          <p:nvPr>
            <p:ph type="body" sz="quarter" idx="54" hasCustomPrompt="1"/>
          </p:nvPr>
        </p:nvSpPr>
        <p:spPr>
          <a:xfrm>
            <a:off x="5318129" y="2375163"/>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1" name="Text Placeholder 4">
            <a:extLst>
              <a:ext uri="{FF2B5EF4-FFF2-40B4-BE49-F238E27FC236}">
                <a16:creationId xmlns:a16="http://schemas.microsoft.com/office/drawing/2014/main" id="{97BEA751-5527-4BE9-97A1-E2588EAF47F8}"/>
              </a:ext>
            </a:extLst>
          </p:cNvPr>
          <p:cNvSpPr>
            <a:spLocks noGrp="1"/>
          </p:cNvSpPr>
          <p:nvPr>
            <p:ph type="body" sz="quarter" idx="55" hasCustomPrompt="1"/>
          </p:nvPr>
        </p:nvSpPr>
        <p:spPr>
          <a:xfrm>
            <a:off x="5318129" y="2685477"/>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2" name="Text Placeholder 4">
            <a:extLst>
              <a:ext uri="{FF2B5EF4-FFF2-40B4-BE49-F238E27FC236}">
                <a16:creationId xmlns:a16="http://schemas.microsoft.com/office/drawing/2014/main" id="{4AC97950-49C5-4184-A766-2F30FAEDA7F0}"/>
              </a:ext>
            </a:extLst>
          </p:cNvPr>
          <p:cNvSpPr>
            <a:spLocks noGrp="1"/>
          </p:cNvSpPr>
          <p:nvPr>
            <p:ph type="body" sz="quarter" idx="56" hasCustomPrompt="1"/>
          </p:nvPr>
        </p:nvSpPr>
        <p:spPr>
          <a:xfrm>
            <a:off x="5318129" y="2995791"/>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3" name="Text Placeholder 4">
            <a:extLst>
              <a:ext uri="{FF2B5EF4-FFF2-40B4-BE49-F238E27FC236}">
                <a16:creationId xmlns:a16="http://schemas.microsoft.com/office/drawing/2014/main" id="{321556BD-6EF7-4C6E-83D8-735ABF57C8F7}"/>
              </a:ext>
            </a:extLst>
          </p:cNvPr>
          <p:cNvSpPr>
            <a:spLocks noGrp="1"/>
          </p:cNvSpPr>
          <p:nvPr>
            <p:ph type="body" sz="quarter" idx="57" hasCustomPrompt="1"/>
          </p:nvPr>
        </p:nvSpPr>
        <p:spPr>
          <a:xfrm>
            <a:off x="5318129" y="3306105"/>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4" name="Text Placeholder 4">
            <a:extLst>
              <a:ext uri="{FF2B5EF4-FFF2-40B4-BE49-F238E27FC236}">
                <a16:creationId xmlns:a16="http://schemas.microsoft.com/office/drawing/2014/main" id="{53580FFD-6C29-4B85-BEFE-F8F391E0D8A7}"/>
              </a:ext>
            </a:extLst>
          </p:cNvPr>
          <p:cNvSpPr>
            <a:spLocks noGrp="1"/>
          </p:cNvSpPr>
          <p:nvPr>
            <p:ph type="body" sz="quarter" idx="58" hasCustomPrompt="1"/>
          </p:nvPr>
        </p:nvSpPr>
        <p:spPr>
          <a:xfrm>
            <a:off x="5318129" y="3616419"/>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5" name="Text Placeholder 4">
            <a:extLst>
              <a:ext uri="{FF2B5EF4-FFF2-40B4-BE49-F238E27FC236}">
                <a16:creationId xmlns:a16="http://schemas.microsoft.com/office/drawing/2014/main" id="{49F5FE38-D71D-4E11-B196-2FE6CC1D48DB}"/>
              </a:ext>
            </a:extLst>
          </p:cNvPr>
          <p:cNvSpPr>
            <a:spLocks noGrp="1"/>
          </p:cNvSpPr>
          <p:nvPr>
            <p:ph type="body" sz="quarter" idx="59" hasCustomPrompt="1"/>
          </p:nvPr>
        </p:nvSpPr>
        <p:spPr>
          <a:xfrm>
            <a:off x="5318129" y="3926733"/>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6" name="Text Placeholder 4">
            <a:extLst>
              <a:ext uri="{FF2B5EF4-FFF2-40B4-BE49-F238E27FC236}">
                <a16:creationId xmlns:a16="http://schemas.microsoft.com/office/drawing/2014/main" id="{2C18299C-C70B-4B71-B1D5-F053E3B3A077}"/>
              </a:ext>
            </a:extLst>
          </p:cNvPr>
          <p:cNvSpPr>
            <a:spLocks noGrp="1"/>
          </p:cNvSpPr>
          <p:nvPr>
            <p:ph type="body" sz="quarter" idx="60" hasCustomPrompt="1"/>
          </p:nvPr>
        </p:nvSpPr>
        <p:spPr>
          <a:xfrm>
            <a:off x="5318129" y="4237047"/>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7" name="Text Placeholder 4">
            <a:extLst>
              <a:ext uri="{FF2B5EF4-FFF2-40B4-BE49-F238E27FC236}">
                <a16:creationId xmlns:a16="http://schemas.microsoft.com/office/drawing/2014/main" id="{558F6DFD-5653-4806-9D95-35B17A3E618E}"/>
              </a:ext>
            </a:extLst>
          </p:cNvPr>
          <p:cNvSpPr>
            <a:spLocks noGrp="1"/>
          </p:cNvSpPr>
          <p:nvPr>
            <p:ph type="body" sz="quarter" idx="61" hasCustomPrompt="1"/>
          </p:nvPr>
        </p:nvSpPr>
        <p:spPr>
          <a:xfrm>
            <a:off x="5318129" y="4547361"/>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8" name="Text Placeholder 4">
            <a:extLst>
              <a:ext uri="{FF2B5EF4-FFF2-40B4-BE49-F238E27FC236}">
                <a16:creationId xmlns:a16="http://schemas.microsoft.com/office/drawing/2014/main" id="{2154DF3F-27C5-47CC-84D9-143C81E7B482}"/>
              </a:ext>
            </a:extLst>
          </p:cNvPr>
          <p:cNvSpPr>
            <a:spLocks noGrp="1"/>
          </p:cNvSpPr>
          <p:nvPr>
            <p:ph type="body" sz="quarter" idx="62" hasCustomPrompt="1"/>
          </p:nvPr>
        </p:nvSpPr>
        <p:spPr>
          <a:xfrm>
            <a:off x="5318129" y="4857675"/>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09" name="Text Placeholder 4">
            <a:extLst>
              <a:ext uri="{FF2B5EF4-FFF2-40B4-BE49-F238E27FC236}">
                <a16:creationId xmlns:a16="http://schemas.microsoft.com/office/drawing/2014/main" id="{54E4E32C-7A7B-4C5A-9F14-7FF9DDFDD13F}"/>
              </a:ext>
            </a:extLst>
          </p:cNvPr>
          <p:cNvSpPr>
            <a:spLocks noGrp="1"/>
          </p:cNvSpPr>
          <p:nvPr>
            <p:ph type="body" sz="quarter" idx="63" hasCustomPrompt="1"/>
          </p:nvPr>
        </p:nvSpPr>
        <p:spPr>
          <a:xfrm>
            <a:off x="5318129" y="5167989"/>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10" name="Text Placeholder 4">
            <a:extLst>
              <a:ext uri="{FF2B5EF4-FFF2-40B4-BE49-F238E27FC236}">
                <a16:creationId xmlns:a16="http://schemas.microsoft.com/office/drawing/2014/main" id="{CC018888-D02C-45C1-8321-CA89E7FED008}"/>
              </a:ext>
            </a:extLst>
          </p:cNvPr>
          <p:cNvSpPr>
            <a:spLocks noGrp="1"/>
          </p:cNvSpPr>
          <p:nvPr>
            <p:ph type="body" sz="quarter" idx="64" hasCustomPrompt="1"/>
          </p:nvPr>
        </p:nvSpPr>
        <p:spPr>
          <a:xfrm>
            <a:off x="5318129" y="5478303"/>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11" name="Text Placeholder 4">
            <a:extLst>
              <a:ext uri="{FF2B5EF4-FFF2-40B4-BE49-F238E27FC236}">
                <a16:creationId xmlns:a16="http://schemas.microsoft.com/office/drawing/2014/main" id="{A3540C75-829F-433E-BA1B-D0B1B66CB16A}"/>
              </a:ext>
            </a:extLst>
          </p:cNvPr>
          <p:cNvSpPr>
            <a:spLocks noGrp="1"/>
          </p:cNvSpPr>
          <p:nvPr>
            <p:ph type="body" sz="quarter" idx="65" hasCustomPrompt="1"/>
          </p:nvPr>
        </p:nvSpPr>
        <p:spPr>
          <a:xfrm>
            <a:off x="5318129" y="5788617"/>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sp>
        <p:nvSpPr>
          <p:cNvPr id="112" name="Text Placeholder 4">
            <a:extLst>
              <a:ext uri="{FF2B5EF4-FFF2-40B4-BE49-F238E27FC236}">
                <a16:creationId xmlns:a16="http://schemas.microsoft.com/office/drawing/2014/main" id="{3BEE92ED-307D-48F0-96F1-8C963E560BD4}"/>
              </a:ext>
            </a:extLst>
          </p:cNvPr>
          <p:cNvSpPr>
            <a:spLocks noGrp="1"/>
          </p:cNvSpPr>
          <p:nvPr>
            <p:ph type="body" sz="quarter" idx="66" hasCustomPrompt="1"/>
          </p:nvPr>
        </p:nvSpPr>
        <p:spPr>
          <a:xfrm>
            <a:off x="5318129" y="6098927"/>
            <a:ext cx="4165600" cy="239140"/>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None/>
              <a:defRPr lang="en-US" sz="1050" dirty="0" smtClean="0">
                <a:solidFill>
                  <a:schemeClr val="tx1"/>
                </a:solidFill>
              </a:defRPr>
            </a:lvl1pPr>
          </a:lstStyle>
          <a:p>
            <a:pPr marL="0" lvl="0" algn="ctr">
              <a:lnSpc>
                <a:spcPct val="110000"/>
              </a:lnSpc>
              <a:spcAft>
                <a:spcPts val="500"/>
              </a:spcAft>
            </a:pPr>
            <a:r>
              <a:rPr lang="en-US"/>
              <a:t>Click to edit master text styles</a:t>
            </a:r>
          </a:p>
        </p:txBody>
      </p:sp>
      <p:cxnSp>
        <p:nvCxnSpPr>
          <p:cNvPr id="8" name="Connector: Elbow 7">
            <a:extLst>
              <a:ext uri="{FF2B5EF4-FFF2-40B4-BE49-F238E27FC236}">
                <a16:creationId xmlns:a16="http://schemas.microsoft.com/office/drawing/2014/main" id="{355F6C81-75D9-4BCD-970D-3075A699EF7D}"/>
              </a:ext>
            </a:extLst>
          </p:cNvPr>
          <p:cNvCxnSpPr>
            <a:stCxn id="5" idx="3"/>
            <a:endCxn id="68" idx="1"/>
          </p:cNvCxnSpPr>
          <p:nvPr userDrawn="1"/>
        </p:nvCxnSpPr>
        <p:spPr>
          <a:xfrm flipV="1">
            <a:off x="4797862" y="1253477"/>
            <a:ext cx="520267" cy="310315"/>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B5A7589B-88F7-48DC-9C87-B804F4932BAB}"/>
              </a:ext>
            </a:extLst>
          </p:cNvPr>
          <p:cNvCxnSpPr>
            <a:stCxn id="5" idx="3"/>
            <a:endCxn id="98" idx="1"/>
          </p:cNvCxnSpPr>
          <p:nvPr userDrawn="1"/>
        </p:nvCxnSpPr>
        <p:spPr>
          <a:xfrm>
            <a:off x="4797862" y="1563792"/>
            <a:ext cx="520267" cy="310313"/>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16685E2-419F-4C3B-9B83-7F5A81BAFA3F}"/>
              </a:ext>
            </a:extLst>
          </p:cNvPr>
          <p:cNvCxnSpPr>
            <a:stCxn id="5" idx="3"/>
            <a:endCxn id="69" idx="1"/>
          </p:cNvCxnSpPr>
          <p:nvPr userDrawn="1"/>
        </p:nvCxnSpPr>
        <p:spPr>
          <a:xfrm flipV="1">
            <a:off x="4797862" y="1563791"/>
            <a:ext cx="520267" cy="1"/>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F8AF91B2-503B-4085-8878-E3466F5CA99E}"/>
              </a:ext>
            </a:extLst>
          </p:cNvPr>
          <p:cNvCxnSpPr>
            <a:stCxn id="64" idx="3"/>
            <a:endCxn id="99" idx="1"/>
          </p:cNvCxnSpPr>
          <p:nvPr userDrawn="1"/>
        </p:nvCxnSpPr>
        <p:spPr>
          <a:xfrm flipV="1">
            <a:off x="4797862" y="2184419"/>
            <a:ext cx="520267" cy="465472"/>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8F7DED6-776A-4B41-B18B-887A0494FA6B}"/>
              </a:ext>
            </a:extLst>
          </p:cNvPr>
          <p:cNvCxnSpPr>
            <a:stCxn id="64" idx="3"/>
            <a:endCxn id="102" idx="1"/>
          </p:cNvCxnSpPr>
          <p:nvPr userDrawn="1"/>
        </p:nvCxnSpPr>
        <p:spPr>
          <a:xfrm>
            <a:off x="4797862" y="2649891"/>
            <a:ext cx="520267" cy="465470"/>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DCDD2F4A-8DCC-4B29-B820-4CED6CD82CA2}"/>
              </a:ext>
            </a:extLst>
          </p:cNvPr>
          <p:cNvCxnSpPr>
            <a:stCxn id="64" idx="3"/>
            <a:endCxn id="100" idx="1"/>
          </p:cNvCxnSpPr>
          <p:nvPr userDrawn="1"/>
        </p:nvCxnSpPr>
        <p:spPr>
          <a:xfrm flipV="1">
            <a:off x="4797862" y="2494733"/>
            <a:ext cx="520267" cy="155158"/>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D3C0E031-76BF-43AA-A702-9CE4A8E231FA}"/>
              </a:ext>
            </a:extLst>
          </p:cNvPr>
          <p:cNvCxnSpPr>
            <a:stCxn id="64" idx="3"/>
            <a:endCxn id="101" idx="1"/>
          </p:cNvCxnSpPr>
          <p:nvPr userDrawn="1"/>
        </p:nvCxnSpPr>
        <p:spPr>
          <a:xfrm>
            <a:off x="4797862" y="2649891"/>
            <a:ext cx="520267" cy="155156"/>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74A12493-8554-4F9C-B6FF-4443CCCCBB7F}"/>
              </a:ext>
            </a:extLst>
          </p:cNvPr>
          <p:cNvCxnSpPr>
            <a:stCxn id="65" idx="3"/>
            <a:endCxn id="103" idx="1"/>
          </p:cNvCxnSpPr>
          <p:nvPr userDrawn="1"/>
        </p:nvCxnSpPr>
        <p:spPr>
          <a:xfrm flipV="1">
            <a:off x="4797862" y="3425675"/>
            <a:ext cx="520267" cy="465472"/>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22A3BC59-4AF1-4EB2-B979-48754A29FFCD}"/>
              </a:ext>
            </a:extLst>
          </p:cNvPr>
          <p:cNvCxnSpPr>
            <a:stCxn id="65" idx="3"/>
            <a:endCxn id="106" idx="1"/>
          </p:cNvCxnSpPr>
          <p:nvPr userDrawn="1"/>
        </p:nvCxnSpPr>
        <p:spPr>
          <a:xfrm>
            <a:off x="4797862" y="3891147"/>
            <a:ext cx="520267" cy="465470"/>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F4C35D1C-70B1-492A-9B31-D11C7FE3BCC1}"/>
              </a:ext>
            </a:extLst>
          </p:cNvPr>
          <p:cNvCxnSpPr>
            <a:stCxn id="65" idx="3"/>
            <a:endCxn id="104" idx="1"/>
          </p:cNvCxnSpPr>
          <p:nvPr userDrawn="1"/>
        </p:nvCxnSpPr>
        <p:spPr>
          <a:xfrm flipV="1">
            <a:off x="4797862" y="3735989"/>
            <a:ext cx="520267" cy="155158"/>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2C1815B4-DA86-423A-B472-078B14DCD50D}"/>
              </a:ext>
            </a:extLst>
          </p:cNvPr>
          <p:cNvCxnSpPr>
            <a:stCxn id="65" idx="3"/>
            <a:endCxn id="105" idx="1"/>
          </p:cNvCxnSpPr>
          <p:nvPr userDrawn="1"/>
        </p:nvCxnSpPr>
        <p:spPr>
          <a:xfrm>
            <a:off x="4797862" y="3891147"/>
            <a:ext cx="520267" cy="155156"/>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A4241189-714D-4174-A7A6-0ED224FDB964}"/>
              </a:ext>
            </a:extLst>
          </p:cNvPr>
          <p:cNvCxnSpPr>
            <a:stCxn id="66" idx="3"/>
            <a:endCxn id="108" idx="1"/>
          </p:cNvCxnSpPr>
          <p:nvPr userDrawn="1"/>
        </p:nvCxnSpPr>
        <p:spPr>
          <a:xfrm flipV="1">
            <a:off x="4797862" y="4977245"/>
            <a:ext cx="520267" cy="465469"/>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D63C6360-8772-4276-BE7A-C4F14303A309}"/>
              </a:ext>
            </a:extLst>
          </p:cNvPr>
          <p:cNvCxnSpPr>
            <a:stCxn id="66" idx="3"/>
            <a:endCxn id="107" idx="1"/>
          </p:cNvCxnSpPr>
          <p:nvPr userDrawn="1"/>
        </p:nvCxnSpPr>
        <p:spPr>
          <a:xfrm flipV="1">
            <a:off x="4797862" y="4666931"/>
            <a:ext cx="520267" cy="775783"/>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654D5773-601C-4D6F-869D-4E24FD975FD2}"/>
              </a:ext>
            </a:extLst>
          </p:cNvPr>
          <p:cNvCxnSpPr>
            <a:stCxn id="66" idx="3"/>
            <a:endCxn id="110" idx="1"/>
          </p:cNvCxnSpPr>
          <p:nvPr userDrawn="1"/>
        </p:nvCxnSpPr>
        <p:spPr>
          <a:xfrm>
            <a:off x="4797862" y="5442714"/>
            <a:ext cx="520267" cy="155159"/>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A71F7CD1-0171-44E7-BEFC-2539D6F0AA90}"/>
              </a:ext>
            </a:extLst>
          </p:cNvPr>
          <p:cNvCxnSpPr>
            <a:stCxn id="66" idx="3"/>
            <a:endCxn id="111" idx="1"/>
          </p:cNvCxnSpPr>
          <p:nvPr userDrawn="1"/>
        </p:nvCxnSpPr>
        <p:spPr>
          <a:xfrm>
            <a:off x="4797862" y="5442714"/>
            <a:ext cx="520267" cy="465473"/>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0FF492F-B0DA-4494-A5E7-BA6FCEDAAFC3}"/>
              </a:ext>
            </a:extLst>
          </p:cNvPr>
          <p:cNvCxnSpPr>
            <a:stCxn id="66" idx="3"/>
            <a:endCxn id="112" idx="1"/>
          </p:cNvCxnSpPr>
          <p:nvPr userDrawn="1"/>
        </p:nvCxnSpPr>
        <p:spPr>
          <a:xfrm>
            <a:off x="4797862" y="5442714"/>
            <a:ext cx="520267" cy="775783"/>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2F596F88-6DB5-4780-A912-048B0D0413A8}"/>
              </a:ext>
            </a:extLst>
          </p:cNvPr>
          <p:cNvCxnSpPr>
            <a:stCxn id="66" idx="3"/>
            <a:endCxn id="109" idx="1"/>
          </p:cNvCxnSpPr>
          <p:nvPr userDrawn="1"/>
        </p:nvCxnSpPr>
        <p:spPr>
          <a:xfrm flipV="1">
            <a:off x="4797862" y="5287559"/>
            <a:ext cx="520267" cy="155155"/>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6089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C51EA8C-BC09-4B19-A489-A5A45D82831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Shape 15">
            <a:extLst>
              <a:ext uri="{FF2B5EF4-FFF2-40B4-BE49-F238E27FC236}">
                <a16:creationId xmlns:a16="http://schemas.microsoft.com/office/drawing/2014/main" id="{6DA9258B-35F4-43B9-968C-CE3C7D530CD1}"/>
              </a:ext>
            </a:extLst>
          </p:cNvPr>
          <p:cNvSpPr/>
          <p:nvPr userDrawn="1"/>
        </p:nvSpPr>
        <p:spPr>
          <a:xfrm flipH="1">
            <a:off x="-1" y="1"/>
            <a:ext cx="1881189" cy="4772023"/>
          </a:xfrm>
          <a:custGeom>
            <a:avLst/>
            <a:gdLst>
              <a:gd name="connsiteX0" fmla="*/ 1881188 w 1881189"/>
              <a:gd name="connsiteY0" fmla="*/ 0 h 4772023"/>
              <a:gd name="connsiteX1" fmla="*/ 1135758 w 1881189"/>
              <a:gd name="connsiteY1" fmla="*/ 0 h 4772023"/>
              <a:gd name="connsiteX2" fmla="*/ 127 w 1881189"/>
              <a:gd name="connsiteY2" fmla="*/ 1739444 h 4772023"/>
              <a:gd name="connsiteX3" fmla="*/ 899 w 1881189"/>
              <a:gd name="connsiteY3" fmla="*/ 1740688 h 4772023"/>
              <a:gd name="connsiteX4" fmla="*/ 0 w 1881189"/>
              <a:gd name="connsiteY4" fmla="*/ 1740688 h 4772023"/>
              <a:gd name="connsiteX5" fmla="*/ 1881189 w 1881189"/>
              <a:gd name="connsiteY5" fmla="*/ 4772023 h 4772023"/>
              <a:gd name="connsiteX6" fmla="*/ 1881189 w 1881189"/>
              <a:gd name="connsiteY6" fmla="*/ 1740688 h 4772023"/>
              <a:gd name="connsiteX7" fmla="*/ 1881188 w 1881189"/>
              <a:gd name="connsiteY7" fmla="*/ 1740688 h 47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189" h="4772023">
                <a:moveTo>
                  <a:pt x="1881188" y="0"/>
                </a:moveTo>
                <a:lnTo>
                  <a:pt x="1135758" y="0"/>
                </a:lnTo>
                <a:lnTo>
                  <a:pt x="127" y="1739444"/>
                </a:lnTo>
                <a:lnTo>
                  <a:pt x="899" y="1740688"/>
                </a:lnTo>
                <a:lnTo>
                  <a:pt x="0" y="1740688"/>
                </a:lnTo>
                <a:lnTo>
                  <a:pt x="1881189" y="4772023"/>
                </a:lnTo>
                <a:lnTo>
                  <a:pt x="1881189" y="1740688"/>
                </a:lnTo>
                <a:lnTo>
                  <a:pt x="1881188" y="17406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Shape 16">
            <a:extLst>
              <a:ext uri="{FF2B5EF4-FFF2-40B4-BE49-F238E27FC236}">
                <a16:creationId xmlns:a16="http://schemas.microsoft.com/office/drawing/2014/main" id="{A0BDBAF4-BC9C-4EE7-9E18-F6344D748D6C}"/>
              </a:ext>
            </a:extLst>
          </p:cNvPr>
          <p:cNvSpPr/>
          <p:nvPr userDrawn="1"/>
        </p:nvSpPr>
        <p:spPr>
          <a:xfrm flipV="1">
            <a:off x="826542" y="0"/>
            <a:ext cx="2134540" cy="1676215"/>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Content Placeholder 2">
            <a:extLst>
              <a:ext uri="{FF2B5EF4-FFF2-40B4-BE49-F238E27FC236}">
                <a16:creationId xmlns:a16="http://schemas.microsoft.com/office/drawing/2014/main" id="{7F94CA57-30E3-49CC-A0E6-193C5A991918}"/>
              </a:ext>
            </a:extLst>
          </p:cNvPr>
          <p:cNvSpPr>
            <a:spLocks noGrp="1"/>
          </p:cNvSpPr>
          <p:nvPr>
            <p:ph idx="22" hasCustomPrompt="1"/>
          </p:nvPr>
        </p:nvSpPr>
        <p:spPr>
          <a:xfrm>
            <a:off x="4661167" y="1402877"/>
            <a:ext cx="4952733" cy="169277"/>
          </a:xfrm>
        </p:spPr>
        <p:txBody>
          <a:bodyPr wrap="square" lIns="0" tIns="0" rIns="0" bIns="0" anchor="t" anchorCtr="0">
            <a:no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100" b="0" kern="1200" dirty="0" smtClean="0">
                <a:solidFill>
                  <a:schemeClr val="tx1"/>
                </a:solidFill>
                <a:latin typeface="+mn-lt"/>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13" name="Text Placeholder 2">
            <a:extLst>
              <a:ext uri="{FF2B5EF4-FFF2-40B4-BE49-F238E27FC236}">
                <a16:creationId xmlns:a16="http://schemas.microsoft.com/office/drawing/2014/main" id="{88003B5B-2E34-475E-90AF-1C674529509D}"/>
              </a:ext>
            </a:extLst>
          </p:cNvPr>
          <p:cNvSpPr>
            <a:spLocks noGrp="1"/>
          </p:cNvSpPr>
          <p:nvPr>
            <p:ph type="body" sz="quarter" idx="23" hasCustomPrompt="1"/>
          </p:nvPr>
        </p:nvSpPr>
        <p:spPr>
          <a:xfrm>
            <a:off x="4661167" y="845744"/>
            <a:ext cx="4952733" cy="369332"/>
          </a:xfrm>
        </p:spPr>
        <p:txBody>
          <a:bodyPr wrap="square" lIns="0" tIns="0" rIns="0" bIns="0" anchor="b" anchorCtr="0">
            <a:noAutofit/>
          </a:bodyPr>
          <a:lstStyle>
            <a:lvl1pPr marL="0" indent="0">
              <a:lnSpc>
                <a:spcPct val="100000"/>
              </a:lnSpc>
              <a:buNone/>
              <a:defRPr sz="2400" b="1" cap="all" baseline="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Header</a:t>
            </a:r>
          </a:p>
        </p:txBody>
      </p:sp>
    </p:spTree>
    <p:extLst>
      <p:ext uri="{BB962C8B-B14F-4D97-AF65-F5344CB8AC3E}">
        <p14:creationId xmlns:p14="http://schemas.microsoft.com/office/powerpoint/2010/main" val="7857253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2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820979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userDrawn="1">
            <p:ph type="title" hasCustomPrompt="1"/>
          </p:nvPr>
        </p:nvSpPr>
        <p:spPr>
          <a:xfrm>
            <a:off x="346991" y="286173"/>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5" name="Text Placeholder 4">
            <a:extLst>
              <a:ext uri="{FF2B5EF4-FFF2-40B4-BE49-F238E27FC236}">
                <a16:creationId xmlns:a16="http://schemas.microsoft.com/office/drawing/2014/main" id="{FC5D250B-A340-4362-B636-4F7903E4815B}"/>
              </a:ext>
            </a:extLst>
          </p:cNvPr>
          <p:cNvSpPr>
            <a:spLocks noGrp="1"/>
          </p:cNvSpPr>
          <p:nvPr>
            <p:ph type="body" sz="quarter" idx="46" hasCustomPrompt="1"/>
          </p:nvPr>
        </p:nvSpPr>
        <p:spPr>
          <a:xfrm>
            <a:off x="906780" y="1379646"/>
            <a:ext cx="2354755" cy="630920"/>
          </a:xfr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lvl1pPr marL="0" indent="0" algn="l">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4" name="Text Placeholder 4">
            <a:extLst>
              <a:ext uri="{FF2B5EF4-FFF2-40B4-BE49-F238E27FC236}">
                <a16:creationId xmlns:a16="http://schemas.microsoft.com/office/drawing/2014/main" id="{F24A6CF2-DA12-4F69-B4F0-D0818D8857E2}"/>
              </a:ext>
            </a:extLst>
          </p:cNvPr>
          <p:cNvSpPr>
            <a:spLocks noGrp="1"/>
          </p:cNvSpPr>
          <p:nvPr>
            <p:ph type="body" sz="quarter" idx="47" hasCustomPrompt="1"/>
          </p:nvPr>
        </p:nvSpPr>
        <p:spPr>
          <a:xfrm>
            <a:off x="3677263" y="1379646"/>
            <a:ext cx="2354755" cy="63092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lvl1pPr marL="0" indent="0" algn="l">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5" name="Text Placeholder 4">
            <a:extLst>
              <a:ext uri="{FF2B5EF4-FFF2-40B4-BE49-F238E27FC236}">
                <a16:creationId xmlns:a16="http://schemas.microsoft.com/office/drawing/2014/main" id="{8405345F-192D-4473-A7B4-9B49E3A0BD3D}"/>
              </a:ext>
            </a:extLst>
          </p:cNvPr>
          <p:cNvSpPr>
            <a:spLocks noGrp="1"/>
          </p:cNvSpPr>
          <p:nvPr>
            <p:ph type="body" sz="quarter" idx="48" hasCustomPrompt="1"/>
          </p:nvPr>
        </p:nvSpPr>
        <p:spPr>
          <a:xfrm>
            <a:off x="6447746" y="1379646"/>
            <a:ext cx="2354755" cy="63092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lvl1pPr marL="0" indent="0" algn="l">
              <a:buNone/>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66" name="Text Placeholder 4">
            <a:extLst>
              <a:ext uri="{FF2B5EF4-FFF2-40B4-BE49-F238E27FC236}">
                <a16:creationId xmlns:a16="http://schemas.microsoft.com/office/drawing/2014/main" id="{E38D9F2A-70AC-4167-9E62-ADCFF6CE3BD6}"/>
              </a:ext>
            </a:extLst>
          </p:cNvPr>
          <p:cNvSpPr>
            <a:spLocks noGrp="1"/>
          </p:cNvSpPr>
          <p:nvPr>
            <p:ph type="body" sz="quarter" idx="49" hasCustomPrompt="1"/>
          </p:nvPr>
        </p:nvSpPr>
        <p:spPr>
          <a:xfrm>
            <a:off x="9218230" y="1379646"/>
            <a:ext cx="2354755" cy="63092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lvl1pPr marL="0" indent="0" algn="l">
              <a:buNone/>
              <a:defRPr lang="en-US" sz="1400" b="1" cap="all" baseline="0" dirty="0" smtClean="0">
                <a:solidFill>
                  <a:schemeClr val="bg1"/>
                </a:solidFill>
              </a:defRPr>
            </a:lvl1pPr>
          </a:lstStyle>
          <a:p>
            <a:pPr marL="0" lvl="0" algn="ctr">
              <a:lnSpc>
                <a:spcPct val="110000"/>
              </a:lnSpc>
              <a:spcAft>
                <a:spcPts val="500"/>
              </a:spcAft>
            </a:pPr>
            <a:r>
              <a:rPr lang="en-US"/>
              <a:t>CLICK TO EDIT MASTER TEXT STYLES</a:t>
            </a:r>
          </a:p>
        </p:txBody>
      </p:sp>
      <p:sp>
        <p:nvSpPr>
          <p:cNvPr id="51" name="Text Placeholder 4">
            <a:extLst>
              <a:ext uri="{FF2B5EF4-FFF2-40B4-BE49-F238E27FC236}">
                <a16:creationId xmlns:a16="http://schemas.microsoft.com/office/drawing/2014/main" id="{15438D36-3A97-4279-BF4F-31B31FAC6F47}"/>
              </a:ext>
            </a:extLst>
          </p:cNvPr>
          <p:cNvSpPr>
            <a:spLocks noGrp="1"/>
          </p:cNvSpPr>
          <p:nvPr>
            <p:ph type="body" sz="quarter" idx="50" hasCustomPrompt="1"/>
          </p:nvPr>
        </p:nvSpPr>
        <p:spPr>
          <a:xfrm>
            <a:off x="1105075" y="2146200"/>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57" name="Text Placeholder 4">
            <a:extLst>
              <a:ext uri="{FF2B5EF4-FFF2-40B4-BE49-F238E27FC236}">
                <a16:creationId xmlns:a16="http://schemas.microsoft.com/office/drawing/2014/main" id="{8CCCA949-D4C7-4AFE-8299-EDCE4DB5430F}"/>
              </a:ext>
            </a:extLst>
          </p:cNvPr>
          <p:cNvSpPr>
            <a:spLocks noGrp="1"/>
          </p:cNvSpPr>
          <p:nvPr>
            <p:ph type="body" sz="quarter" idx="51" hasCustomPrompt="1"/>
          </p:nvPr>
        </p:nvSpPr>
        <p:spPr>
          <a:xfrm>
            <a:off x="1105075" y="2839243"/>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58" name="Text Placeholder 4">
            <a:extLst>
              <a:ext uri="{FF2B5EF4-FFF2-40B4-BE49-F238E27FC236}">
                <a16:creationId xmlns:a16="http://schemas.microsoft.com/office/drawing/2014/main" id="{4398097C-C560-42E1-981D-13D8DBC8023D}"/>
              </a:ext>
            </a:extLst>
          </p:cNvPr>
          <p:cNvSpPr>
            <a:spLocks noGrp="1"/>
          </p:cNvSpPr>
          <p:nvPr>
            <p:ph type="body" sz="quarter" idx="52" hasCustomPrompt="1"/>
          </p:nvPr>
        </p:nvSpPr>
        <p:spPr>
          <a:xfrm>
            <a:off x="1105075" y="3532286"/>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4" name="Rectangle 3">
            <a:extLst>
              <a:ext uri="{FF2B5EF4-FFF2-40B4-BE49-F238E27FC236}">
                <a16:creationId xmlns:a16="http://schemas.microsoft.com/office/drawing/2014/main" id="{212912E2-FC68-49CF-B323-E214F0BE3C54}"/>
              </a:ext>
            </a:extLst>
          </p:cNvPr>
          <p:cNvSpPr/>
          <p:nvPr userDrawn="1"/>
        </p:nvSpPr>
        <p:spPr>
          <a:xfrm>
            <a:off x="906780" y="1774479"/>
            <a:ext cx="198295" cy="236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cxnSp>
        <p:nvCxnSpPr>
          <p:cNvPr id="9" name="Connector: Elbow 8">
            <a:extLst>
              <a:ext uri="{FF2B5EF4-FFF2-40B4-BE49-F238E27FC236}">
                <a16:creationId xmlns:a16="http://schemas.microsoft.com/office/drawing/2014/main" id="{979A7E8E-0DB8-4C80-B82A-A74C0631F681}"/>
              </a:ext>
            </a:extLst>
          </p:cNvPr>
          <p:cNvCxnSpPr>
            <a:stCxn id="4" idx="2"/>
            <a:endCxn id="51" idx="1"/>
          </p:cNvCxnSpPr>
          <p:nvPr userDrawn="1"/>
        </p:nvCxnSpPr>
        <p:spPr>
          <a:xfrm rot="16200000" flipH="1">
            <a:off x="848331" y="2168161"/>
            <a:ext cx="414340" cy="99147"/>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C8D9FCF9-2CFA-4B15-8CB7-98497C63C71B}"/>
              </a:ext>
            </a:extLst>
          </p:cNvPr>
          <p:cNvCxnSpPr>
            <a:stCxn id="57" idx="1"/>
            <a:endCxn id="4" idx="2"/>
          </p:cNvCxnSpPr>
          <p:nvPr userDrawn="1"/>
        </p:nvCxnSpPr>
        <p:spPr>
          <a:xfrm rot="10800000">
            <a:off x="1005929" y="2010566"/>
            <a:ext cx="99147" cy="1107383"/>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2A986D1-8968-4B82-9087-E37CBF02DD47}"/>
              </a:ext>
            </a:extLst>
          </p:cNvPr>
          <p:cNvCxnSpPr>
            <a:stCxn id="58" idx="1"/>
            <a:endCxn id="4" idx="2"/>
          </p:cNvCxnSpPr>
          <p:nvPr userDrawn="1"/>
        </p:nvCxnSpPr>
        <p:spPr>
          <a:xfrm rot="10800000">
            <a:off x="1005929" y="2010565"/>
            <a:ext cx="99147" cy="1800426"/>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4" name="Text Placeholder 4">
            <a:extLst>
              <a:ext uri="{FF2B5EF4-FFF2-40B4-BE49-F238E27FC236}">
                <a16:creationId xmlns:a16="http://schemas.microsoft.com/office/drawing/2014/main" id="{4AE8ADFA-7439-4161-8897-B47FEC8EF225}"/>
              </a:ext>
            </a:extLst>
          </p:cNvPr>
          <p:cNvSpPr>
            <a:spLocks noGrp="1"/>
          </p:cNvSpPr>
          <p:nvPr>
            <p:ph type="body" sz="quarter" idx="56" hasCustomPrompt="1"/>
          </p:nvPr>
        </p:nvSpPr>
        <p:spPr>
          <a:xfrm>
            <a:off x="3875558" y="2146200"/>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95" name="Text Placeholder 4">
            <a:extLst>
              <a:ext uri="{FF2B5EF4-FFF2-40B4-BE49-F238E27FC236}">
                <a16:creationId xmlns:a16="http://schemas.microsoft.com/office/drawing/2014/main" id="{CCD07BD6-E647-46D1-9E48-6A6C1D361525}"/>
              </a:ext>
            </a:extLst>
          </p:cNvPr>
          <p:cNvSpPr>
            <a:spLocks noGrp="1"/>
          </p:cNvSpPr>
          <p:nvPr>
            <p:ph type="body" sz="quarter" idx="57" hasCustomPrompt="1"/>
          </p:nvPr>
        </p:nvSpPr>
        <p:spPr>
          <a:xfrm>
            <a:off x="3875558" y="2839243"/>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96" name="Text Placeholder 4">
            <a:extLst>
              <a:ext uri="{FF2B5EF4-FFF2-40B4-BE49-F238E27FC236}">
                <a16:creationId xmlns:a16="http://schemas.microsoft.com/office/drawing/2014/main" id="{B60AD437-CD63-4B1C-B530-3EE9DE33B18B}"/>
              </a:ext>
            </a:extLst>
          </p:cNvPr>
          <p:cNvSpPr>
            <a:spLocks noGrp="1"/>
          </p:cNvSpPr>
          <p:nvPr>
            <p:ph type="body" sz="quarter" idx="58" hasCustomPrompt="1"/>
          </p:nvPr>
        </p:nvSpPr>
        <p:spPr>
          <a:xfrm>
            <a:off x="3875558" y="3532286"/>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97" name="Text Placeholder 4">
            <a:extLst>
              <a:ext uri="{FF2B5EF4-FFF2-40B4-BE49-F238E27FC236}">
                <a16:creationId xmlns:a16="http://schemas.microsoft.com/office/drawing/2014/main" id="{82C212FF-57A5-44C8-808A-18D20169087A}"/>
              </a:ext>
            </a:extLst>
          </p:cNvPr>
          <p:cNvSpPr>
            <a:spLocks noGrp="1"/>
          </p:cNvSpPr>
          <p:nvPr>
            <p:ph type="body" sz="quarter" idx="59" hasCustomPrompt="1"/>
          </p:nvPr>
        </p:nvSpPr>
        <p:spPr>
          <a:xfrm>
            <a:off x="3875558" y="4225329"/>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15" name="Rectangle 114">
            <a:extLst>
              <a:ext uri="{FF2B5EF4-FFF2-40B4-BE49-F238E27FC236}">
                <a16:creationId xmlns:a16="http://schemas.microsoft.com/office/drawing/2014/main" id="{38C99448-156E-40D7-8995-D9E2F87AA5D9}"/>
              </a:ext>
            </a:extLst>
          </p:cNvPr>
          <p:cNvSpPr/>
          <p:nvPr userDrawn="1"/>
        </p:nvSpPr>
        <p:spPr>
          <a:xfrm>
            <a:off x="3677263" y="1774479"/>
            <a:ext cx="198295" cy="236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cxnSp>
        <p:nvCxnSpPr>
          <p:cNvPr id="116" name="Connector: Elbow 115">
            <a:extLst>
              <a:ext uri="{FF2B5EF4-FFF2-40B4-BE49-F238E27FC236}">
                <a16:creationId xmlns:a16="http://schemas.microsoft.com/office/drawing/2014/main" id="{05A0CE8D-08E0-4242-86B0-ABE1CAB376BE}"/>
              </a:ext>
            </a:extLst>
          </p:cNvPr>
          <p:cNvCxnSpPr>
            <a:stCxn id="115" idx="2"/>
            <a:endCxn id="94" idx="1"/>
          </p:cNvCxnSpPr>
          <p:nvPr userDrawn="1"/>
        </p:nvCxnSpPr>
        <p:spPr>
          <a:xfrm rot="16200000" flipH="1">
            <a:off x="3618814" y="2168161"/>
            <a:ext cx="414340" cy="99147"/>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305114D2-0336-4D4F-830A-13929BBB3168}"/>
              </a:ext>
            </a:extLst>
          </p:cNvPr>
          <p:cNvCxnSpPr>
            <a:stCxn id="95" idx="1"/>
            <a:endCxn id="115" idx="2"/>
          </p:cNvCxnSpPr>
          <p:nvPr userDrawn="1"/>
        </p:nvCxnSpPr>
        <p:spPr>
          <a:xfrm rot="10800000">
            <a:off x="3776412" y="2010566"/>
            <a:ext cx="99147" cy="1107383"/>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9C486C64-16C6-4F6D-BF06-45FEECB0F0C2}"/>
              </a:ext>
            </a:extLst>
          </p:cNvPr>
          <p:cNvCxnSpPr>
            <a:stCxn id="96" idx="1"/>
            <a:endCxn id="115" idx="2"/>
          </p:cNvCxnSpPr>
          <p:nvPr userDrawn="1"/>
        </p:nvCxnSpPr>
        <p:spPr>
          <a:xfrm rot="10800000">
            <a:off x="3776412" y="2010565"/>
            <a:ext cx="99147" cy="1800426"/>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2C926E03-2945-488C-AE51-3A3805E480D1}"/>
              </a:ext>
            </a:extLst>
          </p:cNvPr>
          <p:cNvCxnSpPr>
            <a:stCxn id="97" idx="1"/>
            <a:endCxn id="115" idx="2"/>
          </p:cNvCxnSpPr>
          <p:nvPr userDrawn="1"/>
        </p:nvCxnSpPr>
        <p:spPr>
          <a:xfrm rot="10800000">
            <a:off x="3776412" y="2010566"/>
            <a:ext cx="99147" cy="2493469"/>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8" name="Text Placeholder 4">
            <a:extLst>
              <a:ext uri="{FF2B5EF4-FFF2-40B4-BE49-F238E27FC236}">
                <a16:creationId xmlns:a16="http://schemas.microsoft.com/office/drawing/2014/main" id="{20152A49-77AF-4314-8F9A-75820C4D3A96}"/>
              </a:ext>
            </a:extLst>
          </p:cNvPr>
          <p:cNvSpPr>
            <a:spLocks noGrp="1"/>
          </p:cNvSpPr>
          <p:nvPr>
            <p:ph type="body" sz="quarter" idx="62" hasCustomPrompt="1"/>
          </p:nvPr>
        </p:nvSpPr>
        <p:spPr>
          <a:xfrm>
            <a:off x="6646041" y="2146200"/>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29" name="Text Placeholder 4">
            <a:extLst>
              <a:ext uri="{FF2B5EF4-FFF2-40B4-BE49-F238E27FC236}">
                <a16:creationId xmlns:a16="http://schemas.microsoft.com/office/drawing/2014/main" id="{7B6FC14B-A2BA-4152-9036-289A6DD22FCF}"/>
              </a:ext>
            </a:extLst>
          </p:cNvPr>
          <p:cNvSpPr>
            <a:spLocks noGrp="1"/>
          </p:cNvSpPr>
          <p:nvPr>
            <p:ph type="body" sz="quarter" idx="63" hasCustomPrompt="1"/>
          </p:nvPr>
        </p:nvSpPr>
        <p:spPr>
          <a:xfrm>
            <a:off x="6646041" y="2839243"/>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30" name="Text Placeholder 4">
            <a:extLst>
              <a:ext uri="{FF2B5EF4-FFF2-40B4-BE49-F238E27FC236}">
                <a16:creationId xmlns:a16="http://schemas.microsoft.com/office/drawing/2014/main" id="{B101F703-154F-4182-850A-15C2C7DC7305}"/>
              </a:ext>
            </a:extLst>
          </p:cNvPr>
          <p:cNvSpPr>
            <a:spLocks noGrp="1"/>
          </p:cNvSpPr>
          <p:nvPr>
            <p:ph type="body" sz="quarter" idx="64" hasCustomPrompt="1"/>
          </p:nvPr>
        </p:nvSpPr>
        <p:spPr>
          <a:xfrm>
            <a:off x="6646041" y="3532286"/>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31" name="Text Placeholder 4">
            <a:extLst>
              <a:ext uri="{FF2B5EF4-FFF2-40B4-BE49-F238E27FC236}">
                <a16:creationId xmlns:a16="http://schemas.microsoft.com/office/drawing/2014/main" id="{88BEB176-9BFE-461D-8DD3-723D1F58407F}"/>
              </a:ext>
            </a:extLst>
          </p:cNvPr>
          <p:cNvSpPr>
            <a:spLocks noGrp="1"/>
          </p:cNvSpPr>
          <p:nvPr>
            <p:ph type="body" sz="quarter" idx="65" hasCustomPrompt="1"/>
          </p:nvPr>
        </p:nvSpPr>
        <p:spPr>
          <a:xfrm>
            <a:off x="6646041" y="4225329"/>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34" name="Rectangle 133">
            <a:extLst>
              <a:ext uri="{FF2B5EF4-FFF2-40B4-BE49-F238E27FC236}">
                <a16:creationId xmlns:a16="http://schemas.microsoft.com/office/drawing/2014/main" id="{AA99054E-86C6-4E22-AEB6-4C1D87EAF269}"/>
              </a:ext>
            </a:extLst>
          </p:cNvPr>
          <p:cNvSpPr/>
          <p:nvPr userDrawn="1"/>
        </p:nvSpPr>
        <p:spPr>
          <a:xfrm>
            <a:off x="6447746" y="1774479"/>
            <a:ext cx="198295" cy="236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cxnSp>
        <p:nvCxnSpPr>
          <p:cNvPr id="135" name="Connector: Elbow 134">
            <a:extLst>
              <a:ext uri="{FF2B5EF4-FFF2-40B4-BE49-F238E27FC236}">
                <a16:creationId xmlns:a16="http://schemas.microsoft.com/office/drawing/2014/main" id="{400E51CE-8435-4FCE-8E4F-AFB498F5486E}"/>
              </a:ext>
            </a:extLst>
          </p:cNvPr>
          <p:cNvCxnSpPr>
            <a:stCxn id="134" idx="2"/>
            <a:endCxn id="128" idx="1"/>
          </p:cNvCxnSpPr>
          <p:nvPr userDrawn="1"/>
        </p:nvCxnSpPr>
        <p:spPr>
          <a:xfrm rot="16200000" flipH="1">
            <a:off x="6389297" y="2168161"/>
            <a:ext cx="414340" cy="99147"/>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4F1A6F15-2ACE-495B-B34A-666C52620663}"/>
              </a:ext>
            </a:extLst>
          </p:cNvPr>
          <p:cNvCxnSpPr>
            <a:stCxn id="129" idx="1"/>
            <a:endCxn id="134" idx="2"/>
          </p:cNvCxnSpPr>
          <p:nvPr userDrawn="1"/>
        </p:nvCxnSpPr>
        <p:spPr>
          <a:xfrm rot="10800000">
            <a:off x="6546895" y="2010566"/>
            <a:ext cx="99147" cy="1107383"/>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D679EA38-2621-4EFF-8BC8-2B2742F87B6A}"/>
              </a:ext>
            </a:extLst>
          </p:cNvPr>
          <p:cNvCxnSpPr>
            <a:stCxn id="130" idx="1"/>
            <a:endCxn id="134" idx="2"/>
          </p:cNvCxnSpPr>
          <p:nvPr userDrawn="1"/>
        </p:nvCxnSpPr>
        <p:spPr>
          <a:xfrm rot="10800000">
            <a:off x="6546895" y="2010565"/>
            <a:ext cx="99147" cy="1800426"/>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Connector: Elbow 137">
            <a:extLst>
              <a:ext uri="{FF2B5EF4-FFF2-40B4-BE49-F238E27FC236}">
                <a16:creationId xmlns:a16="http://schemas.microsoft.com/office/drawing/2014/main" id="{7757C03B-2147-4154-84A7-FB99AA97447A}"/>
              </a:ext>
            </a:extLst>
          </p:cNvPr>
          <p:cNvCxnSpPr>
            <a:stCxn id="131" idx="1"/>
            <a:endCxn id="134" idx="2"/>
          </p:cNvCxnSpPr>
          <p:nvPr userDrawn="1"/>
        </p:nvCxnSpPr>
        <p:spPr>
          <a:xfrm rot="10800000">
            <a:off x="6546895" y="2010566"/>
            <a:ext cx="99147" cy="2493469"/>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1" name="Text Placeholder 4">
            <a:extLst>
              <a:ext uri="{FF2B5EF4-FFF2-40B4-BE49-F238E27FC236}">
                <a16:creationId xmlns:a16="http://schemas.microsoft.com/office/drawing/2014/main" id="{AE058D2D-A1ED-446C-9166-4847BBE26826}"/>
              </a:ext>
            </a:extLst>
          </p:cNvPr>
          <p:cNvSpPr>
            <a:spLocks noGrp="1"/>
          </p:cNvSpPr>
          <p:nvPr>
            <p:ph type="body" sz="quarter" idx="68" hasCustomPrompt="1"/>
          </p:nvPr>
        </p:nvSpPr>
        <p:spPr>
          <a:xfrm>
            <a:off x="9416524" y="2146200"/>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2" name="Text Placeholder 4">
            <a:extLst>
              <a:ext uri="{FF2B5EF4-FFF2-40B4-BE49-F238E27FC236}">
                <a16:creationId xmlns:a16="http://schemas.microsoft.com/office/drawing/2014/main" id="{1059B31C-A884-4AF5-8EF4-1C0341CD917C}"/>
              </a:ext>
            </a:extLst>
          </p:cNvPr>
          <p:cNvSpPr>
            <a:spLocks noGrp="1"/>
          </p:cNvSpPr>
          <p:nvPr>
            <p:ph type="body" sz="quarter" idx="69" hasCustomPrompt="1"/>
          </p:nvPr>
        </p:nvSpPr>
        <p:spPr>
          <a:xfrm>
            <a:off x="9416524" y="2839243"/>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3" name="Text Placeholder 4">
            <a:extLst>
              <a:ext uri="{FF2B5EF4-FFF2-40B4-BE49-F238E27FC236}">
                <a16:creationId xmlns:a16="http://schemas.microsoft.com/office/drawing/2014/main" id="{2B75C843-356F-4F0F-B3A5-2C432AB0088A}"/>
              </a:ext>
            </a:extLst>
          </p:cNvPr>
          <p:cNvSpPr>
            <a:spLocks noGrp="1"/>
          </p:cNvSpPr>
          <p:nvPr>
            <p:ph type="body" sz="quarter" idx="70" hasCustomPrompt="1"/>
          </p:nvPr>
        </p:nvSpPr>
        <p:spPr>
          <a:xfrm>
            <a:off x="9416524" y="3532286"/>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4" name="Text Placeholder 4">
            <a:extLst>
              <a:ext uri="{FF2B5EF4-FFF2-40B4-BE49-F238E27FC236}">
                <a16:creationId xmlns:a16="http://schemas.microsoft.com/office/drawing/2014/main" id="{90DA39DD-F5FB-4C23-B007-D7943BA3749E}"/>
              </a:ext>
            </a:extLst>
          </p:cNvPr>
          <p:cNvSpPr>
            <a:spLocks noGrp="1"/>
          </p:cNvSpPr>
          <p:nvPr>
            <p:ph type="body" sz="quarter" idx="71" hasCustomPrompt="1"/>
          </p:nvPr>
        </p:nvSpPr>
        <p:spPr>
          <a:xfrm>
            <a:off x="9416524" y="4225329"/>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5" name="Text Placeholder 4">
            <a:extLst>
              <a:ext uri="{FF2B5EF4-FFF2-40B4-BE49-F238E27FC236}">
                <a16:creationId xmlns:a16="http://schemas.microsoft.com/office/drawing/2014/main" id="{35C31F7E-15C0-437E-9438-99DA2BE90A09}"/>
              </a:ext>
            </a:extLst>
          </p:cNvPr>
          <p:cNvSpPr>
            <a:spLocks noGrp="1"/>
          </p:cNvSpPr>
          <p:nvPr>
            <p:ph type="body" sz="quarter" idx="72" hasCustomPrompt="1"/>
          </p:nvPr>
        </p:nvSpPr>
        <p:spPr>
          <a:xfrm>
            <a:off x="9416524" y="4918372"/>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6" name="Text Placeholder 4">
            <a:extLst>
              <a:ext uri="{FF2B5EF4-FFF2-40B4-BE49-F238E27FC236}">
                <a16:creationId xmlns:a16="http://schemas.microsoft.com/office/drawing/2014/main" id="{66290901-F12D-48AA-B370-5C7A8414EFAA}"/>
              </a:ext>
            </a:extLst>
          </p:cNvPr>
          <p:cNvSpPr>
            <a:spLocks noGrp="1"/>
          </p:cNvSpPr>
          <p:nvPr>
            <p:ph type="body" sz="quarter" idx="73" hasCustomPrompt="1"/>
          </p:nvPr>
        </p:nvSpPr>
        <p:spPr>
          <a:xfrm>
            <a:off x="9416524" y="5611416"/>
            <a:ext cx="2156460" cy="557409"/>
          </a:xfr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lvl1pPr marL="0" indent="0" algn="l">
              <a:buNone/>
              <a:defRPr lang="en-US" sz="1400" dirty="0" smtClean="0">
                <a:solidFill>
                  <a:schemeClr val="tx1"/>
                </a:solidFill>
              </a:defRPr>
            </a:lvl1pPr>
          </a:lstStyle>
          <a:p>
            <a:pPr marL="0" lvl="0">
              <a:lnSpc>
                <a:spcPct val="110000"/>
              </a:lnSpc>
              <a:spcAft>
                <a:spcPts val="500"/>
              </a:spcAft>
            </a:pPr>
            <a:r>
              <a:rPr lang="en-US"/>
              <a:t>Click to edit master text styles</a:t>
            </a:r>
          </a:p>
        </p:txBody>
      </p:sp>
      <p:sp>
        <p:nvSpPr>
          <p:cNvPr id="147" name="Rectangle 146">
            <a:extLst>
              <a:ext uri="{FF2B5EF4-FFF2-40B4-BE49-F238E27FC236}">
                <a16:creationId xmlns:a16="http://schemas.microsoft.com/office/drawing/2014/main" id="{BF7FA112-7EB7-4C3A-BCA9-AD4C951F1AD4}"/>
              </a:ext>
            </a:extLst>
          </p:cNvPr>
          <p:cNvSpPr/>
          <p:nvPr userDrawn="1"/>
        </p:nvSpPr>
        <p:spPr>
          <a:xfrm>
            <a:off x="9218229" y="1774479"/>
            <a:ext cx="198295" cy="2360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cap="all" baseline="0" dirty="0"/>
          </a:p>
        </p:txBody>
      </p:sp>
      <p:cxnSp>
        <p:nvCxnSpPr>
          <p:cNvPr id="148" name="Connector: Elbow 147">
            <a:extLst>
              <a:ext uri="{FF2B5EF4-FFF2-40B4-BE49-F238E27FC236}">
                <a16:creationId xmlns:a16="http://schemas.microsoft.com/office/drawing/2014/main" id="{823CA601-9901-4086-8CD3-30BA4AF2C0CD}"/>
              </a:ext>
            </a:extLst>
          </p:cNvPr>
          <p:cNvCxnSpPr>
            <a:stCxn id="147" idx="2"/>
            <a:endCxn id="141" idx="1"/>
          </p:cNvCxnSpPr>
          <p:nvPr userDrawn="1"/>
        </p:nvCxnSpPr>
        <p:spPr>
          <a:xfrm rot="16200000" flipH="1">
            <a:off x="9159780" y="2168161"/>
            <a:ext cx="414340" cy="99147"/>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9" name="Connector: Elbow 148">
            <a:extLst>
              <a:ext uri="{FF2B5EF4-FFF2-40B4-BE49-F238E27FC236}">
                <a16:creationId xmlns:a16="http://schemas.microsoft.com/office/drawing/2014/main" id="{9D2286A1-2350-4EE0-9882-36D344209418}"/>
              </a:ext>
            </a:extLst>
          </p:cNvPr>
          <p:cNvCxnSpPr>
            <a:stCxn id="142" idx="1"/>
            <a:endCxn id="147" idx="2"/>
          </p:cNvCxnSpPr>
          <p:nvPr userDrawn="1"/>
        </p:nvCxnSpPr>
        <p:spPr>
          <a:xfrm rot="10800000">
            <a:off x="9317378" y="2010566"/>
            <a:ext cx="99147" cy="1107383"/>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0" name="Connector: Elbow 149">
            <a:extLst>
              <a:ext uri="{FF2B5EF4-FFF2-40B4-BE49-F238E27FC236}">
                <a16:creationId xmlns:a16="http://schemas.microsoft.com/office/drawing/2014/main" id="{288DCE87-14D2-480C-A2E7-DA2901BF4AB8}"/>
              </a:ext>
            </a:extLst>
          </p:cNvPr>
          <p:cNvCxnSpPr>
            <a:stCxn id="143" idx="1"/>
            <a:endCxn id="147" idx="2"/>
          </p:cNvCxnSpPr>
          <p:nvPr userDrawn="1"/>
        </p:nvCxnSpPr>
        <p:spPr>
          <a:xfrm rot="10800000">
            <a:off x="9317378" y="2010565"/>
            <a:ext cx="99147" cy="1800426"/>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Connector: Elbow 150">
            <a:extLst>
              <a:ext uri="{FF2B5EF4-FFF2-40B4-BE49-F238E27FC236}">
                <a16:creationId xmlns:a16="http://schemas.microsoft.com/office/drawing/2014/main" id="{A1A7E145-DE83-4FD2-919A-9A28087E317C}"/>
              </a:ext>
            </a:extLst>
          </p:cNvPr>
          <p:cNvCxnSpPr>
            <a:stCxn id="144" idx="1"/>
            <a:endCxn id="147" idx="2"/>
          </p:cNvCxnSpPr>
          <p:nvPr userDrawn="1"/>
        </p:nvCxnSpPr>
        <p:spPr>
          <a:xfrm rot="10800000">
            <a:off x="9317378" y="2010566"/>
            <a:ext cx="99147" cy="2493469"/>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Connector: Elbow 151">
            <a:extLst>
              <a:ext uri="{FF2B5EF4-FFF2-40B4-BE49-F238E27FC236}">
                <a16:creationId xmlns:a16="http://schemas.microsoft.com/office/drawing/2014/main" id="{11A24070-F5E0-45BD-82CB-F71E60064E09}"/>
              </a:ext>
            </a:extLst>
          </p:cNvPr>
          <p:cNvCxnSpPr>
            <a:stCxn id="145" idx="1"/>
            <a:endCxn id="147" idx="2"/>
          </p:cNvCxnSpPr>
          <p:nvPr userDrawn="1"/>
        </p:nvCxnSpPr>
        <p:spPr>
          <a:xfrm rot="10800000">
            <a:off x="9317378" y="2010565"/>
            <a:ext cx="99147" cy="3186512"/>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164105CE-7673-4F32-83E2-68DBE79D66F3}"/>
              </a:ext>
            </a:extLst>
          </p:cNvPr>
          <p:cNvCxnSpPr>
            <a:stCxn id="146" idx="1"/>
            <a:endCxn id="147" idx="2"/>
          </p:cNvCxnSpPr>
          <p:nvPr userDrawn="1"/>
        </p:nvCxnSpPr>
        <p:spPr>
          <a:xfrm rot="10800000">
            <a:off x="9317378" y="2010565"/>
            <a:ext cx="99147" cy="3879556"/>
          </a:xfrm>
          <a:prstGeom prst="bentConnector2">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00130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55" name="Rectangle 54">
            <a:extLst>
              <a:ext uri="{FF2B5EF4-FFF2-40B4-BE49-F238E27FC236}">
                <a16:creationId xmlns:a16="http://schemas.microsoft.com/office/drawing/2014/main" id="{1FE67DAE-00B4-4FE3-8FA3-71EE7E081126}"/>
              </a:ext>
            </a:extLst>
          </p:cNvPr>
          <p:cNvSpPr/>
          <p:nvPr userDrawn="1"/>
        </p:nvSpPr>
        <p:spPr>
          <a:xfrm>
            <a:off x="0" y="-1"/>
            <a:ext cx="12192000"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6" name="Group 55">
            <a:extLst>
              <a:ext uri="{FF2B5EF4-FFF2-40B4-BE49-F238E27FC236}">
                <a16:creationId xmlns:a16="http://schemas.microsoft.com/office/drawing/2014/main" id="{E4445C7C-4634-4D53-8B98-D97A53B9A40F}"/>
              </a:ext>
            </a:extLst>
          </p:cNvPr>
          <p:cNvGrpSpPr/>
          <p:nvPr userDrawn="1"/>
        </p:nvGrpSpPr>
        <p:grpSpPr>
          <a:xfrm>
            <a:off x="7732321" y="-1"/>
            <a:ext cx="4459679" cy="6858001"/>
            <a:chOff x="7732321" y="-1"/>
            <a:chExt cx="4459679" cy="6858001"/>
          </a:xfrm>
        </p:grpSpPr>
        <p:sp>
          <p:nvSpPr>
            <p:cNvPr id="59" name="Freeform: Shape 58">
              <a:extLst>
                <a:ext uri="{FF2B5EF4-FFF2-40B4-BE49-F238E27FC236}">
                  <a16:creationId xmlns:a16="http://schemas.microsoft.com/office/drawing/2014/main" id="{515ECF65-13C8-47E1-8FE5-4686CD6DB1EA}"/>
                </a:ext>
              </a:extLst>
            </p:cNvPr>
            <p:cNvSpPr/>
            <p:nvPr/>
          </p:nvSpPr>
          <p:spPr>
            <a:xfrm>
              <a:off x="9358938" y="0"/>
              <a:ext cx="2833062" cy="6858000"/>
            </a:xfrm>
            <a:custGeom>
              <a:avLst/>
              <a:gdLst>
                <a:gd name="connsiteX0" fmla="*/ 1710371 w 2833062"/>
                <a:gd name="connsiteY0" fmla="*/ 0 h 6858000"/>
                <a:gd name="connsiteX1" fmla="*/ 2833062 w 2833062"/>
                <a:gd name="connsiteY1" fmla="*/ 0 h 6858000"/>
                <a:gd name="connsiteX2" fmla="*/ 2833062 w 2833062"/>
                <a:gd name="connsiteY2" fmla="*/ 6858000 h 6858000"/>
                <a:gd name="connsiteX3" fmla="*/ 2654269 w 2833062"/>
                <a:gd name="connsiteY3" fmla="*/ 6858000 h 6858000"/>
                <a:gd name="connsiteX4" fmla="*/ 2189624 w 2833062"/>
                <a:gd name="connsiteY4" fmla="*/ 6146305 h 6858000"/>
                <a:gd name="connsiteX5" fmla="*/ 0 w 2833062"/>
                <a:gd name="connsiteY5" fmla="*/ 2619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062" h="6858000">
                  <a:moveTo>
                    <a:pt x="1710371" y="0"/>
                  </a:moveTo>
                  <a:lnTo>
                    <a:pt x="2833062" y="0"/>
                  </a:lnTo>
                  <a:lnTo>
                    <a:pt x="2833062" y="6858000"/>
                  </a:lnTo>
                  <a:lnTo>
                    <a:pt x="2654269" y="6858000"/>
                  </a:lnTo>
                  <a:lnTo>
                    <a:pt x="2189624" y="6146305"/>
                  </a:lnTo>
                  <a:lnTo>
                    <a:pt x="0" y="261977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0" name="Freeform: Shape 59">
              <a:extLst>
                <a:ext uri="{FF2B5EF4-FFF2-40B4-BE49-F238E27FC236}">
                  <a16:creationId xmlns:a16="http://schemas.microsoft.com/office/drawing/2014/main" id="{F1E923AE-7EF7-4CA9-B267-E7AE216A4C1B}"/>
                </a:ext>
              </a:extLst>
            </p:cNvPr>
            <p:cNvSpPr/>
            <p:nvPr/>
          </p:nvSpPr>
          <p:spPr>
            <a:xfrm flipH="1" flipV="1">
              <a:off x="7732321"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61" name="Freeform: Shape 60">
            <a:extLst>
              <a:ext uri="{FF2B5EF4-FFF2-40B4-BE49-F238E27FC236}">
                <a16:creationId xmlns:a16="http://schemas.microsoft.com/office/drawing/2014/main" id="{341F317F-CC58-464F-B103-3D08B8B1DFDA}"/>
              </a:ext>
            </a:extLst>
          </p:cNvPr>
          <p:cNvSpPr/>
          <p:nvPr userDrawn="1"/>
        </p:nvSpPr>
        <p:spPr>
          <a:xfrm flipH="1">
            <a:off x="1" y="3694069"/>
            <a:ext cx="1964485" cy="3163930"/>
          </a:xfrm>
          <a:custGeom>
            <a:avLst/>
            <a:gdLst>
              <a:gd name="connsiteX0" fmla="*/ 1964485 w 1964485"/>
              <a:gd name="connsiteY0" fmla="*/ 0 h 3163930"/>
              <a:gd name="connsiteX1" fmla="*/ 0 w 1964485"/>
              <a:gd name="connsiteY1" fmla="*/ 3163930 h 3163930"/>
              <a:gd name="connsiteX2" fmla="*/ 1964485 w 1964485"/>
              <a:gd name="connsiteY2" fmla="*/ 3163930 h 3163930"/>
            </a:gdLst>
            <a:ahLst/>
            <a:cxnLst>
              <a:cxn ang="0">
                <a:pos x="connsiteX0" y="connsiteY0"/>
              </a:cxn>
              <a:cxn ang="0">
                <a:pos x="connsiteX1" y="connsiteY1"/>
              </a:cxn>
              <a:cxn ang="0">
                <a:pos x="connsiteX2" y="connsiteY2"/>
              </a:cxn>
            </a:cxnLst>
            <a:rect l="l" t="t" r="r" b="b"/>
            <a:pathLst>
              <a:path w="1964485" h="3163930">
                <a:moveTo>
                  <a:pt x="1964485" y="0"/>
                </a:moveTo>
                <a:lnTo>
                  <a:pt x="0" y="3163930"/>
                </a:lnTo>
                <a:lnTo>
                  <a:pt x="1964485" y="316393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itle 1">
            <a:extLst>
              <a:ext uri="{FF2B5EF4-FFF2-40B4-BE49-F238E27FC236}">
                <a16:creationId xmlns:a16="http://schemas.microsoft.com/office/drawing/2014/main" id="{0429C772-EB3C-4B0D-963D-3151B3CF9238}"/>
              </a:ext>
            </a:extLst>
          </p:cNvPr>
          <p:cNvSpPr>
            <a:spLocks noGrp="1"/>
          </p:cNvSpPr>
          <p:nvPr>
            <p:ph type="title" hasCustomPrompt="1"/>
          </p:nvPr>
        </p:nvSpPr>
        <p:spPr>
          <a:xfrm>
            <a:off x="630244" y="560102"/>
            <a:ext cx="5986238" cy="1107996"/>
          </a:xfrm>
        </p:spPr>
        <p:txBody>
          <a:bodyPr wrap="square" lIns="0" tIns="0" rIns="0" bIns="0" anchor="t" anchorCtr="0">
            <a:spAutoFit/>
          </a:bodyPr>
          <a:lstStyle>
            <a:lvl1pPr algn="l" defTabSz="914400" rtl="0" eaLnBrk="1" latinLnBrk="0" hangingPunct="1">
              <a:lnSpc>
                <a:spcPct val="100000"/>
              </a:lnSpc>
              <a:spcBef>
                <a:spcPct val="0"/>
              </a:spcBef>
              <a:buNone/>
              <a:defRPr lang="fr-FR" sz="3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67" name="Rectangle 66">
            <a:extLst>
              <a:ext uri="{FF2B5EF4-FFF2-40B4-BE49-F238E27FC236}">
                <a16:creationId xmlns:a16="http://schemas.microsoft.com/office/drawing/2014/main" id="{D477EC05-C8DC-48CB-9D2E-211A3DCC5C66}"/>
              </a:ext>
            </a:extLst>
          </p:cNvPr>
          <p:cNvSpPr/>
          <p:nvPr userDrawn="1"/>
        </p:nvSpPr>
        <p:spPr>
          <a:xfrm>
            <a:off x="648532" y="1823597"/>
            <a:ext cx="272250" cy="269216"/>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68" name="Text Placeholder 4">
            <a:extLst>
              <a:ext uri="{FF2B5EF4-FFF2-40B4-BE49-F238E27FC236}">
                <a16:creationId xmlns:a16="http://schemas.microsoft.com/office/drawing/2014/main" id="{AC675956-21FE-4C01-983C-4FE44A2ABA4F}"/>
              </a:ext>
            </a:extLst>
          </p:cNvPr>
          <p:cNvSpPr>
            <a:spLocks noGrp="1"/>
          </p:cNvSpPr>
          <p:nvPr>
            <p:ph type="body" sz="quarter" idx="50" hasCustomPrompt="1"/>
          </p:nvPr>
        </p:nvSpPr>
        <p:spPr>
          <a:xfrm>
            <a:off x="982242" y="1861697"/>
            <a:ext cx="2876133" cy="187167"/>
          </a:xfrm>
        </p:spPr>
        <p:txBody>
          <a:bodyPr wrap="square" lIns="0" tIns="0" rIns="0" bIns="0" anchor="t">
            <a:spAutoFit/>
          </a:bodyPr>
          <a:lstStyle>
            <a:lvl1pPr marL="0" indent="0">
              <a:spcBef>
                <a:spcPts val="0"/>
              </a:spcBef>
              <a:buNone/>
              <a:defRPr lang="en-US" sz="1200" dirty="0" smtClean="0">
                <a:solidFill>
                  <a:schemeClr val="bg1"/>
                </a:solidFill>
              </a:defRPr>
            </a:lvl1pPr>
          </a:lstStyle>
          <a:p>
            <a:pPr marL="0" lvl="0">
              <a:lnSpc>
                <a:spcPct val="110000"/>
              </a:lnSpc>
              <a:spcAft>
                <a:spcPts val="600"/>
              </a:spcAft>
            </a:pPr>
            <a:r>
              <a:rPr lang="en-US"/>
              <a:t>Click to edit master text styles</a:t>
            </a:r>
          </a:p>
        </p:txBody>
      </p:sp>
      <p:sp>
        <p:nvSpPr>
          <p:cNvPr id="69" name="Rectangle 68">
            <a:extLst>
              <a:ext uri="{FF2B5EF4-FFF2-40B4-BE49-F238E27FC236}">
                <a16:creationId xmlns:a16="http://schemas.microsoft.com/office/drawing/2014/main" id="{D5648A3B-1B25-4A14-B66A-BFCA1C0D41F3}"/>
              </a:ext>
            </a:extLst>
          </p:cNvPr>
          <p:cNvSpPr/>
          <p:nvPr userDrawn="1"/>
        </p:nvSpPr>
        <p:spPr>
          <a:xfrm>
            <a:off x="4055510" y="1823597"/>
            <a:ext cx="272250" cy="269216"/>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70" name="Text Placeholder 4">
            <a:extLst>
              <a:ext uri="{FF2B5EF4-FFF2-40B4-BE49-F238E27FC236}">
                <a16:creationId xmlns:a16="http://schemas.microsoft.com/office/drawing/2014/main" id="{178D814D-7478-4FBD-BEE0-2332CEDF7759}"/>
              </a:ext>
            </a:extLst>
          </p:cNvPr>
          <p:cNvSpPr>
            <a:spLocks noGrp="1"/>
          </p:cNvSpPr>
          <p:nvPr>
            <p:ph type="body" sz="quarter" idx="51" hasCustomPrompt="1"/>
          </p:nvPr>
        </p:nvSpPr>
        <p:spPr>
          <a:xfrm>
            <a:off x="4389220" y="1861697"/>
            <a:ext cx="2362937" cy="187167"/>
          </a:xfrm>
        </p:spPr>
        <p:txBody>
          <a:bodyPr wrap="square" lIns="0" tIns="0" rIns="0" bIns="0" anchor="t">
            <a:spAutoFit/>
          </a:bodyPr>
          <a:lstStyle>
            <a:lvl1pPr marL="0" indent="0">
              <a:spcBef>
                <a:spcPts val="0"/>
              </a:spcBef>
              <a:buNone/>
              <a:defRPr lang="en-US" sz="1200" dirty="0" smtClean="0">
                <a:solidFill>
                  <a:schemeClr val="bg1"/>
                </a:solidFill>
              </a:defRPr>
            </a:lvl1pPr>
          </a:lstStyle>
          <a:p>
            <a:pPr marL="0" lvl="0">
              <a:lnSpc>
                <a:spcPct val="110000"/>
              </a:lnSpc>
              <a:spcAft>
                <a:spcPts val="600"/>
              </a:spcAft>
            </a:pPr>
            <a:r>
              <a:rPr lang="en-US"/>
              <a:t>Click to edit master text styles</a:t>
            </a:r>
          </a:p>
        </p:txBody>
      </p:sp>
      <p:sp>
        <p:nvSpPr>
          <p:cNvPr id="71" name="Rectangle 70">
            <a:extLst>
              <a:ext uri="{FF2B5EF4-FFF2-40B4-BE49-F238E27FC236}">
                <a16:creationId xmlns:a16="http://schemas.microsoft.com/office/drawing/2014/main" id="{866DE877-39E2-4497-9646-D893322BDD9F}"/>
              </a:ext>
            </a:extLst>
          </p:cNvPr>
          <p:cNvSpPr/>
          <p:nvPr userDrawn="1"/>
        </p:nvSpPr>
        <p:spPr>
          <a:xfrm>
            <a:off x="648532" y="2431983"/>
            <a:ext cx="272250" cy="269216"/>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72" name="Text Placeholder 4">
            <a:extLst>
              <a:ext uri="{FF2B5EF4-FFF2-40B4-BE49-F238E27FC236}">
                <a16:creationId xmlns:a16="http://schemas.microsoft.com/office/drawing/2014/main" id="{088668C4-B4A4-40A4-BDB1-9AEE7A6B69F6}"/>
              </a:ext>
            </a:extLst>
          </p:cNvPr>
          <p:cNvSpPr>
            <a:spLocks noGrp="1"/>
          </p:cNvSpPr>
          <p:nvPr>
            <p:ph type="body" sz="quarter" idx="52" hasCustomPrompt="1"/>
          </p:nvPr>
        </p:nvSpPr>
        <p:spPr>
          <a:xfrm>
            <a:off x="982242" y="2470083"/>
            <a:ext cx="2876133" cy="187167"/>
          </a:xfrm>
        </p:spPr>
        <p:txBody>
          <a:bodyPr wrap="square" lIns="0" tIns="0" rIns="0" bIns="0" anchor="t">
            <a:spAutoFit/>
          </a:bodyPr>
          <a:lstStyle>
            <a:lvl1pPr marL="0" indent="0">
              <a:spcBef>
                <a:spcPts val="0"/>
              </a:spcBef>
              <a:buNone/>
              <a:defRPr lang="en-US" sz="1200" dirty="0" smtClean="0">
                <a:solidFill>
                  <a:schemeClr val="bg1"/>
                </a:solidFill>
              </a:defRPr>
            </a:lvl1pPr>
          </a:lstStyle>
          <a:p>
            <a:pPr marL="0" lvl="0">
              <a:lnSpc>
                <a:spcPct val="110000"/>
              </a:lnSpc>
              <a:spcAft>
                <a:spcPts val="600"/>
              </a:spcAft>
            </a:pPr>
            <a:r>
              <a:rPr lang="en-US"/>
              <a:t>Click to edit master text styles</a:t>
            </a:r>
          </a:p>
        </p:txBody>
      </p:sp>
      <p:sp>
        <p:nvSpPr>
          <p:cNvPr id="73" name="Rectangle 72">
            <a:extLst>
              <a:ext uri="{FF2B5EF4-FFF2-40B4-BE49-F238E27FC236}">
                <a16:creationId xmlns:a16="http://schemas.microsoft.com/office/drawing/2014/main" id="{FF4D08E4-2AE4-49CC-9C3B-EFC7467D0631}"/>
              </a:ext>
            </a:extLst>
          </p:cNvPr>
          <p:cNvSpPr/>
          <p:nvPr userDrawn="1"/>
        </p:nvSpPr>
        <p:spPr>
          <a:xfrm>
            <a:off x="4055510" y="2431983"/>
            <a:ext cx="272250" cy="269216"/>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74" name="Text Placeholder 4">
            <a:extLst>
              <a:ext uri="{FF2B5EF4-FFF2-40B4-BE49-F238E27FC236}">
                <a16:creationId xmlns:a16="http://schemas.microsoft.com/office/drawing/2014/main" id="{5BD47514-85D9-42AA-A200-517280E7A3F8}"/>
              </a:ext>
            </a:extLst>
          </p:cNvPr>
          <p:cNvSpPr>
            <a:spLocks noGrp="1"/>
          </p:cNvSpPr>
          <p:nvPr>
            <p:ph type="body" sz="quarter" idx="53" hasCustomPrompt="1"/>
          </p:nvPr>
        </p:nvSpPr>
        <p:spPr>
          <a:xfrm>
            <a:off x="4389220" y="2470083"/>
            <a:ext cx="2362937" cy="187167"/>
          </a:xfrm>
        </p:spPr>
        <p:txBody>
          <a:bodyPr wrap="square" lIns="0" tIns="0" rIns="0" bIns="0" anchor="t">
            <a:spAutoFit/>
          </a:bodyPr>
          <a:lstStyle>
            <a:lvl1pPr marL="0" indent="0">
              <a:spcBef>
                <a:spcPts val="0"/>
              </a:spcBef>
              <a:buNone/>
              <a:defRPr lang="en-US" sz="1200" dirty="0" smtClean="0">
                <a:solidFill>
                  <a:schemeClr val="bg1"/>
                </a:solidFill>
              </a:defRPr>
            </a:lvl1pPr>
          </a:lstStyle>
          <a:p>
            <a:pPr marL="0" lvl="0">
              <a:lnSpc>
                <a:spcPct val="110000"/>
              </a:lnSpc>
              <a:spcAft>
                <a:spcPts val="600"/>
              </a:spcAft>
            </a:pPr>
            <a:r>
              <a:rPr lang="en-US"/>
              <a:t>Click to edit master text styles</a:t>
            </a:r>
          </a:p>
        </p:txBody>
      </p:sp>
      <p:pic>
        <p:nvPicPr>
          <p:cNvPr id="75" name="Picture 74">
            <a:extLst>
              <a:ext uri="{FF2B5EF4-FFF2-40B4-BE49-F238E27FC236}">
                <a16:creationId xmlns:a16="http://schemas.microsoft.com/office/drawing/2014/main" id="{26B4A4F2-C6E0-4D70-AC20-9719B42BFA68}"/>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6793166" y="5798095"/>
            <a:ext cx="2855304" cy="356910"/>
          </a:xfrm>
          <a:prstGeom prst="rect">
            <a:avLst/>
          </a:prstGeom>
        </p:spPr>
      </p:pic>
      <p:sp>
        <p:nvSpPr>
          <p:cNvPr id="8" name="Picture Placeholder 7">
            <a:extLst>
              <a:ext uri="{FF2B5EF4-FFF2-40B4-BE49-F238E27FC236}">
                <a16:creationId xmlns:a16="http://schemas.microsoft.com/office/drawing/2014/main" id="{C15B026B-E537-457B-81A3-5493E1738145}"/>
              </a:ext>
            </a:extLst>
          </p:cNvPr>
          <p:cNvSpPr>
            <a:spLocks noGrp="1"/>
          </p:cNvSpPr>
          <p:nvPr>
            <p:ph type="pic" sz="quarter" idx="54" hasCustomPrompt="1"/>
          </p:nvPr>
        </p:nvSpPr>
        <p:spPr>
          <a:xfrm>
            <a:off x="703705" y="1865005"/>
            <a:ext cx="186402" cy="186400"/>
          </a:xfrm>
        </p:spPr>
        <p:txBody>
          <a:bodyPr wrap="none">
            <a:noAutofit/>
          </a:bodyPr>
          <a:lstStyle>
            <a:lvl1pPr marL="0" indent="0">
              <a:buNone/>
              <a:defRPr sz="500">
                <a:solidFill>
                  <a:schemeClr val="bg1"/>
                </a:solidFill>
              </a:defRPr>
            </a:lvl1pPr>
          </a:lstStyle>
          <a:p>
            <a:r>
              <a:rPr lang="en-US" dirty="0"/>
              <a:t>ICON</a:t>
            </a:r>
          </a:p>
        </p:txBody>
      </p:sp>
      <p:sp>
        <p:nvSpPr>
          <p:cNvPr id="76" name="Picture Placeholder 7">
            <a:extLst>
              <a:ext uri="{FF2B5EF4-FFF2-40B4-BE49-F238E27FC236}">
                <a16:creationId xmlns:a16="http://schemas.microsoft.com/office/drawing/2014/main" id="{FD6E48C0-6E37-40E8-8AC2-A98BB88B29AF}"/>
              </a:ext>
            </a:extLst>
          </p:cNvPr>
          <p:cNvSpPr>
            <a:spLocks noGrp="1"/>
          </p:cNvSpPr>
          <p:nvPr>
            <p:ph type="pic" sz="quarter" idx="55" hasCustomPrompt="1"/>
          </p:nvPr>
        </p:nvSpPr>
        <p:spPr>
          <a:xfrm>
            <a:off x="703705" y="2481864"/>
            <a:ext cx="169456" cy="169455"/>
          </a:xfrm>
        </p:spPr>
        <p:txBody>
          <a:bodyPr wrap="none">
            <a:noAutofit/>
          </a:bodyPr>
          <a:lstStyle>
            <a:lvl1pPr marL="0" indent="0">
              <a:buNone/>
              <a:defRPr sz="500">
                <a:solidFill>
                  <a:schemeClr val="bg1"/>
                </a:solidFill>
              </a:defRPr>
            </a:lvl1pPr>
          </a:lstStyle>
          <a:p>
            <a:r>
              <a:rPr lang="en-US" dirty="0"/>
              <a:t>ICON</a:t>
            </a:r>
          </a:p>
        </p:txBody>
      </p:sp>
      <p:sp>
        <p:nvSpPr>
          <p:cNvPr id="77" name="Picture Placeholder 7">
            <a:extLst>
              <a:ext uri="{FF2B5EF4-FFF2-40B4-BE49-F238E27FC236}">
                <a16:creationId xmlns:a16="http://schemas.microsoft.com/office/drawing/2014/main" id="{B261EF47-778C-48B2-8CE1-2AD98370B8DA}"/>
              </a:ext>
            </a:extLst>
          </p:cNvPr>
          <p:cNvSpPr>
            <a:spLocks noGrp="1"/>
          </p:cNvSpPr>
          <p:nvPr>
            <p:ph type="pic" sz="quarter" idx="56" hasCustomPrompt="1"/>
          </p:nvPr>
        </p:nvSpPr>
        <p:spPr>
          <a:xfrm>
            <a:off x="4110683" y="1873075"/>
            <a:ext cx="170260" cy="170260"/>
          </a:xfrm>
        </p:spPr>
        <p:txBody>
          <a:bodyPr wrap="none">
            <a:noAutofit/>
          </a:bodyPr>
          <a:lstStyle>
            <a:lvl1pPr marL="0" indent="0">
              <a:buNone/>
              <a:defRPr sz="500">
                <a:solidFill>
                  <a:schemeClr val="bg1"/>
                </a:solidFill>
              </a:defRPr>
            </a:lvl1pPr>
          </a:lstStyle>
          <a:p>
            <a:r>
              <a:rPr lang="en-US" dirty="0"/>
              <a:t>ICON</a:t>
            </a:r>
          </a:p>
        </p:txBody>
      </p:sp>
      <p:sp>
        <p:nvSpPr>
          <p:cNvPr id="78" name="Picture Placeholder 7">
            <a:extLst>
              <a:ext uri="{FF2B5EF4-FFF2-40B4-BE49-F238E27FC236}">
                <a16:creationId xmlns:a16="http://schemas.microsoft.com/office/drawing/2014/main" id="{1B00CCCC-0608-4F8E-9AC7-B303DC6552B0}"/>
              </a:ext>
            </a:extLst>
          </p:cNvPr>
          <p:cNvSpPr>
            <a:spLocks noGrp="1"/>
          </p:cNvSpPr>
          <p:nvPr>
            <p:ph type="pic" sz="quarter" idx="57" hasCustomPrompt="1"/>
          </p:nvPr>
        </p:nvSpPr>
        <p:spPr>
          <a:xfrm>
            <a:off x="4110683" y="2483117"/>
            <a:ext cx="166948" cy="166948"/>
          </a:xfrm>
        </p:spPr>
        <p:txBody>
          <a:bodyPr wrap="none">
            <a:noAutofit/>
          </a:bodyPr>
          <a:lstStyle>
            <a:lvl1pPr marL="0" indent="0">
              <a:buNone/>
              <a:defRPr sz="500">
                <a:solidFill>
                  <a:schemeClr val="bg1"/>
                </a:solidFill>
              </a:defRPr>
            </a:lvl1pPr>
          </a:lstStyle>
          <a:p>
            <a:r>
              <a:rPr lang="en-US" dirty="0"/>
              <a:t>ICON</a:t>
            </a:r>
          </a:p>
        </p:txBody>
      </p:sp>
      <p:sp>
        <p:nvSpPr>
          <p:cNvPr id="79" name="Text Placeholder 4">
            <a:extLst>
              <a:ext uri="{FF2B5EF4-FFF2-40B4-BE49-F238E27FC236}">
                <a16:creationId xmlns:a16="http://schemas.microsoft.com/office/drawing/2014/main" id="{FB419043-F1C3-425D-A626-5A3B7F7E171E}"/>
              </a:ext>
            </a:extLst>
          </p:cNvPr>
          <p:cNvSpPr>
            <a:spLocks noGrp="1"/>
          </p:cNvSpPr>
          <p:nvPr>
            <p:ph type="body" sz="quarter" idx="58" hasCustomPrompt="1"/>
          </p:nvPr>
        </p:nvSpPr>
        <p:spPr>
          <a:xfrm>
            <a:off x="6793166" y="6219148"/>
            <a:ext cx="4741683" cy="163763"/>
          </a:xfrm>
        </p:spPr>
        <p:txBody>
          <a:bodyPr wrap="square" lIns="0" tIns="0" rIns="0" bIns="0" anchor="t">
            <a:spAutoFit/>
          </a:bodyPr>
          <a:lstStyle>
            <a:lvl1pPr marL="0" indent="0">
              <a:buNone/>
              <a:defRPr lang="en-US" sz="1050" dirty="0" smtClean="0">
                <a:solidFill>
                  <a:schemeClr val="bg1"/>
                </a:solidFill>
              </a:defRPr>
            </a:lvl1pPr>
          </a:lstStyle>
          <a:p>
            <a:pPr marL="0" lvl="0">
              <a:lnSpc>
                <a:spcPct val="110000"/>
              </a:lnSpc>
              <a:spcAft>
                <a:spcPts val="600"/>
              </a:spcAft>
            </a:pPr>
            <a:r>
              <a:rPr lang="en-US"/>
              <a:t>Click to edit master text styles</a:t>
            </a:r>
          </a:p>
        </p:txBody>
      </p:sp>
    </p:spTree>
    <p:extLst>
      <p:ext uri="{BB962C8B-B14F-4D97-AF65-F5344CB8AC3E}">
        <p14:creationId xmlns:p14="http://schemas.microsoft.com/office/powerpoint/2010/main" val="30777336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66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91E84E-8916-46A4-9C67-C89A5EFC5EC5}"/>
              </a:ext>
            </a:extLst>
          </p:cNvPr>
          <p:cNvGraphicFramePr>
            <a:graphicFrameLocks noChangeAspect="1"/>
          </p:cNvGraphicFramePr>
          <p:nvPr userDrawn="1">
            <p:custDataLst>
              <p:tags r:id="rId1"/>
            </p:custDataLst>
            <p:extLst>
              <p:ext uri="{D42A27DB-BD31-4B8C-83A1-F6EECF244321}">
                <p14:modId xmlns:p14="http://schemas.microsoft.com/office/powerpoint/2010/main" val="265888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a:extLst>
                          <a:ext uri="{FF2B5EF4-FFF2-40B4-BE49-F238E27FC236}">
                            <a16:creationId xmlns:a16="http://schemas.microsoft.com/office/drawing/2014/main" id="{1191E84E-8916-46A4-9C67-C89A5EFC5E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EEF39-FE64-4406-B2F2-AC7D57F90C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Lato" panose="020F0502020204030203" pitchFamily="34" charset="0"/>
              <a:ea typeface="+mj-ea"/>
              <a:cs typeface="+mj-cs"/>
              <a:sym typeface="Lato" panose="020F0502020204030203" pitchFamily="34" charset="0"/>
            </a:endParaRPr>
          </a:p>
        </p:txBody>
      </p:sp>
      <p:grpSp>
        <p:nvGrpSpPr>
          <p:cNvPr id="56" name="Group 55">
            <a:extLst>
              <a:ext uri="{FF2B5EF4-FFF2-40B4-BE49-F238E27FC236}">
                <a16:creationId xmlns:a16="http://schemas.microsoft.com/office/drawing/2014/main" id="{E4445C7C-4634-4D53-8B98-D97A53B9A40F}"/>
              </a:ext>
            </a:extLst>
          </p:cNvPr>
          <p:cNvGrpSpPr/>
          <p:nvPr userDrawn="1"/>
        </p:nvGrpSpPr>
        <p:grpSpPr>
          <a:xfrm>
            <a:off x="7732321" y="-1"/>
            <a:ext cx="4459679" cy="6858001"/>
            <a:chOff x="7732321" y="-1"/>
            <a:chExt cx="4459679" cy="6858001"/>
          </a:xfrm>
        </p:grpSpPr>
        <p:sp>
          <p:nvSpPr>
            <p:cNvPr id="59" name="Freeform: Shape 58">
              <a:extLst>
                <a:ext uri="{FF2B5EF4-FFF2-40B4-BE49-F238E27FC236}">
                  <a16:creationId xmlns:a16="http://schemas.microsoft.com/office/drawing/2014/main" id="{515ECF65-13C8-47E1-8FE5-4686CD6DB1EA}"/>
                </a:ext>
              </a:extLst>
            </p:cNvPr>
            <p:cNvSpPr/>
            <p:nvPr/>
          </p:nvSpPr>
          <p:spPr>
            <a:xfrm>
              <a:off x="9358938" y="0"/>
              <a:ext cx="2833062" cy="6858000"/>
            </a:xfrm>
            <a:custGeom>
              <a:avLst/>
              <a:gdLst>
                <a:gd name="connsiteX0" fmla="*/ 1710371 w 2833062"/>
                <a:gd name="connsiteY0" fmla="*/ 0 h 6858000"/>
                <a:gd name="connsiteX1" fmla="*/ 2833062 w 2833062"/>
                <a:gd name="connsiteY1" fmla="*/ 0 h 6858000"/>
                <a:gd name="connsiteX2" fmla="*/ 2833062 w 2833062"/>
                <a:gd name="connsiteY2" fmla="*/ 6858000 h 6858000"/>
                <a:gd name="connsiteX3" fmla="*/ 2654269 w 2833062"/>
                <a:gd name="connsiteY3" fmla="*/ 6858000 h 6858000"/>
                <a:gd name="connsiteX4" fmla="*/ 2189624 w 2833062"/>
                <a:gd name="connsiteY4" fmla="*/ 6146305 h 6858000"/>
                <a:gd name="connsiteX5" fmla="*/ 0 w 2833062"/>
                <a:gd name="connsiteY5" fmla="*/ 26197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062" h="6858000">
                  <a:moveTo>
                    <a:pt x="1710371" y="0"/>
                  </a:moveTo>
                  <a:lnTo>
                    <a:pt x="2833062" y="0"/>
                  </a:lnTo>
                  <a:lnTo>
                    <a:pt x="2833062" y="6858000"/>
                  </a:lnTo>
                  <a:lnTo>
                    <a:pt x="2654269" y="6858000"/>
                  </a:lnTo>
                  <a:lnTo>
                    <a:pt x="2189624" y="6146305"/>
                  </a:lnTo>
                  <a:lnTo>
                    <a:pt x="0" y="261977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0" name="Freeform: Shape 59">
              <a:extLst>
                <a:ext uri="{FF2B5EF4-FFF2-40B4-BE49-F238E27FC236}">
                  <a16:creationId xmlns:a16="http://schemas.microsoft.com/office/drawing/2014/main" id="{F1E923AE-7EF7-4CA9-B267-E7AE216A4C1B}"/>
                </a:ext>
              </a:extLst>
            </p:cNvPr>
            <p:cNvSpPr/>
            <p:nvPr/>
          </p:nvSpPr>
          <p:spPr>
            <a:xfrm flipH="1" flipV="1">
              <a:off x="7732321" y="-1"/>
              <a:ext cx="3214826" cy="2524542"/>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61" name="Freeform: Shape 60">
            <a:extLst>
              <a:ext uri="{FF2B5EF4-FFF2-40B4-BE49-F238E27FC236}">
                <a16:creationId xmlns:a16="http://schemas.microsoft.com/office/drawing/2014/main" id="{341F317F-CC58-464F-B103-3D08B8B1DFDA}"/>
              </a:ext>
            </a:extLst>
          </p:cNvPr>
          <p:cNvSpPr/>
          <p:nvPr userDrawn="1"/>
        </p:nvSpPr>
        <p:spPr>
          <a:xfrm flipH="1">
            <a:off x="1" y="3694069"/>
            <a:ext cx="1964485" cy="3163930"/>
          </a:xfrm>
          <a:custGeom>
            <a:avLst/>
            <a:gdLst>
              <a:gd name="connsiteX0" fmla="*/ 1964485 w 1964485"/>
              <a:gd name="connsiteY0" fmla="*/ 0 h 3163930"/>
              <a:gd name="connsiteX1" fmla="*/ 0 w 1964485"/>
              <a:gd name="connsiteY1" fmla="*/ 3163930 h 3163930"/>
              <a:gd name="connsiteX2" fmla="*/ 1964485 w 1964485"/>
              <a:gd name="connsiteY2" fmla="*/ 3163930 h 3163930"/>
            </a:gdLst>
            <a:ahLst/>
            <a:cxnLst>
              <a:cxn ang="0">
                <a:pos x="connsiteX0" y="connsiteY0"/>
              </a:cxn>
              <a:cxn ang="0">
                <a:pos x="connsiteX1" y="connsiteY1"/>
              </a:cxn>
              <a:cxn ang="0">
                <a:pos x="connsiteX2" y="connsiteY2"/>
              </a:cxn>
            </a:cxnLst>
            <a:rect l="l" t="t" r="r" b="b"/>
            <a:pathLst>
              <a:path w="1964485" h="3163930">
                <a:moveTo>
                  <a:pt x="1964485" y="0"/>
                </a:moveTo>
                <a:lnTo>
                  <a:pt x="0" y="3163930"/>
                </a:lnTo>
                <a:lnTo>
                  <a:pt x="1964485" y="3163930"/>
                </a:lnTo>
                <a:close/>
              </a:path>
            </a:pathLst>
          </a:custGeom>
          <a:solidFill>
            <a:srgbClr val="2E82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itle 1">
            <a:extLst>
              <a:ext uri="{FF2B5EF4-FFF2-40B4-BE49-F238E27FC236}">
                <a16:creationId xmlns:a16="http://schemas.microsoft.com/office/drawing/2014/main" id="{0429C772-EB3C-4B0D-963D-3151B3CF9238}"/>
              </a:ext>
            </a:extLst>
          </p:cNvPr>
          <p:cNvSpPr>
            <a:spLocks noGrp="1"/>
          </p:cNvSpPr>
          <p:nvPr>
            <p:ph type="title" hasCustomPrompt="1"/>
          </p:nvPr>
        </p:nvSpPr>
        <p:spPr>
          <a:xfrm>
            <a:off x="630244" y="560102"/>
            <a:ext cx="5986238" cy="1107996"/>
          </a:xfrm>
        </p:spPr>
        <p:txBody>
          <a:bodyPr vert="horz" wrap="square" lIns="0" tIns="0" rIns="0" bIns="0" rtlCol="0" anchor="ctr" anchorCtr="0">
            <a:spAutoFit/>
          </a:bodyPr>
          <a:lstStyle>
            <a:lvl1pPr>
              <a:defRPr lang="fr-FR" sz="3600" b="1" cap="all" baseline="0" dirty="0">
                <a:solidFill>
                  <a:schemeClr val="accent3"/>
                </a:solidFill>
              </a:defRPr>
            </a:lvl1pPr>
          </a:lstStyle>
          <a:p>
            <a:pPr lvl="0">
              <a:lnSpc>
                <a:spcPct val="100000"/>
              </a:lnSpc>
            </a:pPr>
            <a:r>
              <a:rPr lang="en-US"/>
              <a:t>CLICK TO EDIT MASTER TITLE STYLE</a:t>
            </a:r>
            <a:endParaRPr lang="fr-FR"/>
          </a:p>
        </p:txBody>
      </p:sp>
      <p:sp>
        <p:nvSpPr>
          <p:cNvPr id="67" name="Rectangle 66">
            <a:extLst>
              <a:ext uri="{FF2B5EF4-FFF2-40B4-BE49-F238E27FC236}">
                <a16:creationId xmlns:a16="http://schemas.microsoft.com/office/drawing/2014/main" id="{D477EC05-C8DC-48CB-9D2E-211A3DCC5C66}"/>
              </a:ext>
            </a:extLst>
          </p:cNvPr>
          <p:cNvSpPr/>
          <p:nvPr userDrawn="1"/>
        </p:nvSpPr>
        <p:spPr>
          <a:xfrm>
            <a:off x="648532" y="1823597"/>
            <a:ext cx="272250" cy="269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68" name="Text Placeholder 4">
            <a:extLst>
              <a:ext uri="{FF2B5EF4-FFF2-40B4-BE49-F238E27FC236}">
                <a16:creationId xmlns:a16="http://schemas.microsoft.com/office/drawing/2014/main" id="{AC675956-21FE-4C01-983C-4FE44A2ABA4F}"/>
              </a:ext>
            </a:extLst>
          </p:cNvPr>
          <p:cNvSpPr>
            <a:spLocks noGrp="1"/>
          </p:cNvSpPr>
          <p:nvPr>
            <p:ph type="body" sz="quarter" idx="50" hasCustomPrompt="1"/>
          </p:nvPr>
        </p:nvSpPr>
        <p:spPr>
          <a:xfrm>
            <a:off x="982242" y="1864238"/>
            <a:ext cx="2906918" cy="187167"/>
          </a:xfrm>
        </p:spPr>
        <p:txBody>
          <a:bodyPr wrap="square" lIns="0" tIns="0" rIns="0" bIns="0" anchor="t">
            <a:spAutoFit/>
          </a:bodyPr>
          <a:lstStyle>
            <a:lvl1pPr marL="0" indent="0">
              <a:buNone/>
              <a:defRPr lang="en-US" sz="1200" dirty="0" smtClean="0">
                <a:solidFill>
                  <a:schemeClr val="tx1"/>
                </a:solidFill>
              </a:defRPr>
            </a:lvl1pPr>
          </a:lstStyle>
          <a:p>
            <a:pPr marL="0" lvl="0">
              <a:lnSpc>
                <a:spcPct val="110000"/>
              </a:lnSpc>
              <a:spcAft>
                <a:spcPts val="600"/>
              </a:spcAft>
            </a:pPr>
            <a:r>
              <a:rPr lang="en-US"/>
              <a:t>Click to edit master text styles</a:t>
            </a:r>
          </a:p>
        </p:txBody>
      </p:sp>
      <p:sp>
        <p:nvSpPr>
          <p:cNvPr id="69" name="Rectangle 68">
            <a:extLst>
              <a:ext uri="{FF2B5EF4-FFF2-40B4-BE49-F238E27FC236}">
                <a16:creationId xmlns:a16="http://schemas.microsoft.com/office/drawing/2014/main" id="{D5648A3B-1B25-4A14-B66A-BFCA1C0D41F3}"/>
              </a:ext>
            </a:extLst>
          </p:cNvPr>
          <p:cNvSpPr/>
          <p:nvPr userDrawn="1"/>
        </p:nvSpPr>
        <p:spPr>
          <a:xfrm>
            <a:off x="4096519" y="1823597"/>
            <a:ext cx="272250" cy="269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0" name="Text Placeholder 4">
            <a:extLst>
              <a:ext uri="{FF2B5EF4-FFF2-40B4-BE49-F238E27FC236}">
                <a16:creationId xmlns:a16="http://schemas.microsoft.com/office/drawing/2014/main" id="{178D814D-7478-4FBD-BEE0-2332CEDF7759}"/>
              </a:ext>
            </a:extLst>
          </p:cNvPr>
          <p:cNvSpPr>
            <a:spLocks noGrp="1"/>
          </p:cNvSpPr>
          <p:nvPr>
            <p:ph type="body" sz="quarter" idx="51" hasCustomPrompt="1"/>
          </p:nvPr>
        </p:nvSpPr>
        <p:spPr>
          <a:xfrm>
            <a:off x="4430229" y="1865264"/>
            <a:ext cx="2362937" cy="185115"/>
          </a:xfrm>
        </p:spPr>
        <p:txBody>
          <a:bodyPr wrap="square" lIns="0" tIns="0" rIns="0" bIns="0" anchor="t">
            <a:spAutoFit/>
          </a:bodyPr>
          <a:lstStyle>
            <a:lvl1pPr marL="0" indent="0">
              <a:buNone/>
              <a:defRPr lang="en-US" sz="1200" dirty="0" smtClean="0">
                <a:solidFill>
                  <a:schemeClr val="tx1"/>
                </a:solidFill>
              </a:defRPr>
            </a:lvl1pPr>
          </a:lstStyle>
          <a:p>
            <a:pPr marL="0" lvl="0">
              <a:lnSpc>
                <a:spcPct val="110000"/>
              </a:lnSpc>
              <a:spcAft>
                <a:spcPts val="600"/>
              </a:spcAft>
            </a:pPr>
            <a:r>
              <a:rPr lang="en-US"/>
              <a:t>Click to edit master text styles</a:t>
            </a:r>
          </a:p>
        </p:txBody>
      </p:sp>
      <p:sp>
        <p:nvSpPr>
          <p:cNvPr id="71" name="Rectangle 70">
            <a:extLst>
              <a:ext uri="{FF2B5EF4-FFF2-40B4-BE49-F238E27FC236}">
                <a16:creationId xmlns:a16="http://schemas.microsoft.com/office/drawing/2014/main" id="{866DE877-39E2-4497-9646-D893322BDD9F}"/>
              </a:ext>
            </a:extLst>
          </p:cNvPr>
          <p:cNvSpPr/>
          <p:nvPr userDrawn="1"/>
        </p:nvSpPr>
        <p:spPr>
          <a:xfrm>
            <a:off x="648532" y="2431983"/>
            <a:ext cx="272250" cy="269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2" name="Text Placeholder 4">
            <a:extLst>
              <a:ext uri="{FF2B5EF4-FFF2-40B4-BE49-F238E27FC236}">
                <a16:creationId xmlns:a16="http://schemas.microsoft.com/office/drawing/2014/main" id="{088668C4-B4A4-40A4-BDB1-9AEE7A6B69F6}"/>
              </a:ext>
            </a:extLst>
          </p:cNvPr>
          <p:cNvSpPr>
            <a:spLocks noGrp="1"/>
          </p:cNvSpPr>
          <p:nvPr>
            <p:ph type="body" sz="quarter" idx="52" hasCustomPrompt="1"/>
          </p:nvPr>
        </p:nvSpPr>
        <p:spPr>
          <a:xfrm>
            <a:off x="982242" y="2474034"/>
            <a:ext cx="2906918" cy="187167"/>
          </a:xfrm>
        </p:spPr>
        <p:txBody>
          <a:bodyPr wrap="square" lIns="0" tIns="0" rIns="0" bIns="0" anchor="t">
            <a:spAutoFit/>
          </a:bodyPr>
          <a:lstStyle>
            <a:lvl1pPr marL="0" indent="0">
              <a:buNone/>
              <a:defRPr lang="en-US" sz="1200" dirty="0" smtClean="0">
                <a:solidFill>
                  <a:schemeClr val="tx1"/>
                </a:solidFill>
              </a:defRPr>
            </a:lvl1pPr>
          </a:lstStyle>
          <a:p>
            <a:pPr marL="0" lvl="0">
              <a:lnSpc>
                <a:spcPct val="110000"/>
              </a:lnSpc>
              <a:spcAft>
                <a:spcPts val="600"/>
              </a:spcAft>
            </a:pPr>
            <a:r>
              <a:rPr lang="en-US"/>
              <a:t>Click to edit master text styles</a:t>
            </a:r>
          </a:p>
        </p:txBody>
      </p:sp>
      <p:sp>
        <p:nvSpPr>
          <p:cNvPr id="73" name="Rectangle 72">
            <a:extLst>
              <a:ext uri="{FF2B5EF4-FFF2-40B4-BE49-F238E27FC236}">
                <a16:creationId xmlns:a16="http://schemas.microsoft.com/office/drawing/2014/main" id="{FF4D08E4-2AE4-49CC-9C3B-EFC7467D0631}"/>
              </a:ext>
            </a:extLst>
          </p:cNvPr>
          <p:cNvSpPr/>
          <p:nvPr userDrawn="1"/>
        </p:nvSpPr>
        <p:spPr>
          <a:xfrm>
            <a:off x="4096519" y="2431983"/>
            <a:ext cx="272250" cy="269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4" name="Text Placeholder 4">
            <a:extLst>
              <a:ext uri="{FF2B5EF4-FFF2-40B4-BE49-F238E27FC236}">
                <a16:creationId xmlns:a16="http://schemas.microsoft.com/office/drawing/2014/main" id="{5BD47514-85D9-42AA-A200-517280E7A3F8}"/>
              </a:ext>
            </a:extLst>
          </p:cNvPr>
          <p:cNvSpPr>
            <a:spLocks noGrp="1"/>
          </p:cNvSpPr>
          <p:nvPr>
            <p:ph type="body" sz="quarter" idx="53" hasCustomPrompt="1"/>
          </p:nvPr>
        </p:nvSpPr>
        <p:spPr>
          <a:xfrm>
            <a:off x="4430229" y="2474034"/>
            <a:ext cx="2362937" cy="185115"/>
          </a:xfrm>
        </p:spPr>
        <p:txBody>
          <a:bodyPr wrap="square" lIns="0" tIns="0" rIns="0" bIns="0" anchor="t">
            <a:spAutoFit/>
          </a:bodyPr>
          <a:lstStyle>
            <a:lvl1pPr marL="0" indent="0">
              <a:buNone/>
              <a:defRPr lang="en-US" sz="1200" dirty="0" smtClean="0">
                <a:solidFill>
                  <a:schemeClr val="tx1"/>
                </a:solidFill>
              </a:defRPr>
            </a:lvl1pPr>
          </a:lstStyle>
          <a:p>
            <a:pPr marL="0" lvl="0">
              <a:lnSpc>
                <a:spcPct val="110000"/>
              </a:lnSpc>
              <a:spcAft>
                <a:spcPts val="600"/>
              </a:spcAft>
            </a:pPr>
            <a:r>
              <a:rPr lang="en-US"/>
              <a:t>Click to edit master text styles</a:t>
            </a:r>
          </a:p>
        </p:txBody>
      </p:sp>
      <p:sp>
        <p:nvSpPr>
          <p:cNvPr id="8" name="Picture Placeholder 7">
            <a:extLst>
              <a:ext uri="{FF2B5EF4-FFF2-40B4-BE49-F238E27FC236}">
                <a16:creationId xmlns:a16="http://schemas.microsoft.com/office/drawing/2014/main" id="{C15B026B-E537-457B-81A3-5493E1738145}"/>
              </a:ext>
            </a:extLst>
          </p:cNvPr>
          <p:cNvSpPr>
            <a:spLocks noGrp="1"/>
          </p:cNvSpPr>
          <p:nvPr>
            <p:ph type="pic" sz="quarter" idx="54" hasCustomPrompt="1"/>
          </p:nvPr>
        </p:nvSpPr>
        <p:spPr>
          <a:xfrm>
            <a:off x="703705" y="1864621"/>
            <a:ext cx="186402" cy="186400"/>
          </a:xfrm>
        </p:spPr>
        <p:txBody>
          <a:bodyPr wrap="none">
            <a:noAutofit/>
          </a:bodyPr>
          <a:lstStyle>
            <a:lvl1pPr marL="0" indent="0">
              <a:buNone/>
              <a:defRPr sz="500">
                <a:solidFill>
                  <a:schemeClr val="tx1"/>
                </a:solidFill>
              </a:defRPr>
            </a:lvl1pPr>
          </a:lstStyle>
          <a:p>
            <a:r>
              <a:rPr lang="en-US" dirty="0"/>
              <a:t>ICON</a:t>
            </a:r>
          </a:p>
        </p:txBody>
      </p:sp>
      <p:sp>
        <p:nvSpPr>
          <p:cNvPr id="76" name="Picture Placeholder 7">
            <a:extLst>
              <a:ext uri="{FF2B5EF4-FFF2-40B4-BE49-F238E27FC236}">
                <a16:creationId xmlns:a16="http://schemas.microsoft.com/office/drawing/2014/main" id="{FD6E48C0-6E37-40E8-8AC2-A98BB88B29AF}"/>
              </a:ext>
            </a:extLst>
          </p:cNvPr>
          <p:cNvSpPr>
            <a:spLocks noGrp="1"/>
          </p:cNvSpPr>
          <p:nvPr>
            <p:ph type="pic" sz="quarter" idx="55" hasCustomPrompt="1"/>
          </p:nvPr>
        </p:nvSpPr>
        <p:spPr>
          <a:xfrm>
            <a:off x="703705" y="2481864"/>
            <a:ext cx="169456" cy="169455"/>
          </a:xfrm>
        </p:spPr>
        <p:txBody>
          <a:bodyPr wrap="none">
            <a:noAutofit/>
          </a:bodyPr>
          <a:lstStyle>
            <a:lvl1pPr marL="0" indent="0">
              <a:buNone/>
              <a:defRPr sz="500">
                <a:solidFill>
                  <a:schemeClr val="tx1"/>
                </a:solidFill>
              </a:defRPr>
            </a:lvl1pPr>
          </a:lstStyle>
          <a:p>
            <a:r>
              <a:rPr lang="en-US" dirty="0"/>
              <a:t>ICON</a:t>
            </a:r>
          </a:p>
        </p:txBody>
      </p:sp>
      <p:sp>
        <p:nvSpPr>
          <p:cNvPr id="77" name="Picture Placeholder 7">
            <a:extLst>
              <a:ext uri="{FF2B5EF4-FFF2-40B4-BE49-F238E27FC236}">
                <a16:creationId xmlns:a16="http://schemas.microsoft.com/office/drawing/2014/main" id="{B261EF47-778C-48B2-8CE1-2AD98370B8DA}"/>
              </a:ext>
            </a:extLst>
          </p:cNvPr>
          <p:cNvSpPr>
            <a:spLocks noGrp="1"/>
          </p:cNvSpPr>
          <p:nvPr>
            <p:ph type="pic" sz="quarter" idx="56" hasCustomPrompt="1"/>
          </p:nvPr>
        </p:nvSpPr>
        <p:spPr>
          <a:xfrm>
            <a:off x="4151692" y="1873075"/>
            <a:ext cx="170260" cy="170260"/>
          </a:xfrm>
        </p:spPr>
        <p:txBody>
          <a:bodyPr wrap="none">
            <a:noAutofit/>
          </a:bodyPr>
          <a:lstStyle>
            <a:lvl1pPr marL="0" indent="0">
              <a:buNone/>
              <a:defRPr sz="500">
                <a:solidFill>
                  <a:schemeClr val="tx1"/>
                </a:solidFill>
              </a:defRPr>
            </a:lvl1pPr>
          </a:lstStyle>
          <a:p>
            <a:r>
              <a:rPr lang="en-US" dirty="0"/>
              <a:t>ICON</a:t>
            </a:r>
          </a:p>
        </p:txBody>
      </p:sp>
      <p:sp>
        <p:nvSpPr>
          <p:cNvPr id="78" name="Picture Placeholder 7">
            <a:extLst>
              <a:ext uri="{FF2B5EF4-FFF2-40B4-BE49-F238E27FC236}">
                <a16:creationId xmlns:a16="http://schemas.microsoft.com/office/drawing/2014/main" id="{1B00CCCC-0608-4F8E-9AC7-B303DC6552B0}"/>
              </a:ext>
            </a:extLst>
          </p:cNvPr>
          <p:cNvSpPr>
            <a:spLocks noGrp="1"/>
          </p:cNvSpPr>
          <p:nvPr>
            <p:ph type="pic" sz="quarter" idx="57" hasCustomPrompt="1"/>
          </p:nvPr>
        </p:nvSpPr>
        <p:spPr>
          <a:xfrm>
            <a:off x="4151692" y="2483117"/>
            <a:ext cx="166948" cy="166948"/>
          </a:xfrm>
        </p:spPr>
        <p:txBody>
          <a:bodyPr wrap="none">
            <a:noAutofit/>
          </a:bodyPr>
          <a:lstStyle>
            <a:lvl1pPr marL="0" indent="0">
              <a:buNone/>
              <a:defRPr sz="500">
                <a:solidFill>
                  <a:schemeClr val="tx1"/>
                </a:solidFill>
              </a:defRPr>
            </a:lvl1pPr>
          </a:lstStyle>
          <a:p>
            <a:r>
              <a:rPr lang="en-US" dirty="0"/>
              <a:t>ICON</a:t>
            </a:r>
          </a:p>
        </p:txBody>
      </p:sp>
      <p:sp>
        <p:nvSpPr>
          <p:cNvPr id="79" name="Text Placeholder 4">
            <a:extLst>
              <a:ext uri="{FF2B5EF4-FFF2-40B4-BE49-F238E27FC236}">
                <a16:creationId xmlns:a16="http://schemas.microsoft.com/office/drawing/2014/main" id="{FB419043-F1C3-425D-A626-5A3B7F7E171E}"/>
              </a:ext>
            </a:extLst>
          </p:cNvPr>
          <p:cNvSpPr>
            <a:spLocks noGrp="1"/>
          </p:cNvSpPr>
          <p:nvPr>
            <p:ph type="body" sz="quarter" idx="58" hasCustomPrompt="1"/>
          </p:nvPr>
        </p:nvSpPr>
        <p:spPr>
          <a:xfrm>
            <a:off x="6793166" y="6219148"/>
            <a:ext cx="4741683" cy="163763"/>
          </a:xfrm>
        </p:spPr>
        <p:txBody>
          <a:bodyPr wrap="square" lIns="0" tIns="0" rIns="0" bIns="0" anchor="t">
            <a:spAutoFit/>
          </a:bodyPr>
          <a:lstStyle>
            <a:lvl1pPr marL="0" indent="0">
              <a:buNone/>
              <a:defRPr lang="en-US" sz="1050" dirty="0" smtClean="0">
                <a:solidFill>
                  <a:schemeClr val="tx1"/>
                </a:solidFill>
              </a:defRPr>
            </a:lvl1pPr>
          </a:lstStyle>
          <a:p>
            <a:pPr marL="0" lvl="0">
              <a:lnSpc>
                <a:spcPct val="110000"/>
              </a:lnSpc>
              <a:spcAft>
                <a:spcPts val="600"/>
              </a:spcAft>
            </a:pPr>
            <a:r>
              <a:rPr lang="en-US"/>
              <a:t>Click to edit master text styles</a:t>
            </a:r>
          </a:p>
        </p:txBody>
      </p:sp>
      <p:pic>
        <p:nvPicPr>
          <p:cNvPr id="24" name="Picture 23">
            <a:extLst>
              <a:ext uri="{FF2B5EF4-FFF2-40B4-BE49-F238E27FC236}">
                <a16:creationId xmlns:a16="http://schemas.microsoft.com/office/drawing/2014/main" id="{B45ABEDA-D9B6-4C33-A993-6025247407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793166" y="5798095"/>
            <a:ext cx="2855304" cy="356910"/>
          </a:xfrm>
          <a:prstGeom prst="rect">
            <a:avLst/>
          </a:prstGeom>
        </p:spPr>
      </p:pic>
    </p:spTree>
    <p:extLst>
      <p:ext uri="{BB962C8B-B14F-4D97-AF65-F5344CB8AC3E}">
        <p14:creationId xmlns:p14="http://schemas.microsoft.com/office/powerpoint/2010/main" val="32174764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E39F6-43B7-1B48-A383-69E004755B5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D419A1-ADDE-1A40-A7EA-F3172957C8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96893D-7583-BB4C-A223-4DC4C5DAAF9F}"/>
              </a:ext>
            </a:extLst>
          </p:cNvPr>
          <p:cNvSpPr>
            <a:spLocks noGrp="1"/>
          </p:cNvSpPr>
          <p:nvPr>
            <p:ph type="dt" sz="half" idx="10"/>
          </p:nvPr>
        </p:nvSpPr>
        <p:spPr/>
        <p:txBody>
          <a:bodyPr/>
          <a:lstStyle/>
          <a:p>
            <a:fld id="{2375BC56-AE3F-AD44-BB53-9212F5EBBFE8}" type="datetimeFigureOut">
              <a:rPr lang="en-US" smtClean="0"/>
              <a:t>5/6/2021</a:t>
            </a:fld>
            <a:endParaRPr lang="en-US" dirty="0"/>
          </a:p>
        </p:txBody>
      </p:sp>
      <p:sp>
        <p:nvSpPr>
          <p:cNvPr id="5" name="Footer Placeholder 4">
            <a:extLst>
              <a:ext uri="{FF2B5EF4-FFF2-40B4-BE49-F238E27FC236}">
                <a16:creationId xmlns:a16="http://schemas.microsoft.com/office/drawing/2014/main" id="{4AA9838A-1FBF-5A44-9352-36B88EF537C2}"/>
              </a:ext>
            </a:extLst>
          </p:cNvPr>
          <p:cNvSpPr>
            <a:spLocks noGrp="1"/>
          </p:cNvSpPr>
          <p:nvPr>
            <p:ph type="ftr" sz="quarter" idx="11"/>
          </p:nvPr>
        </p:nvSpPr>
        <p:spPr>
          <a:xfrm>
            <a:off x="4038600" y="6356350"/>
            <a:ext cx="4114800" cy="422511"/>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924FA7A3-0AD3-AB4D-98F9-995C6B1BA9D5}"/>
              </a:ext>
            </a:extLst>
          </p:cNvPr>
          <p:cNvSpPr>
            <a:spLocks noGrp="1"/>
          </p:cNvSpPr>
          <p:nvPr>
            <p:ph type="sldNum" sz="quarter" idx="12"/>
          </p:nvPr>
        </p:nvSpPr>
        <p:spPr/>
        <p:txBody>
          <a:bodyPr/>
          <a:lstStyle/>
          <a:p>
            <a:fld id="{130EAB91-CE38-C849-A1B2-2037A82DB2C7}" type="slidenum">
              <a:rPr lang="en-US" smtClean="0"/>
              <a:t>‹#›</a:t>
            </a:fld>
            <a:endParaRPr lang="en-US" dirty="0"/>
          </a:p>
        </p:txBody>
      </p:sp>
    </p:spTree>
    <p:extLst>
      <p:ext uri="{BB962C8B-B14F-4D97-AF65-F5344CB8AC3E}">
        <p14:creationId xmlns:p14="http://schemas.microsoft.com/office/powerpoint/2010/main" val="26874564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1504762"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20" name="Text Placeholder 3">
            <a:extLst>
              <a:ext uri="{FF2B5EF4-FFF2-40B4-BE49-F238E27FC236}">
                <a16:creationId xmlns:a16="http://schemas.microsoft.com/office/drawing/2014/main" id="{F7C2B4B5-4B7B-4AB7-83A8-773D6244D49D}"/>
              </a:ext>
            </a:extLst>
          </p:cNvPr>
          <p:cNvSpPr>
            <a:spLocks noGrp="1"/>
          </p:cNvSpPr>
          <p:nvPr>
            <p:ph type="body" sz="quarter" idx="44"/>
          </p:nvPr>
        </p:nvSpPr>
        <p:spPr>
          <a:xfrm>
            <a:off x="346990" y="1498179"/>
            <a:ext cx="5749011" cy="185115"/>
          </a:xfrm>
        </p:spPr>
        <p:txBody>
          <a:bodyPr/>
          <a:lstStyle>
            <a:lvl1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marL="247650" lvl="0" indent="-247650" algn="just" defTabSz="914400" rtl="0" eaLnBrk="1" latinLnBrk="0" hangingPunct="1">
              <a:lnSpc>
                <a:spcPct val="110000"/>
              </a:lnSpc>
              <a:spcBef>
                <a:spcPts val="0"/>
              </a:spcBef>
              <a:spcAft>
                <a:spcPts val="1200"/>
              </a:spcAft>
              <a:buClr>
                <a:schemeClr val="accent1"/>
              </a:buClr>
              <a:buFontTx/>
              <a:buChar char="■"/>
            </a:pPr>
            <a:r>
              <a:rPr lang="en-US"/>
              <a:t>Click to edit Master text styles</a:t>
            </a:r>
          </a:p>
        </p:txBody>
      </p:sp>
      <p:sp>
        <p:nvSpPr>
          <p:cNvPr id="17" name="Text Placeholder 3">
            <a:extLst>
              <a:ext uri="{FF2B5EF4-FFF2-40B4-BE49-F238E27FC236}">
                <a16:creationId xmlns:a16="http://schemas.microsoft.com/office/drawing/2014/main" id="{4CF25403-0FF5-4DB8-BBA1-64A91CFD3610}"/>
              </a:ext>
            </a:extLst>
          </p:cNvPr>
          <p:cNvSpPr>
            <a:spLocks noGrp="1"/>
          </p:cNvSpPr>
          <p:nvPr>
            <p:ph type="body" sz="quarter" idx="41"/>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18" name="Text Placeholder 3">
            <a:extLst>
              <a:ext uri="{FF2B5EF4-FFF2-40B4-BE49-F238E27FC236}">
                <a16:creationId xmlns:a16="http://schemas.microsoft.com/office/drawing/2014/main" id="{D1536382-2D71-4FC2-A580-8A46699E8CA7}"/>
              </a:ext>
            </a:extLst>
          </p:cNvPr>
          <p:cNvSpPr>
            <a:spLocks noGrp="1"/>
          </p:cNvSpPr>
          <p:nvPr>
            <p:ph type="body" sz="quarter" idx="55" hasCustomPrompt="1"/>
          </p:nvPr>
        </p:nvSpPr>
        <p:spPr>
          <a:xfrm>
            <a:off x="346991" y="1180095"/>
            <a:ext cx="5749011" cy="215444"/>
          </a:xfrm>
        </p:spPr>
        <p:txBody>
          <a:bodyPr/>
          <a:lstStyle>
            <a:lvl1pPr marL="0" indent="0" algn="just" defTabSz="914400" rtl="0" eaLnBrk="1" latinLnBrk="0" hangingPunct="1">
              <a:lnSpc>
                <a:spcPct val="100000"/>
              </a:lnSpc>
              <a:spcAft>
                <a:spcPts val="1200"/>
              </a:spcAft>
              <a:buClr>
                <a:schemeClr val="accent1"/>
              </a:buClr>
              <a:buFontTx/>
              <a:buNone/>
              <a:defRPr lang="en-US" sz="1400" b="1" kern="1200" cap="all" baseline="0" dirty="0" smtClean="0">
                <a:solidFill>
                  <a:schemeClr val="accent1"/>
                </a:solidFill>
                <a:latin typeface="+mn-lt"/>
                <a:ea typeface="+mn-ea"/>
                <a:cs typeface="+mn-cs"/>
              </a:defRPr>
            </a:lvl1pPr>
            <a:lvl2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2pPr>
            <a:lvl3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3pPr>
            <a:lvl4pPr marL="247650" indent="-247650" algn="just" defTabSz="914400" rtl="0" eaLnBrk="1" latinLnBrk="0" hangingPunct="1">
              <a:lnSpc>
                <a:spcPct val="110000"/>
              </a:lnSpc>
              <a:spcAft>
                <a:spcPts val="1200"/>
              </a:spcAft>
              <a:buClr>
                <a:schemeClr val="accent1"/>
              </a:buClr>
              <a:buFontTx/>
              <a:buChar char="■"/>
              <a:defRPr lang="en-US" sz="1200" kern="1200" dirty="0" smtClean="0">
                <a:solidFill>
                  <a:schemeClr val="tx1"/>
                </a:solidFill>
                <a:latin typeface="+mn-lt"/>
                <a:ea typeface="+mn-ea"/>
                <a:cs typeface="+mn-cs"/>
              </a:defRPr>
            </a:lvl4pPr>
            <a:lvl5pPr marL="247650" indent="-247650" algn="just" defTabSz="914400" rtl="0" eaLnBrk="1" latinLnBrk="0" hangingPunct="1">
              <a:lnSpc>
                <a:spcPct val="110000"/>
              </a:lnSpc>
              <a:spcAft>
                <a:spcPts val="1200"/>
              </a:spcAft>
              <a:buClr>
                <a:schemeClr val="accent1"/>
              </a:buClr>
              <a:buFontTx/>
              <a:buChar char="■"/>
              <a:defRPr lang="en-US" sz="1200" kern="1200" dirty="0">
                <a:solidFill>
                  <a:schemeClr val="tx1"/>
                </a:solidFill>
                <a:latin typeface="+mn-lt"/>
                <a:ea typeface="+mn-ea"/>
                <a:cs typeface="+mn-cs"/>
              </a:defRPr>
            </a:lvl5pPr>
          </a:lstStyle>
          <a:p>
            <a:pPr lvl="0"/>
            <a:r>
              <a:rPr lang="en-US"/>
              <a:t>CLICK TO EDIT MASTER TITLE STYLE</a:t>
            </a:r>
          </a:p>
        </p:txBody>
      </p:sp>
    </p:spTree>
    <p:extLst>
      <p:ext uri="{BB962C8B-B14F-4D97-AF65-F5344CB8AC3E}">
        <p14:creationId xmlns:p14="http://schemas.microsoft.com/office/powerpoint/2010/main" val="30399882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280FDB-8D44-4C4B-9B35-83A057D33B3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6" name="Object 5" hidden="1">
                        <a:extLst>
                          <a:ext uri="{FF2B5EF4-FFF2-40B4-BE49-F238E27FC236}">
                            <a16:creationId xmlns:a16="http://schemas.microsoft.com/office/drawing/2014/main" id="{5F280FDB-8D44-4C4B-9B35-83A057D33B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6E803E-763D-493B-9B50-30E99C04FF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00" b="1" i="0" baseline="0"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7" name="Rectangle 36">
            <a:extLst>
              <a:ext uri="{FF2B5EF4-FFF2-40B4-BE49-F238E27FC236}">
                <a16:creationId xmlns:a16="http://schemas.microsoft.com/office/drawing/2014/main" id="{3AD7DB3C-2284-4DE9-8CE5-A57A6C5B29CD}"/>
              </a:ext>
            </a:extLst>
          </p:cNvPr>
          <p:cNvSpPr/>
          <p:nvPr userDrawn="1"/>
        </p:nvSpPr>
        <p:spPr>
          <a:xfrm>
            <a:off x="8789720" y="1103671"/>
            <a:ext cx="3144169" cy="5020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286173"/>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dirty="0"/>
              <a:t>CLICK TO EDIT MASTER TITLE STYLE</a:t>
            </a:r>
            <a:endParaRPr lang="fr-FR" dirty="0"/>
          </a:p>
        </p:txBody>
      </p:sp>
      <p:sp>
        <p:nvSpPr>
          <p:cNvPr id="67" name="Text Placeholder 4">
            <a:extLst>
              <a:ext uri="{FF2B5EF4-FFF2-40B4-BE49-F238E27FC236}">
                <a16:creationId xmlns:a16="http://schemas.microsoft.com/office/drawing/2014/main" id="{6DC50A14-66A9-4B98-97B8-A3F1DF4FF175}"/>
              </a:ext>
            </a:extLst>
          </p:cNvPr>
          <p:cNvSpPr>
            <a:spLocks noGrp="1"/>
          </p:cNvSpPr>
          <p:nvPr>
            <p:ph type="body" sz="quarter" idx="54" hasCustomPrompt="1"/>
          </p:nvPr>
        </p:nvSpPr>
        <p:spPr>
          <a:xfrm>
            <a:off x="8589819" y="1303146"/>
            <a:ext cx="3268862"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dirty="0"/>
              <a:t>EDIT MASTER TITLE</a:t>
            </a:r>
          </a:p>
        </p:txBody>
      </p:sp>
      <p:sp>
        <p:nvSpPr>
          <p:cNvPr id="42" name="Chart Placeholder 2">
            <a:extLst>
              <a:ext uri="{FF2B5EF4-FFF2-40B4-BE49-F238E27FC236}">
                <a16:creationId xmlns:a16="http://schemas.microsoft.com/office/drawing/2014/main" id="{58C0507B-1350-4A9C-851C-DA37C5245E1C}"/>
              </a:ext>
            </a:extLst>
          </p:cNvPr>
          <p:cNvSpPr>
            <a:spLocks noGrp="1"/>
          </p:cNvSpPr>
          <p:nvPr>
            <p:ph type="chart" sz="quarter" idx="56"/>
          </p:nvPr>
        </p:nvSpPr>
        <p:spPr>
          <a:xfrm>
            <a:off x="8617527" y="1846732"/>
            <a:ext cx="3144169" cy="3805191"/>
          </a:xfrm>
        </p:spPr>
        <p:txBody>
          <a:bodyPr anchor="ctr">
            <a:noAutofit/>
          </a:bodyPr>
          <a:lstStyle>
            <a:lvl1pPr marL="0" indent="0" algn="ctr">
              <a:buNone/>
              <a:defRPr sz="1200"/>
            </a:lvl1pPr>
          </a:lstStyle>
          <a:p>
            <a:endParaRPr lang="en-US" dirty="0"/>
          </a:p>
        </p:txBody>
      </p:sp>
      <p:sp>
        <p:nvSpPr>
          <p:cNvPr id="27" name="Text Placeholder 4">
            <a:extLst>
              <a:ext uri="{FF2B5EF4-FFF2-40B4-BE49-F238E27FC236}">
                <a16:creationId xmlns:a16="http://schemas.microsoft.com/office/drawing/2014/main" id="{B1A92360-F450-4053-A182-89E667153AFA}"/>
              </a:ext>
            </a:extLst>
          </p:cNvPr>
          <p:cNvSpPr>
            <a:spLocks noGrp="1"/>
          </p:cNvSpPr>
          <p:nvPr>
            <p:ph type="body" sz="quarter" idx="62" hasCustomPrompt="1"/>
          </p:nvPr>
        </p:nvSpPr>
        <p:spPr>
          <a:xfrm>
            <a:off x="8589819" y="1487813"/>
            <a:ext cx="3268861"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dirty="0"/>
              <a:t>UoM</a:t>
            </a:r>
          </a:p>
        </p:txBody>
      </p:sp>
      <p:sp>
        <p:nvSpPr>
          <p:cNvPr id="30" name="Rectangle 29">
            <a:extLst>
              <a:ext uri="{FF2B5EF4-FFF2-40B4-BE49-F238E27FC236}">
                <a16:creationId xmlns:a16="http://schemas.microsoft.com/office/drawing/2014/main" id="{2F8DC5DC-E29C-4105-8062-00F0E84A98B4}"/>
              </a:ext>
            </a:extLst>
          </p:cNvPr>
          <p:cNvSpPr/>
          <p:nvPr userDrawn="1"/>
        </p:nvSpPr>
        <p:spPr>
          <a:xfrm>
            <a:off x="211665" y="1103671"/>
            <a:ext cx="8502846" cy="502066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 name="Text Placeholder 4">
            <a:extLst>
              <a:ext uri="{FF2B5EF4-FFF2-40B4-BE49-F238E27FC236}">
                <a16:creationId xmlns:a16="http://schemas.microsoft.com/office/drawing/2014/main" id="{AD4D5292-E010-48A7-83CA-D0A4EAB1383B}"/>
              </a:ext>
            </a:extLst>
          </p:cNvPr>
          <p:cNvSpPr>
            <a:spLocks noGrp="1"/>
          </p:cNvSpPr>
          <p:nvPr>
            <p:ph type="body" sz="quarter" idx="63" hasCustomPrompt="1"/>
          </p:nvPr>
        </p:nvSpPr>
        <p:spPr>
          <a:xfrm>
            <a:off x="258111" y="1303146"/>
            <a:ext cx="3268862" cy="184666"/>
          </a:xfrm>
        </p:spPr>
        <p:txBody>
          <a:bodyPr wrap="square" lIns="0" tIns="0" rIns="0" bIns="0" anchor="b">
            <a:spAutoFit/>
          </a:bodyPr>
          <a:lstStyle>
            <a:lvl1pPr marL="0" indent="0">
              <a:lnSpc>
                <a:spcPct val="100000"/>
              </a:lnSpc>
              <a:spcBef>
                <a:spcPts val="0"/>
              </a:spcBef>
              <a:spcAft>
                <a:spcPts val="0"/>
              </a:spcAft>
              <a:buNone/>
              <a:defRPr lang="en-US" sz="1200" b="1" cap="all" baseline="0" dirty="0">
                <a:solidFill>
                  <a:schemeClr val="accent1"/>
                </a:solidFill>
              </a:defRPr>
            </a:lvl1pPr>
          </a:lstStyle>
          <a:p>
            <a:pPr marL="0" lvl="0">
              <a:spcAft>
                <a:spcPts val="500"/>
              </a:spcAft>
            </a:pPr>
            <a:r>
              <a:rPr lang="en-US" dirty="0"/>
              <a:t>EDIT MASTER TITLE</a:t>
            </a:r>
          </a:p>
        </p:txBody>
      </p:sp>
      <p:sp>
        <p:nvSpPr>
          <p:cNvPr id="32" name="Text Placeholder 4">
            <a:extLst>
              <a:ext uri="{FF2B5EF4-FFF2-40B4-BE49-F238E27FC236}">
                <a16:creationId xmlns:a16="http://schemas.microsoft.com/office/drawing/2014/main" id="{E14D4BAB-E62B-444C-A9CD-0BD4FBCCC975}"/>
              </a:ext>
            </a:extLst>
          </p:cNvPr>
          <p:cNvSpPr>
            <a:spLocks noGrp="1"/>
          </p:cNvSpPr>
          <p:nvPr>
            <p:ph type="body" sz="quarter" idx="64" hasCustomPrompt="1"/>
          </p:nvPr>
        </p:nvSpPr>
        <p:spPr>
          <a:xfrm>
            <a:off x="258111" y="1487813"/>
            <a:ext cx="3268861" cy="153888"/>
          </a:xfrm>
        </p:spPr>
        <p:txBody>
          <a:bodyPr wrap="square" lIns="0" tIns="0" rIns="0" bIns="0" anchor="b">
            <a:spAutoFit/>
          </a:bodyPr>
          <a:lstStyle>
            <a:lvl1pPr marL="0" indent="0">
              <a:lnSpc>
                <a:spcPct val="100000"/>
              </a:lnSpc>
              <a:spcBef>
                <a:spcPts val="0"/>
              </a:spcBef>
              <a:spcAft>
                <a:spcPts val="500"/>
              </a:spcAft>
              <a:buNone/>
              <a:defRPr lang="en-US" sz="1000" b="0" kern="1200" cap="none" baseline="0" dirty="0">
                <a:solidFill>
                  <a:schemeClr val="bg1">
                    <a:lumMod val="50000"/>
                  </a:schemeClr>
                </a:solidFill>
                <a:latin typeface="+mn-lt"/>
                <a:ea typeface="+mn-ea"/>
                <a:cs typeface="+mn-cs"/>
              </a:defRPr>
            </a:lvl1pPr>
          </a:lstStyle>
          <a:p>
            <a:pPr marL="0" lvl="0">
              <a:spcAft>
                <a:spcPts val="500"/>
              </a:spcAft>
            </a:pPr>
            <a:r>
              <a:rPr lang="en-US" dirty="0"/>
              <a:t>UoM</a:t>
            </a:r>
          </a:p>
        </p:txBody>
      </p:sp>
    </p:spTree>
    <p:extLst>
      <p:ext uri="{BB962C8B-B14F-4D97-AF65-F5344CB8AC3E}">
        <p14:creationId xmlns:p14="http://schemas.microsoft.com/office/powerpoint/2010/main" val="23297748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96560-A40F-4C6B-BE11-A22110CFF1CA}"/>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545177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39C23-0A4D-495C-A972-09D9B3DA26AA}"/>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7700839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044FA-46AC-4DBB-8501-B301847379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9843AEF2-B0E9-498B-96B2-A981C3C332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9444150-903E-40CF-8152-D2CB62A95350}"/>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E165089A-1591-4BA4-BD3F-CD74687CD07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99EEEB6-53BC-48B5-A4B8-928B0858D1FA}"/>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17513432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E549B-967C-4720-AE11-70005D1477C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16BFFAD-7EEA-4699-91DC-1C6B70D1F0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9B1C20A-CC31-419E-B7C3-05C8BD586BDD}"/>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E44760FE-7475-458B-AB51-BB9ACA91318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62F9E2D-48E2-4B66-8D89-AADA64117AF2}"/>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282506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C86089-7897-4F0F-9557-6DAA164A6E29}"/>
              </a:ext>
            </a:extLst>
          </p:cNvPr>
          <p:cNvGraphicFramePr>
            <a:graphicFrameLocks noChangeAspect="1"/>
          </p:cNvGraphicFramePr>
          <p:nvPr userDrawn="1">
            <p:custDataLst>
              <p:tags r:id="rId1"/>
            </p:custDataLst>
            <p:extLst>
              <p:ext uri="{D42A27DB-BD31-4B8C-83A1-F6EECF244321}">
                <p14:modId xmlns:p14="http://schemas.microsoft.com/office/powerpoint/2010/main" val="3945211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a:extLst>
                          <a:ext uri="{FF2B5EF4-FFF2-40B4-BE49-F238E27FC236}">
                            <a16:creationId xmlns:a16="http://schemas.microsoft.com/office/drawing/2014/main" id="{AAC86089-7897-4F0F-9557-6DAA164A6E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7C51EA8C-BC09-4B19-A489-A5A45D828313}"/>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Shape 15">
            <a:extLst>
              <a:ext uri="{FF2B5EF4-FFF2-40B4-BE49-F238E27FC236}">
                <a16:creationId xmlns:a16="http://schemas.microsoft.com/office/drawing/2014/main" id="{6DA9258B-35F4-43B9-968C-CE3C7D530CD1}"/>
              </a:ext>
            </a:extLst>
          </p:cNvPr>
          <p:cNvSpPr/>
          <p:nvPr userDrawn="1"/>
        </p:nvSpPr>
        <p:spPr>
          <a:xfrm flipH="1">
            <a:off x="-1" y="1"/>
            <a:ext cx="1881189" cy="4772023"/>
          </a:xfrm>
          <a:custGeom>
            <a:avLst/>
            <a:gdLst>
              <a:gd name="connsiteX0" fmla="*/ 1881188 w 1881189"/>
              <a:gd name="connsiteY0" fmla="*/ 0 h 4772023"/>
              <a:gd name="connsiteX1" fmla="*/ 1135758 w 1881189"/>
              <a:gd name="connsiteY1" fmla="*/ 0 h 4772023"/>
              <a:gd name="connsiteX2" fmla="*/ 127 w 1881189"/>
              <a:gd name="connsiteY2" fmla="*/ 1739444 h 4772023"/>
              <a:gd name="connsiteX3" fmla="*/ 899 w 1881189"/>
              <a:gd name="connsiteY3" fmla="*/ 1740688 h 4772023"/>
              <a:gd name="connsiteX4" fmla="*/ 0 w 1881189"/>
              <a:gd name="connsiteY4" fmla="*/ 1740688 h 4772023"/>
              <a:gd name="connsiteX5" fmla="*/ 1881189 w 1881189"/>
              <a:gd name="connsiteY5" fmla="*/ 4772023 h 4772023"/>
              <a:gd name="connsiteX6" fmla="*/ 1881189 w 1881189"/>
              <a:gd name="connsiteY6" fmla="*/ 1740688 h 4772023"/>
              <a:gd name="connsiteX7" fmla="*/ 1881188 w 1881189"/>
              <a:gd name="connsiteY7" fmla="*/ 1740688 h 47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189" h="4772023">
                <a:moveTo>
                  <a:pt x="1881188" y="0"/>
                </a:moveTo>
                <a:lnTo>
                  <a:pt x="1135758" y="0"/>
                </a:lnTo>
                <a:lnTo>
                  <a:pt x="127" y="1739444"/>
                </a:lnTo>
                <a:lnTo>
                  <a:pt x="899" y="1740688"/>
                </a:lnTo>
                <a:lnTo>
                  <a:pt x="0" y="1740688"/>
                </a:lnTo>
                <a:lnTo>
                  <a:pt x="1881189" y="4772023"/>
                </a:lnTo>
                <a:lnTo>
                  <a:pt x="1881189" y="1740688"/>
                </a:lnTo>
                <a:lnTo>
                  <a:pt x="1881188" y="17406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Shape 16">
            <a:extLst>
              <a:ext uri="{FF2B5EF4-FFF2-40B4-BE49-F238E27FC236}">
                <a16:creationId xmlns:a16="http://schemas.microsoft.com/office/drawing/2014/main" id="{A0BDBAF4-BC9C-4EE7-9E18-F6344D748D6C}"/>
              </a:ext>
            </a:extLst>
          </p:cNvPr>
          <p:cNvSpPr/>
          <p:nvPr userDrawn="1"/>
        </p:nvSpPr>
        <p:spPr>
          <a:xfrm flipV="1">
            <a:off x="826542" y="0"/>
            <a:ext cx="2134540" cy="1676215"/>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9" name="Content Placeholder 2">
            <a:extLst>
              <a:ext uri="{FF2B5EF4-FFF2-40B4-BE49-F238E27FC236}">
                <a16:creationId xmlns:a16="http://schemas.microsoft.com/office/drawing/2014/main" id="{55C9D024-EC5F-4F66-A6BB-9294E0DBDCE0}"/>
              </a:ext>
            </a:extLst>
          </p:cNvPr>
          <p:cNvSpPr>
            <a:spLocks noGrp="1"/>
          </p:cNvSpPr>
          <p:nvPr>
            <p:ph idx="22" hasCustomPrompt="1"/>
          </p:nvPr>
        </p:nvSpPr>
        <p:spPr>
          <a:xfrm>
            <a:off x="3073400" y="1550456"/>
            <a:ext cx="4376628" cy="169277"/>
          </a:xfrm>
        </p:spPr>
        <p:txBody>
          <a:bodyPr wrap="square" lIns="0" tIns="0" rIns="0" bIns="0" anchor="t"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100" b="0" kern="1200" dirty="0" smtClean="0">
                <a:solidFill>
                  <a:schemeClr val="tx1"/>
                </a:solidFill>
                <a:latin typeface="+mn-lt"/>
                <a:ea typeface="Lato Black" panose="020F0502020204030203" pitchFamily="34" charset="0"/>
                <a:cs typeface="Lato Black" panose="020F0502020204030203" pitchFamily="34" charset="0"/>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3" name="Text Placeholder 2">
            <a:extLst>
              <a:ext uri="{FF2B5EF4-FFF2-40B4-BE49-F238E27FC236}">
                <a16:creationId xmlns:a16="http://schemas.microsoft.com/office/drawing/2014/main" id="{4AD5AFCD-57E0-420D-AA5F-A01BABEC7AD7}"/>
              </a:ext>
            </a:extLst>
          </p:cNvPr>
          <p:cNvSpPr>
            <a:spLocks noGrp="1"/>
          </p:cNvSpPr>
          <p:nvPr>
            <p:ph type="body" sz="quarter" idx="23" hasCustomPrompt="1"/>
          </p:nvPr>
        </p:nvSpPr>
        <p:spPr>
          <a:xfrm>
            <a:off x="3073400" y="993323"/>
            <a:ext cx="4376628" cy="369332"/>
          </a:xfrm>
        </p:spPr>
        <p:txBody>
          <a:bodyPr wrap="square" lIns="0" tIns="0" rIns="0" bIns="0" anchor="b" anchorCtr="0">
            <a:spAutoFit/>
          </a:bodyPr>
          <a:lstStyle>
            <a:lvl1pPr marL="0" indent="0">
              <a:lnSpc>
                <a:spcPct val="100000"/>
              </a:lnSpc>
              <a:buNone/>
              <a:defRPr sz="2400" b="1" cap="all" baseline="0">
                <a:solidFill>
                  <a:schemeClr val="accent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Header</a:t>
            </a:r>
          </a:p>
        </p:txBody>
      </p:sp>
      <p:cxnSp>
        <p:nvCxnSpPr>
          <p:cNvPr id="14" name="Straight Connector 13">
            <a:extLst>
              <a:ext uri="{FF2B5EF4-FFF2-40B4-BE49-F238E27FC236}">
                <a16:creationId xmlns:a16="http://schemas.microsoft.com/office/drawing/2014/main" id="{CBC4A4B8-642C-40BF-8ECC-3DE31CED5100}"/>
              </a:ext>
            </a:extLst>
          </p:cNvPr>
          <p:cNvCxnSpPr>
            <a:cxnSpLocks/>
          </p:cNvCxnSpPr>
          <p:nvPr userDrawn="1"/>
        </p:nvCxnSpPr>
        <p:spPr>
          <a:xfrm>
            <a:off x="3073400" y="1443548"/>
            <a:ext cx="476752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A509E063-7018-4CC9-8B0C-EAB882F4C179}"/>
              </a:ext>
            </a:extLst>
          </p:cNvPr>
          <p:cNvSpPr/>
          <p:nvPr userDrawn="1"/>
        </p:nvSpPr>
        <p:spPr>
          <a:xfrm>
            <a:off x="7696054" y="330230"/>
            <a:ext cx="4397360" cy="3041942"/>
          </a:xfrm>
          <a:prstGeom prst="roundRect">
            <a:avLst>
              <a:gd name="adj" fmla="val 6482"/>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D3EF0D3A-9C92-4E4C-A546-8D0C9283C088}"/>
              </a:ext>
            </a:extLst>
          </p:cNvPr>
          <p:cNvGrpSpPr/>
          <p:nvPr userDrawn="1"/>
        </p:nvGrpSpPr>
        <p:grpSpPr>
          <a:xfrm>
            <a:off x="7551180" y="1305220"/>
            <a:ext cx="289748" cy="289747"/>
            <a:chOff x="8050986" y="622778"/>
            <a:chExt cx="289748" cy="289747"/>
          </a:xfrm>
        </p:grpSpPr>
        <p:sp>
          <p:nvSpPr>
            <p:cNvPr id="15" name="Circle: Hollow 14">
              <a:extLst>
                <a:ext uri="{FF2B5EF4-FFF2-40B4-BE49-F238E27FC236}">
                  <a16:creationId xmlns:a16="http://schemas.microsoft.com/office/drawing/2014/main" id="{3B09B5E3-AF13-4951-A451-7553BC79E126}"/>
                </a:ext>
              </a:extLst>
            </p:cNvPr>
            <p:cNvSpPr/>
            <p:nvPr userDrawn="1"/>
          </p:nvSpPr>
          <p:spPr>
            <a:xfrm>
              <a:off x="8050986" y="622778"/>
              <a:ext cx="289748" cy="289747"/>
            </a:xfrm>
            <a:prstGeom prst="don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Oval 17">
              <a:extLst>
                <a:ext uri="{FF2B5EF4-FFF2-40B4-BE49-F238E27FC236}">
                  <a16:creationId xmlns:a16="http://schemas.microsoft.com/office/drawing/2014/main" id="{6C2FB5E3-5511-4E14-8B9F-FC7324FA2E9F}"/>
                </a:ext>
              </a:extLst>
            </p:cNvPr>
            <p:cNvSpPr/>
            <p:nvPr userDrawn="1"/>
          </p:nvSpPr>
          <p:spPr>
            <a:xfrm>
              <a:off x="8113851" y="685643"/>
              <a:ext cx="164017" cy="1640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Chart Placeholder 7">
            <a:extLst>
              <a:ext uri="{FF2B5EF4-FFF2-40B4-BE49-F238E27FC236}">
                <a16:creationId xmlns:a16="http://schemas.microsoft.com/office/drawing/2014/main" id="{5772E688-8A25-4076-ADDF-13F971E0C4F7}"/>
              </a:ext>
            </a:extLst>
          </p:cNvPr>
          <p:cNvSpPr>
            <a:spLocks noGrp="1"/>
          </p:cNvSpPr>
          <p:nvPr>
            <p:ph type="chart" sz="quarter" idx="24"/>
          </p:nvPr>
        </p:nvSpPr>
        <p:spPr>
          <a:xfrm>
            <a:off x="7907579" y="457199"/>
            <a:ext cx="4021818" cy="2752725"/>
          </a:xfrm>
        </p:spPr>
        <p:txBody>
          <a:bodyPr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9771324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8CD4E-27B0-4AEC-AE29-6E64941A16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A845F29-9CE6-4CCE-877C-A4360F75451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C6A38C-C075-4CBF-A1EC-4E16ACDE0BA1}"/>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8D35098D-873B-4859-8241-99CB4F4098C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ABA0B58-2845-4C08-8842-F710DEEFCDA5}"/>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3606212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34C21-F747-4467-B232-851E3244E86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9752CCA-A80D-4D14-9D5A-E6E138E3CD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500D95F-5692-4B01-9E0A-EC2C28566B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90EE6C63-5724-4640-BAF2-168590168A35}"/>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6" name="Footer Placeholder 5">
            <a:extLst>
              <a:ext uri="{FF2B5EF4-FFF2-40B4-BE49-F238E27FC236}">
                <a16:creationId xmlns:a16="http://schemas.microsoft.com/office/drawing/2014/main" id="{08D1CB2F-E20E-40C4-99BC-00129B60522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F9A6D18-4CC1-43FA-8544-E8B53162CB01}"/>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14521605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E3599-B759-45B0-A564-B82CA6BB43C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8BFC54E-AE32-45F7-9649-C369582A35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FACB81-B7BE-4DF6-A3E5-3F4C0480733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992DE3B6-6B2D-48D2-A2D8-FDD318B6AB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B5367E-AC98-4213-A329-4FBCE84B59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A4BA36B5-88AE-432C-BBA5-25AD05031C99}"/>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8" name="Footer Placeholder 7">
            <a:extLst>
              <a:ext uri="{FF2B5EF4-FFF2-40B4-BE49-F238E27FC236}">
                <a16:creationId xmlns:a16="http://schemas.microsoft.com/office/drawing/2014/main" id="{A5B211BD-C483-4C41-806E-40F7A3749839}"/>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C90DE314-54FF-4C03-A850-1B47B5539274}"/>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41087944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D44C-271F-40DF-B233-87AEAD8AAA84}"/>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DAFF735F-FD75-4F09-B279-22D77E1D34D0}"/>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4" name="Footer Placeholder 3">
            <a:extLst>
              <a:ext uri="{FF2B5EF4-FFF2-40B4-BE49-F238E27FC236}">
                <a16:creationId xmlns:a16="http://schemas.microsoft.com/office/drawing/2014/main" id="{C7E7C335-01FD-403C-AB69-9C427D4CF6E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37E9F80-79E7-47B8-A675-8868A707BBB3}"/>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8002560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746396-E3C6-45FD-AC44-4EC569C1041D}"/>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3" name="Footer Placeholder 2">
            <a:extLst>
              <a:ext uri="{FF2B5EF4-FFF2-40B4-BE49-F238E27FC236}">
                <a16:creationId xmlns:a16="http://schemas.microsoft.com/office/drawing/2014/main" id="{F82AB99E-DB46-4071-8436-A3C0D24602CE}"/>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273B44C3-B023-4310-A6EC-CAF075F26C99}"/>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12487224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6F7D3-A85C-4561-AF51-1F365EEFA4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9C07450-7FA5-492F-B23A-75F26FEA9F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EC7231B1-8E1C-412C-B82F-7A43924C00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139460-F13A-4190-9E35-490BEE5EF727}"/>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6" name="Footer Placeholder 5">
            <a:extLst>
              <a:ext uri="{FF2B5EF4-FFF2-40B4-BE49-F238E27FC236}">
                <a16:creationId xmlns:a16="http://schemas.microsoft.com/office/drawing/2014/main" id="{860FEFD1-C3E7-47D9-AD58-8168A1B117E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93EB107-D2A9-4B70-B500-A07C5024F613}"/>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38403015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D11E1-AEF2-453E-BD28-1BCECF8871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D23A2B9F-B45B-46AC-9969-D87F7822F52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48F6C194-F356-4F94-AE83-CD3ACD694F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12341C-80A2-4341-A9F1-A5849872D81E}"/>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6" name="Footer Placeholder 5">
            <a:extLst>
              <a:ext uri="{FF2B5EF4-FFF2-40B4-BE49-F238E27FC236}">
                <a16:creationId xmlns:a16="http://schemas.microsoft.com/office/drawing/2014/main" id="{0201B85D-4FEA-43A9-82BD-91286C5E6BD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19F727B-E2AC-41B3-92ED-BAB136A885B2}"/>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24038636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A348A-945C-44AE-9AF9-9A47C1E5026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9F3CF47-A1A9-42C5-9F79-F5CA523F663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0E6E10C-8242-40D1-9328-675E6FB187F0}"/>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9A1354A9-D41E-419F-815A-9D8A20872CF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A096DB8-AE6B-4780-8E54-B9A1EA85FFBA}"/>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23337989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16F3501-E6C7-4E1B-B94C-71EDA98DA95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C9E9470-AF95-484E-8C10-AEB2A85EEA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F11C1C8-2D31-4DF7-A676-347D890169D8}"/>
              </a:ext>
            </a:extLst>
          </p:cNvPr>
          <p:cNvSpPr>
            <a:spLocks noGrp="1"/>
          </p:cNvSpPr>
          <p:nvPr>
            <p:ph type="dt" sz="half" idx="10"/>
          </p:nvPr>
        </p:nvSpPr>
        <p:spPr/>
        <p:txBody>
          <a:body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8CBA457C-7AC6-449D-8D5A-FBF54F357CA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3A2DA9E-3CA4-48D5-8497-236C79222244}"/>
              </a:ext>
            </a:extLst>
          </p:cNvPr>
          <p:cNvSpPr>
            <a:spLocks noGrp="1"/>
          </p:cNvSpPr>
          <p:nvPr>
            <p:ph type="sldNum" sz="quarter" idx="12"/>
          </p:nvPr>
        </p:nvSpPr>
        <p:spPr/>
        <p:txBody>
          <a:bodyPr/>
          <a:lstStyle/>
          <a:p>
            <a:fld id="{37040581-C90C-488C-A929-3A51A0955C71}" type="slidenum">
              <a:rPr lang="en-IN" smtClean="0"/>
              <a:t>‹#›</a:t>
            </a:fld>
            <a:endParaRPr lang="en-IN"/>
          </a:p>
        </p:txBody>
      </p:sp>
    </p:spTree>
    <p:extLst>
      <p:ext uri="{BB962C8B-B14F-4D97-AF65-F5344CB8AC3E}">
        <p14:creationId xmlns:p14="http://schemas.microsoft.com/office/powerpoint/2010/main" val="42352751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75378-447D-4F92-ADB5-07D2397E1EA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1A0223DA-D3D0-442E-9776-8D6D31D14F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5FE3A32-7DCE-461B-97A1-BC3D8F8DB698}"/>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57F0F5D7-38AF-4820-BA71-877B757AF70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F27C30E-E648-4DCA-9DE5-A0E486D7C13F}"/>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2438530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BC19499-9E90-4897-BC86-B176E67C9119}"/>
              </a:ext>
            </a:extLst>
          </p:cNvPr>
          <p:cNvSpPr/>
          <p:nvPr userDrawn="1"/>
        </p:nvSpPr>
        <p:spPr>
          <a:xfrm>
            <a:off x="0" y="0"/>
            <a:ext cx="12192000" cy="972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ACF38138-4922-44A7-804F-00351B7A63C1}"/>
              </a:ext>
            </a:extLst>
          </p:cNvPr>
          <p:cNvGrpSpPr/>
          <p:nvPr userDrawn="1"/>
        </p:nvGrpSpPr>
        <p:grpSpPr>
          <a:xfrm>
            <a:off x="10937280" y="0"/>
            <a:ext cx="1254720" cy="972458"/>
            <a:chOff x="10937280" y="0"/>
            <a:chExt cx="1254720" cy="972458"/>
          </a:xfrm>
        </p:grpSpPr>
        <p:sp>
          <p:nvSpPr>
            <p:cNvPr id="14" name="Freeform: Shape 13">
              <a:extLst>
                <a:ext uri="{FF2B5EF4-FFF2-40B4-BE49-F238E27FC236}">
                  <a16:creationId xmlns:a16="http://schemas.microsoft.com/office/drawing/2014/main" id="{18B16C22-7C9D-4579-BAEA-BB5EC1DC4B0D}"/>
                </a:ext>
              </a:extLst>
            </p:cNvPr>
            <p:cNvSpPr/>
            <p:nvPr/>
          </p:nvSpPr>
          <p:spPr>
            <a:xfrm flipH="1" flipV="1">
              <a:off x="10937280" y="0"/>
              <a:ext cx="904484" cy="710273"/>
            </a:xfrm>
            <a:custGeom>
              <a:avLst/>
              <a:gdLst>
                <a:gd name="connsiteX0" fmla="*/ 3214826 w 3214826"/>
                <a:gd name="connsiteY0" fmla="*/ 2524542 h 2524542"/>
                <a:gd name="connsiteX1" fmla="*/ 0 w 3214826"/>
                <a:gd name="connsiteY1" fmla="*/ 2524542 h 2524542"/>
                <a:gd name="connsiteX2" fmla="*/ 1647338 w 3214826"/>
                <a:gd name="connsiteY2" fmla="*/ 0 h 2524542"/>
              </a:gdLst>
              <a:ahLst/>
              <a:cxnLst>
                <a:cxn ang="0">
                  <a:pos x="connsiteX0" y="connsiteY0"/>
                </a:cxn>
                <a:cxn ang="0">
                  <a:pos x="connsiteX1" y="connsiteY1"/>
                </a:cxn>
                <a:cxn ang="0">
                  <a:pos x="connsiteX2" y="connsiteY2"/>
                </a:cxn>
              </a:cxnLst>
              <a:rect l="l" t="t" r="r" b="b"/>
              <a:pathLst>
                <a:path w="3214826" h="2524542">
                  <a:moveTo>
                    <a:pt x="3214826" y="2524542"/>
                  </a:moveTo>
                  <a:lnTo>
                    <a:pt x="0" y="2524542"/>
                  </a:lnTo>
                  <a:lnTo>
                    <a:pt x="164733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A85E16E3-FFC0-4CD2-9C69-42ED6A093951}"/>
                </a:ext>
              </a:extLst>
            </p:cNvPr>
            <p:cNvSpPr/>
            <p:nvPr/>
          </p:nvSpPr>
          <p:spPr>
            <a:xfrm>
              <a:off x="11394925" y="1"/>
              <a:ext cx="797075" cy="972457"/>
            </a:xfrm>
            <a:custGeom>
              <a:avLst/>
              <a:gdLst>
                <a:gd name="connsiteX0" fmla="*/ 481209 w 797075"/>
                <a:gd name="connsiteY0" fmla="*/ 0 h 972457"/>
                <a:gd name="connsiteX1" fmla="*/ 797075 w 797075"/>
                <a:gd name="connsiteY1" fmla="*/ 0 h 972457"/>
                <a:gd name="connsiteX2" fmla="*/ 797075 w 797075"/>
                <a:gd name="connsiteY2" fmla="*/ 972457 h 972457"/>
                <a:gd name="connsiteX3" fmla="*/ 146154 w 797075"/>
                <a:gd name="connsiteY3" fmla="*/ 972457 h 972457"/>
                <a:gd name="connsiteX4" fmla="*/ 0 w 797075"/>
                <a:gd name="connsiteY4" fmla="*/ 737066 h 972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075" h="972457">
                  <a:moveTo>
                    <a:pt x="481209" y="0"/>
                  </a:moveTo>
                  <a:lnTo>
                    <a:pt x="797075" y="0"/>
                  </a:lnTo>
                  <a:lnTo>
                    <a:pt x="797075" y="972457"/>
                  </a:lnTo>
                  <a:lnTo>
                    <a:pt x="146154" y="972457"/>
                  </a:lnTo>
                  <a:lnTo>
                    <a:pt x="0" y="737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Title 1">
            <a:extLst>
              <a:ext uri="{FF2B5EF4-FFF2-40B4-BE49-F238E27FC236}">
                <a16:creationId xmlns:a16="http://schemas.microsoft.com/office/drawing/2014/main" id="{26950632-1B93-4D6C-9EFA-1C56974AD28A}"/>
              </a:ext>
            </a:extLst>
          </p:cNvPr>
          <p:cNvSpPr>
            <a:spLocks noGrp="1"/>
          </p:cNvSpPr>
          <p:nvPr>
            <p:ph type="title" hasCustomPrompt="1"/>
          </p:nvPr>
        </p:nvSpPr>
        <p:spPr>
          <a:xfrm>
            <a:off x="335490" y="386899"/>
            <a:ext cx="10601790" cy="400110"/>
          </a:xfrm>
        </p:spPr>
        <p:txBody>
          <a:bodyPr wrap="square" lIns="0" tIns="0" rIns="0" bIns="0" anchor="t" anchorCtr="0">
            <a:spAutoFit/>
          </a:bodyPr>
          <a:lstStyle>
            <a:lvl1pPr algn="l" defTabSz="914400" rtl="0" eaLnBrk="1" latinLnBrk="0" hangingPunct="1">
              <a:lnSpc>
                <a:spcPct val="100000"/>
              </a:lnSpc>
              <a:spcBef>
                <a:spcPct val="0"/>
              </a:spcBef>
              <a:buNone/>
              <a:defRPr lang="fr-FR" sz="2600" b="1" kern="1200" cap="all" baseline="0" dirty="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CLICK TO EDIT MASTER TITLE STYLE</a:t>
            </a:r>
            <a:endParaRPr lang="fr-FR"/>
          </a:p>
        </p:txBody>
      </p:sp>
      <p:sp>
        <p:nvSpPr>
          <p:cNvPr id="18" name="Rectangle 17">
            <a:extLst>
              <a:ext uri="{FF2B5EF4-FFF2-40B4-BE49-F238E27FC236}">
                <a16:creationId xmlns:a16="http://schemas.microsoft.com/office/drawing/2014/main" id="{1406E479-1BDA-48EF-9057-909F1B2A4C33}"/>
              </a:ext>
            </a:extLst>
          </p:cNvPr>
          <p:cNvSpPr/>
          <p:nvPr userDrawn="1"/>
        </p:nvSpPr>
        <p:spPr>
          <a:xfrm>
            <a:off x="340247" y="1460153"/>
            <a:ext cx="5594354" cy="480729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p>
        </p:txBody>
      </p:sp>
      <p:sp>
        <p:nvSpPr>
          <p:cNvPr id="19" name="Rectangle 18">
            <a:extLst>
              <a:ext uri="{FF2B5EF4-FFF2-40B4-BE49-F238E27FC236}">
                <a16:creationId xmlns:a16="http://schemas.microsoft.com/office/drawing/2014/main" id="{667816DF-474F-4A0C-80E9-7F8680869EEB}"/>
              </a:ext>
            </a:extLst>
          </p:cNvPr>
          <p:cNvSpPr/>
          <p:nvPr userDrawn="1"/>
        </p:nvSpPr>
        <p:spPr>
          <a:xfrm>
            <a:off x="6257399" y="1460153"/>
            <a:ext cx="5594354" cy="480729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p>
        </p:txBody>
      </p:sp>
      <p:sp>
        <p:nvSpPr>
          <p:cNvPr id="22" name="Content Placeholder 2">
            <a:extLst>
              <a:ext uri="{FF2B5EF4-FFF2-40B4-BE49-F238E27FC236}">
                <a16:creationId xmlns:a16="http://schemas.microsoft.com/office/drawing/2014/main" id="{C66EB910-1608-4C32-9EE2-4E468CAC035A}"/>
              </a:ext>
            </a:extLst>
          </p:cNvPr>
          <p:cNvSpPr>
            <a:spLocks noGrp="1"/>
          </p:cNvSpPr>
          <p:nvPr>
            <p:ph idx="25" hasCustomPrompt="1"/>
          </p:nvPr>
        </p:nvSpPr>
        <p:spPr>
          <a:xfrm>
            <a:off x="340247" y="1123133"/>
            <a:ext cx="5594354" cy="246221"/>
          </a:xfrm>
        </p:spPr>
        <p:txBody>
          <a:bodyPr wrap="square" lIns="0" tIns="0" rIns="0" bIns="0" anchor="b"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6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24" name="Content Placeholder 2">
            <a:extLst>
              <a:ext uri="{FF2B5EF4-FFF2-40B4-BE49-F238E27FC236}">
                <a16:creationId xmlns:a16="http://schemas.microsoft.com/office/drawing/2014/main" id="{6678BA73-BC05-4362-B543-A68B555B9624}"/>
              </a:ext>
            </a:extLst>
          </p:cNvPr>
          <p:cNvSpPr>
            <a:spLocks noGrp="1"/>
          </p:cNvSpPr>
          <p:nvPr>
            <p:ph idx="26" hasCustomPrompt="1"/>
          </p:nvPr>
        </p:nvSpPr>
        <p:spPr>
          <a:xfrm>
            <a:off x="6257399" y="1123133"/>
            <a:ext cx="5594354" cy="246221"/>
          </a:xfrm>
        </p:spPr>
        <p:txBody>
          <a:bodyPr wrap="square" lIns="0" tIns="0" rIns="0" bIns="0" anchor="b" anchorCtr="0">
            <a:spAutoFit/>
          </a:bodyPr>
          <a:lstStyle>
            <a:lvl1pPr marL="0" indent="0" algn="l" defTabSz="914400" rtl="0" eaLnBrk="1" latinLnBrk="0" hangingPunct="1">
              <a:lnSpc>
                <a:spcPct val="100000"/>
              </a:lnSpc>
              <a:spcBef>
                <a:spcPct val="0"/>
              </a:spcBef>
              <a:spcAft>
                <a:spcPts val="500"/>
              </a:spcAft>
              <a:buClr>
                <a:schemeClr val="accent2"/>
              </a:buClr>
              <a:buFont typeface="Lato" panose="020F0502020204030203" pitchFamily="34" charset="0"/>
              <a:buNone/>
              <a:defRPr lang="en-US" sz="1600" b="1" kern="1200" cap="all" baseline="0" dirty="0" smtClean="0">
                <a:solidFill>
                  <a:schemeClr val="accent1"/>
                </a:solidFill>
                <a:latin typeface="+mn-lt"/>
                <a:ea typeface="+mn-ea"/>
                <a:cs typeface="+mn-cs"/>
              </a:defRPr>
            </a:lvl1pPr>
            <a:lvl2pPr marL="685800" indent="-228600">
              <a:buClr>
                <a:schemeClr val="accent2"/>
              </a:buClr>
              <a:buFont typeface="Open Sans Light" panose="020B0306030504020204" pitchFamily="34" charset="0"/>
              <a:buChar char="−"/>
              <a:defRPr sz="1600"/>
            </a:lvl2pPr>
            <a:lvl3pPr marL="1143000" indent="-228600">
              <a:buClr>
                <a:schemeClr val="accent2"/>
              </a:buClr>
              <a:buSzPct val="74000"/>
              <a:buFont typeface="Courier New" panose="02070309020205020404" pitchFamily="49" charset="0"/>
              <a:buChar char="o"/>
              <a:defRPr sz="1600"/>
            </a:lvl3pPr>
          </a:lstStyle>
          <a:p>
            <a:pPr lvl="0"/>
            <a:r>
              <a:rPr lang="en-US"/>
              <a:t>EDIT MASTER TEXT STYLE</a:t>
            </a:r>
          </a:p>
        </p:txBody>
      </p:sp>
      <p:sp>
        <p:nvSpPr>
          <p:cNvPr id="4" name="Text Placeholder 3">
            <a:extLst>
              <a:ext uri="{FF2B5EF4-FFF2-40B4-BE49-F238E27FC236}">
                <a16:creationId xmlns:a16="http://schemas.microsoft.com/office/drawing/2014/main" id="{DAC796F0-CC7D-4086-BE8E-BFDA59429F61}"/>
              </a:ext>
            </a:extLst>
          </p:cNvPr>
          <p:cNvSpPr>
            <a:spLocks noGrp="1"/>
          </p:cNvSpPr>
          <p:nvPr>
            <p:ph type="body" sz="quarter" idx="32"/>
          </p:nvPr>
        </p:nvSpPr>
        <p:spPr>
          <a:xfrm>
            <a:off x="335490" y="174600"/>
            <a:ext cx="10601790" cy="138499"/>
          </a:xfrm>
        </p:spPr>
        <p:txBody>
          <a:bodyPr wrap="square">
            <a:spAutoFit/>
          </a:bodyPr>
          <a:lstStyle>
            <a:lvl1pPr marL="0" indent="0">
              <a:lnSpc>
                <a:spcPct val="100000"/>
              </a:lnSpc>
              <a:buNone/>
              <a:defRPr sz="900" b="1"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stStyle>
          <a:p>
            <a:pPr lvl="0"/>
            <a:r>
              <a:rPr lang="en-US"/>
              <a:t>Click to edit Master text styles</a:t>
            </a:r>
          </a:p>
        </p:txBody>
      </p:sp>
      <p:sp>
        <p:nvSpPr>
          <p:cNvPr id="39" name="Text Placeholder 6">
            <a:extLst>
              <a:ext uri="{FF2B5EF4-FFF2-40B4-BE49-F238E27FC236}">
                <a16:creationId xmlns:a16="http://schemas.microsoft.com/office/drawing/2014/main" id="{D11EBE63-9FB6-457A-8CD1-FC53CCE55D18}"/>
              </a:ext>
            </a:extLst>
          </p:cNvPr>
          <p:cNvSpPr>
            <a:spLocks noGrp="1"/>
          </p:cNvSpPr>
          <p:nvPr>
            <p:ph type="body" sz="quarter" idx="34" hasCustomPrompt="1"/>
          </p:nvPr>
        </p:nvSpPr>
        <p:spPr>
          <a:xfrm>
            <a:off x="6377788" y="1540923"/>
            <a:ext cx="5353576" cy="184666"/>
          </a:xfrm>
        </p:spPr>
        <p:txBody>
          <a:bodyPr/>
          <a:lstStyle>
            <a:lvl1pPr marL="237744" indent="-237744">
              <a:lnSpc>
                <a:spcPct val="100000"/>
              </a:lnSpc>
              <a:spcBef>
                <a:spcPts val="0"/>
              </a:spcBef>
              <a:spcAft>
                <a:spcPts val="1500"/>
              </a:spcAft>
              <a:buClr>
                <a:schemeClr val="accent1"/>
              </a:buClr>
              <a:buFont typeface="Wingdings" panose="05000000000000000000" pitchFamily="2" charset="2"/>
              <a:buChar char="n"/>
              <a:defRPr sz="1200"/>
            </a:lvl1pPr>
          </a:lstStyle>
          <a:p>
            <a:pPr lvl="0"/>
            <a:r>
              <a:rPr lang="en-US"/>
              <a:t>Edit Master text styles</a:t>
            </a:r>
          </a:p>
        </p:txBody>
      </p:sp>
      <p:sp>
        <p:nvSpPr>
          <p:cNvPr id="17" name="Text Placeholder 6">
            <a:extLst>
              <a:ext uri="{FF2B5EF4-FFF2-40B4-BE49-F238E27FC236}">
                <a16:creationId xmlns:a16="http://schemas.microsoft.com/office/drawing/2014/main" id="{5639DFA4-3DE8-4A40-BF1B-A0AE7500EF58}"/>
              </a:ext>
            </a:extLst>
          </p:cNvPr>
          <p:cNvSpPr>
            <a:spLocks noGrp="1"/>
          </p:cNvSpPr>
          <p:nvPr>
            <p:ph type="body" sz="quarter" idx="35" hasCustomPrompt="1"/>
          </p:nvPr>
        </p:nvSpPr>
        <p:spPr>
          <a:xfrm>
            <a:off x="460636" y="1540923"/>
            <a:ext cx="5353576" cy="184666"/>
          </a:xfrm>
        </p:spPr>
        <p:txBody>
          <a:bodyPr/>
          <a:lstStyle>
            <a:lvl1pPr marL="237744" indent="-237744">
              <a:lnSpc>
                <a:spcPct val="100000"/>
              </a:lnSpc>
              <a:spcBef>
                <a:spcPts val="0"/>
              </a:spcBef>
              <a:spcAft>
                <a:spcPts val="1500"/>
              </a:spcAft>
              <a:buClr>
                <a:schemeClr val="accent1"/>
              </a:buClr>
              <a:buFont typeface="Wingdings" panose="05000000000000000000" pitchFamily="2" charset="2"/>
              <a:buChar char="n"/>
              <a:defRPr sz="1200"/>
            </a:lvl1pPr>
          </a:lstStyle>
          <a:p>
            <a:pPr lvl="0"/>
            <a:r>
              <a:rPr lang="en-US"/>
              <a:t>Edit Master text styles</a:t>
            </a:r>
          </a:p>
        </p:txBody>
      </p:sp>
    </p:spTree>
    <p:extLst>
      <p:ext uri="{BB962C8B-B14F-4D97-AF65-F5344CB8AC3E}">
        <p14:creationId xmlns:p14="http://schemas.microsoft.com/office/powerpoint/2010/main" val="20724781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E292E-6442-4B01-B1C0-B8A6C7B5C0E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6189ED5-2B00-4195-BDB0-0234A6FF832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5C754A7-E066-48BC-A4EF-619C9F312FBE}"/>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22A2B47C-FB70-4FA6-A701-AF4021E4104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5E6136A-B5BB-4589-8D62-C103FB6F550A}"/>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40183559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0A690-9C42-44D1-ABAB-287E1388D6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CE29FED-90E0-4B2E-B62F-8FB33C053C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E58347-4929-4364-B105-0305405F701E}"/>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89351C9C-9007-46E8-8849-B435AEB8CA5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E85D753-F3E7-4F00-9169-94DC1D59F658}"/>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30537287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0DDF2-0F8B-4791-83FF-0999EB8E5BC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FFEA8C2-46A8-4BAC-8893-4882B927AE1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313460EC-963E-40AF-8584-DFB219E8EE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DE8D1564-6987-44FE-B8B3-457543215C1E}"/>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6" name="Footer Placeholder 5">
            <a:extLst>
              <a:ext uri="{FF2B5EF4-FFF2-40B4-BE49-F238E27FC236}">
                <a16:creationId xmlns:a16="http://schemas.microsoft.com/office/drawing/2014/main" id="{170123BF-BD8B-49B1-9F85-21ADC6545FF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B91EBCE-0F0B-4CB0-9A17-267EC7EE6253}"/>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18111107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993A0-F9BA-4A8B-BE8C-58C43BC7718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48C6B27-A271-4190-A9DF-F69C2CDDB0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EB01E6-5652-45AA-B278-3EEAD6C3F21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D8316A59-3498-4ADA-9CDD-92D8705C923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4E177B-9412-4001-93D6-9DE1E6FD69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180D291F-68DF-406F-9FD0-C4AF379C5E05}"/>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8" name="Footer Placeholder 7">
            <a:extLst>
              <a:ext uri="{FF2B5EF4-FFF2-40B4-BE49-F238E27FC236}">
                <a16:creationId xmlns:a16="http://schemas.microsoft.com/office/drawing/2014/main" id="{E0EAF16F-754A-4B54-B544-260C627D4D03}"/>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E5B7D56C-4185-4555-B18C-3B44206D4030}"/>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23351582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B6213-450E-4449-B72D-356A3E2DA34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3DCFF6A-ECE0-4B25-9AD7-7D277AEA9550}"/>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4" name="Footer Placeholder 3">
            <a:extLst>
              <a:ext uri="{FF2B5EF4-FFF2-40B4-BE49-F238E27FC236}">
                <a16:creationId xmlns:a16="http://schemas.microsoft.com/office/drawing/2014/main" id="{C7744652-2CB4-43DC-BC87-CDAFF142AEE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DAF5602D-AC39-44C5-84E5-FB9D05F37036}"/>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35418039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63318C-F048-4295-83BB-6C97C066B756}"/>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3" name="Footer Placeholder 2">
            <a:extLst>
              <a:ext uri="{FF2B5EF4-FFF2-40B4-BE49-F238E27FC236}">
                <a16:creationId xmlns:a16="http://schemas.microsoft.com/office/drawing/2014/main" id="{D2A026D0-B6D3-4BE2-BE9F-36E90655FD38}"/>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C99E4C38-4715-4D39-BA71-E1339B01F6EF}"/>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9180960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06C6A-B440-4C20-9137-EAB160C287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0C968859-6A3A-4D50-8D5A-398301041D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0A551770-FB31-4271-A3DB-799E21E403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399181-AEEB-47AA-8A8E-4E6597E6C524}"/>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6" name="Footer Placeholder 5">
            <a:extLst>
              <a:ext uri="{FF2B5EF4-FFF2-40B4-BE49-F238E27FC236}">
                <a16:creationId xmlns:a16="http://schemas.microsoft.com/office/drawing/2014/main" id="{63CD241A-7F27-473B-9799-AD41D60CDB95}"/>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ADBC81C-07BA-4E03-8651-6C527BB552A6}"/>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27469588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C0918-7BF3-4B25-A790-EA6FC4702F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135D2247-17E2-4D97-8A76-AF9E1748DB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8F877D28-A223-4B6D-B611-FB807E4BFD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B80125-008F-4625-944F-39FEBDCD4EB0}"/>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6" name="Footer Placeholder 5">
            <a:extLst>
              <a:ext uri="{FF2B5EF4-FFF2-40B4-BE49-F238E27FC236}">
                <a16:creationId xmlns:a16="http://schemas.microsoft.com/office/drawing/2014/main" id="{F1C13323-C7CF-44F1-B90F-4A140C6D6E9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F7D455D-685D-464A-896D-0013952E966E}"/>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3213267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EB5FB-8CEE-4ACE-89C1-AE07CF3AF12F}"/>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0E1677B-9797-47A9-A070-A91E89CA1A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2C316A8-1746-4B37-B53A-DF7751CEBF6E}"/>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28708B8E-7416-4AB7-9FB2-CFA558811FF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37C4D96-4D32-42DE-89AD-1E960B133E5C}"/>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27438919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34E2FF-EA9A-458B-87DE-3EA3E1ACDFB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5313144-31C6-49C7-A19E-7819C59125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969F0F5-2443-4FFC-9A8C-58554A919C1B}"/>
              </a:ext>
            </a:extLst>
          </p:cNvPr>
          <p:cNvSpPr>
            <a:spLocks noGrp="1"/>
          </p:cNvSpPr>
          <p:nvPr>
            <p:ph type="dt" sz="half" idx="10"/>
          </p:nvPr>
        </p:nvSpPr>
        <p:spPr/>
        <p:txBody>
          <a:body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366C4F42-25C3-4CCF-A76C-789CB78F3A7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90B1A77-DF7D-4098-9D0A-33F671FDEFF7}"/>
              </a:ext>
            </a:extLst>
          </p:cNvPr>
          <p:cNvSpPr>
            <a:spLocks noGrp="1"/>
          </p:cNvSpPr>
          <p:nvPr>
            <p:ph type="sldNum" sz="quarter" idx="12"/>
          </p:nvPr>
        </p:nvSpPr>
        <p:spPr/>
        <p:txBody>
          <a:bodyPr/>
          <a:lstStyle/>
          <a:p>
            <a:fld id="{1B323806-DBAC-40BF-9AFD-E0C26B3A6183}" type="slidenum">
              <a:rPr lang="en-IN" smtClean="0"/>
              <a:t>‹#›</a:t>
            </a:fld>
            <a:endParaRPr lang="en-IN"/>
          </a:p>
        </p:txBody>
      </p:sp>
    </p:spTree>
    <p:extLst>
      <p:ext uri="{BB962C8B-B14F-4D97-AF65-F5344CB8AC3E}">
        <p14:creationId xmlns:p14="http://schemas.microsoft.com/office/powerpoint/2010/main" val="337716067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 Target="../slides/slide3.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ags" Target="../tags/tag2.xml"/><Relationship Id="rId85" Type="http://schemas.openxmlformats.org/officeDocument/2006/relationships/image" Target="../media/image3.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81" Type="http://schemas.openxmlformats.org/officeDocument/2006/relationships/oleObject" Target="../embeddings/oleObject1.bin"/><Relationship Id="rId86"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2.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3.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4.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5.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6.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C70966-0240-4200-92D8-DA9297E28078}"/>
              </a:ext>
            </a:extLst>
          </p:cNvPr>
          <p:cNvGraphicFramePr>
            <a:graphicFrameLocks noChangeAspect="1"/>
          </p:cNvGraphicFramePr>
          <p:nvPr userDrawn="1">
            <p:custDataLst>
              <p:tags r:id="rId79"/>
            </p:custDataLst>
            <p:extLst>
              <p:ext uri="{D42A27DB-BD31-4B8C-83A1-F6EECF244321}">
                <p14:modId xmlns:p14="http://schemas.microsoft.com/office/powerpoint/2010/main" val="397146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84" imgH="384" progId="TCLayout.ActiveDocument.1">
                  <p:embed/>
                </p:oleObj>
              </mc:Choice>
              <mc:Fallback>
                <p:oleObj name="think-cell Slide" r:id="rId81" imgW="384" imgH="384" progId="TCLayout.ActiveDocument.1">
                  <p:embed/>
                  <p:pic>
                    <p:nvPicPr>
                      <p:cNvPr id="7" name="Object 6" hidden="1">
                        <a:extLst>
                          <a:ext uri="{FF2B5EF4-FFF2-40B4-BE49-F238E27FC236}">
                            <a16:creationId xmlns:a16="http://schemas.microsoft.com/office/drawing/2014/main" id="{F9C70966-0240-4200-92D8-DA9297E28078}"/>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1DCE3D-F3A3-40BC-ABE0-7E123DC11B45}"/>
              </a:ext>
            </a:extLst>
          </p:cNvPr>
          <p:cNvSpPr/>
          <p:nvPr userDrawn="1">
            <p:custDataLst>
              <p:tags r:id="rId8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Lato" panose="020F0502020204030203" pitchFamily="34" charset="0"/>
              <a:ea typeface="+mj-ea"/>
              <a:cs typeface="+mj-cs"/>
              <a:sym typeface="Lato" panose="020F0502020204030203" pitchFamily="34" charset="0"/>
            </a:endParaRPr>
          </a:p>
        </p:txBody>
      </p:sp>
      <p:sp>
        <p:nvSpPr>
          <p:cNvPr id="2" name="Title Placeholder 1">
            <a:extLst>
              <a:ext uri="{FF2B5EF4-FFF2-40B4-BE49-F238E27FC236}">
                <a16:creationId xmlns:a16="http://schemas.microsoft.com/office/drawing/2014/main" id="{CEE60C74-87E2-4422-969D-579F57E96E49}"/>
              </a:ext>
            </a:extLst>
          </p:cNvPr>
          <p:cNvSpPr>
            <a:spLocks noGrp="1"/>
          </p:cNvSpPr>
          <p:nvPr>
            <p:ph type="title"/>
          </p:nvPr>
        </p:nvSpPr>
        <p:spPr>
          <a:xfrm>
            <a:off x="215899" y="229750"/>
            <a:ext cx="11370235" cy="443198"/>
          </a:xfrm>
          <a:prstGeom prst="rect">
            <a:avLst/>
          </a:prstGeom>
        </p:spPr>
        <p:txBody>
          <a:bodyPr vert="horz" lIns="0" tIns="0" rIns="0" bIns="0" rtlCol="0" anchor="t" anchorCtr="0">
            <a:spAutoFit/>
          </a:bodyPr>
          <a:lstStyle/>
          <a:p>
            <a:r>
              <a:rPr lang="en-US"/>
              <a:t>CLICK TO EDIT MASTER TITLE STYLE</a:t>
            </a:r>
            <a:endParaRPr lang="fr-FR"/>
          </a:p>
        </p:txBody>
      </p:sp>
      <p:sp>
        <p:nvSpPr>
          <p:cNvPr id="3" name="Text Placeholder 2">
            <a:extLst>
              <a:ext uri="{FF2B5EF4-FFF2-40B4-BE49-F238E27FC236}">
                <a16:creationId xmlns:a16="http://schemas.microsoft.com/office/drawing/2014/main" id="{DC1A828B-A2F4-42AE-A8C7-BD774DCE4DDB}"/>
              </a:ext>
            </a:extLst>
          </p:cNvPr>
          <p:cNvSpPr>
            <a:spLocks noGrp="1"/>
          </p:cNvSpPr>
          <p:nvPr>
            <p:ph type="body" idx="1"/>
          </p:nvPr>
        </p:nvSpPr>
        <p:spPr>
          <a:xfrm>
            <a:off x="215898" y="987425"/>
            <a:ext cx="11493501" cy="876137"/>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
        <p:nvSpPr>
          <p:cNvPr id="8" name="bk object 16">
            <a:extLst>
              <a:ext uri="{FF2B5EF4-FFF2-40B4-BE49-F238E27FC236}">
                <a16:creationId xmlns:a16="http://schemas.microsoft.com/office/drawing/2014/main" id="{FD8AE6C7-349D-4C79-B4D7-83C3B759D15C}"/>
              </a:ext>
            </a:extLst>
          </p:cNvPr>
          <p:cNvSpPr/>
          <p:nvPr userDrawn="1"/>
        </p:nvSpPr>
        <p:spPr>
          <a:xfrm>
            <a:off x="11582703" y="6531854"/>
            <a:ext cx="504360" cy="268992"/>
          </a:xfrm>
          <a:prstGeom prst="rect">
            <a:avLst/>
          </a:prstGeom>
          <a:blipFill>
            <a:blip r:embed="rId83" cstate="print"/>
            <a:stretch>
              <a:fillRect/>
            </a:stretch>
          </a:blipFill>
        </p:spPr>
        <p:txBody>
          <a:bodyPr wrap="square" lIns="0" tIns="0" rIns="0" bIns="0" rtlCol="0"/>
          <a:lstStyle/>
          <a:p>
            <a:endParaRPr dirty="0"/>
          </a:p>
        </p:txBody>
      </p:sp>
      <p:sp>
        <p:nvSpPr>
          <p:cNvPr id="9" name="TextBox 8">
            <a:extLst>
              <a:ext uri="{FF2B5EF4-FFF2-40B4-BE49-F238E27FC236}">
                <a16:creationId xmlns:a16="http://schemas.microsoft.com/office/drawing/2014/main" id="{AD789036-8AA4-4F82-827B-6B2ADB1E32B5}"/>
              </a:ext>
            </a:extLst>
          </p:cNvPr>
          <p:cNvSpPr txBox="1"/>
          <p:nvPr userDrawn="1"/>
        </p:nvSpPr>
        <p:spPr>
          <a:xfrm>
            <a:off x="999265" y="6624973"/>
            <a:ext cx="10193470" cy="153888"/>
          </a:xfrm>
          <a:prstGeom prst="rect">
            <a:avLst/>
          </a:prstGeom>
        </p:spPr>
        <p:txBody>
          <a:bodyPr vert="horz" wrap="square" lIns="0" tIns="0" rIns="0" bIns="0" rtlCol="0" anchor="b" anchorCtr="0">
            <a:spAutoFit/>
          </a:bodyPr>
          <a:lstStyle>
            <a:lvl1pPr lvl="0" indent="0" algn="ctr">
              <a:lnSpc>
                <a:spcPct val="100000"/>
              </a:lnSpc>
              <a:spcBef>
                <a:spcPct val="0"/>
              </a:spcBef>
              <a:spcAft>
                <a:spcPts val="500"/>
              </a:spcAft>
              <a:buClr>
                <a:schemeClr val="accent2"/>
              </a:buClr>
              <a:buFont typeface="Lato" panose="020F0502020204030203" pitchFamily="34" charset="0"/>
              <a:buNone/>
              <a:defRPr sz="1000">
                <a:solidFill>
                  <a:schemeClr val="bg1">
                    <a:lumMod val="65000"/>
                  </a:schemeClr>
                </a:solidFill>
                <a:ea typeface="Lato Black" panose="020F0502020204030203" pitchFamily="34" charset="0"/>
                <a:cs typeface="Lato Black" panose="020F0502020204030203" pitchFamily="34" charset="0"/>
              </a:defRPr>
            </a:lvl1pPr>
            <a:lvl2pPr marL="685800" indent="-228600">
              <a:lnSpc>
                <a:spcPct val="90000"/>
              </a:lnSpc>
              <a:spcBef>
                <a:spcPts val="500"/>
              </a:spcBef>
              <a:buClr>
                <a:schemeClr val="accent2"/>
              </a:buClr>
              <a:buFont typeface="Open Sans Light" panose="020B0306030504020204" pitchFamily="34" charset="0"/>
              <a:buChar char="−"/>
              <a:defRPr sz="1600"/>
            </a:lvl2pPr>
            <a:lvl3pPr marL="1143000" indent="-228600">
              <a:lnSpc>
                <a:spcPct val="90000"/>
              </a:lnSpc>
              <a:spcBef>
                <a:spcPts val="500"/>
              </a:spcBef>
              <a:buClr>
                <a:schemeClr val="accent2"/>
              </a:buClr>
              <a:buSzPct val="74000"/>
              <a:buFont typeface="Courier New" panose="02070309020205020404" pitchFamily="49" charset="0"/>
              <a:buChar char="o"/>
              <a:defRPr sz="16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baseline="0" dirty="0">
                <a:solidFill>
                  <a:srgbClr val="2D82B5"/>
                </a:solidFill>
              </a:rPr>
              <a:t>SAMPLE </a:t>
            </a:r>
            <a:r>
              <a:rPr lang="en-US" dirty="0">
                <a:solidFill>
                  <a:srgbClr val="2D82B5"/>
                </a:solidFill>
              </a:rPr>
              <a:t>– ASEAN Luxury Vinyl Tile (LVT) MARKET </a:t>
            </a:r>
          </a:p>
        </p:txBody>
      </p:sp>
      <p:sp>
        <p:nvSpPr>
          <p:cNvPr id="10" name="Slide Number Placeholder 5">
            <a:extLst>
              <a:ext uri="{FF2B5EF4-FFF2-40B4-BE49-F238E27FC236}">
                <a16:creationId xmlns:a16="http://schemas.microsoft.com/office/drawing/2014/main" id="{DD5256F2-5460-4680-92EF-259A73D7DA90}"/>
              </a:ext>
            </a:extLst>
          </p:cNvPr>
          <p:cNvSpPr txBox="1">
            <a:spLocks/>
          </p:cNvSpPr>
          <p:nvPr userDrawn="1"/>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EAEB50-A066-45AB-BA9F-ED56D3A46F93}" type="slidenum">
              <a:rPr lang="fr-FR" smtClean="0"/>
              <a:pPr/>
              <a:t>‹#›</a:t>
            </a:fld>
            <a:endParaRPr lang="fr-FR" dirty="0"/>
          </a:p>
        </p:txBody>
      </p:sp>
      <p:pic>
        <p:nvPicPr>
          <p:cNvPr id="11" name="Graphic 10">
            <a:hlinkClick r:id="rId84" action="ppaction://hlinksldjump"/>
            <a:extLst>
              <a:ext uri="{FF2B5EF4-FFF2-40B4-BE49-F238E27FC236}">
                <a16:creationId xmlns:a16="http://schemas.microsoft.com/office/drawing/2014/main" id="{A2C8A4AE-56C2-4C29-BEF2-A678224DD7C9}"/>
              </a:ext>
            </a:extLst>
          </p:cNvPr>
          <p:cNvPicPr>
            <a:picLocks noChangeAspect="1"/>
          </p:cNvPicPr>
          <p:nvPr userDrawn="1"/>
        </p:nvPicPr>
        <p:blipFill>
          <a:blip r:embed="rId85" cstate="print">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502816" y="6559597"/>
            <a:ext cx="187558" cy="187558"/>
          </a:xfrm>
          <a:prstGeom prst="rect">
            <a:avLst/>
          </a:prstGeom>
        </p:spPr>
      </p:pic>
    </p:spTree>
    <p:extLst>
      <p:ext uri="{BB962C8B-B14F-4D97-AF65-F5344CB8AC3E}">
        <p14:creationId xmlns:p14="http://schemas.microsoft.com/office/powerpoint/2010/main" val="24752163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813" r:id="rId74"/>
    <p:sldLayoutId id="2147483814" r:id="rId75"/>
    <p:sldLayoutId id="2147483815" r:id="rId76"/>
    <p:sldLayoutId id="2147483816" r:id="rId77"/>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5A3059-4B7B-4B66-B91E-BC404508C2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C95A3C3-2B5A-4433-A0DA-CB5F4A7D19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F5C21A1-77C2-4207-8A3E-737CE8E015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5AAC1E-C279-4890-A93B-C404C47817EA}" type="datetimeFigureOut">
              <a:rPr lang="en-IN" smtClean="0"/>
              <a:t>06-05-2021</a:t>
            </a:fld>
            <a:endParaRPr lang="en-IN"/>
          </a:p>
        </p:txBody>
      </p:sp>
      <p:sp>
        <p:nvSpPr>
          <p:cNvPr id="5" name="Footer Placeholder 4">
            <a:extLst>
              <a:ext uri="{FF2B5EF4-FFF2-40B4-BE49-F238E27FC236}">
                <a16:creationId xmlns:a16="http://schemas.microsoft.com/office/drawing/2014/main" id="{13546D9C-AF83-4337-A1FF-16B18FF610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888E340-7FF3-46BE-B871-2DADFB4EF4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40581-C90C-488C-A929-3A51A0955C71}" type="slidenum">
              <a:rPr lang="en-IN" smtClean="0"/>
              <a:t>‹#›</a:t>
            </a:fld>
            <a:endParaRPr lang="en-IN"/>
          </a:p>
        </p:txBody>
      </p:sp>
    </p:spTree>
    <p:extLst>
      <p:ext uri="{BB962C8B-B14F-4D97-AF65-F5344CB8AC3E}">
        <p14:creationId xmlns:p14="http://schemas.microsoft.com/office/powerpoint/2010/main" val="1248795337"/>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A9D62D-FC2B-44BE-98CD-3C2174AD73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2DD0C01-D046-4721-96F7-5808BD2F1C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566E75-9897-4B6D-8629-148B0BF3B4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EC834C-3ED7-4477-B9A5-9E046E4A29E0}" type="datetimeFigureOut">
              <a:rPr lang="en-IN" smtClean="0"/>
              <a:t>06-05-2021</a:t>
            </a:fld>
            <a:endParaRPr lang="en-IN"/>
          </a:p>
        </p:txBody>
      </p:sp>
      <p:sp>
        <p:nvSpPr>
          <p:cNvPr id="5" name="Footer Placeholder 4">
            <a:extLst>
              <a:ext uri="{FF2B5EF4-FFF2-40B4-BE49-F238E27FC236}">
                <a16:creationId xmlns:a16="http://schemas.microsoft.com/office/drawing/2014/main" id="{6A23CFD7-C151-48F1-8C8A-A7B40E5A8C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9C9E165A-4228-4797-9A58-9F842F9CF1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323806-DBAC-40BF-9AFD-E0C26B3A6183}" type="slidenum">
              <a:rPr lang="en-IN" smtClean="0"/>
              <a:t>‹#›</a:t>
            </a:fld>
            <a:endParaRPr lang="en-IN"/>
          </a:p>
        </p:txBody>
      </p:sp>
    </p:spTree>
    <p:extLst>
      <p:ext uri="{BB962C8B-B14F-4D97-AF65-F5344CB8AC3E}">
        <p14:creationId xmlns:p14="http://schemas.microsoft.com/office/powerpoint/2010/main" val="57955478"/>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B3C2D-3A37-4BAF-8DE9-C58736AB2C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7DB6DFF-4243-4581-BF3B-1812A9025F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53ED3C3A-E93A-4C71-85BA-8063300E46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0AE209-9E5D-47B4-A7E4-50ACDF576BD3}" type="datetimeFigureOut">
              <a:rPr lang="en-IN" smtClean="0"/>
              <a:t>06-05-2021</a:t>
            </a:fld>
            <a:endParaRPr lang="en-IN"/>
          </a:p>
        </p:txBody>
      </p:sp>
      <p:sp>
        <p:nvSpPr>
          <p:cNvPr id="5" name="Footer Placeholder 4">
            <a:extLst>
              <a:ext uri="{FF2B5EF4-FFF2-40B4-BE49-F238E27FC236}">
                <a16:creationId xmlns:a16="http://schemas.microsoft.com/office/drawing/2014/main" id="{D7F0A672-D8D8-4FFC-8CDB-A7864A7BBD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b="0">
                <a:solidFill>
                  <a:schemeClr val="accent1">
                    <a:lumMod val="75000"/>
                  </a:schemeClr>
                </a:solidFill>
                <a:latin typeface="Lato" panose="020F0502020204030203"/>
              </a:defRPr>
            </a:lvl1pPr>
          </a:lstStyle>
          <a:p>
            <a:r>
              <a:rPr lang="en-US" dirty="0"/>
              <a:t>SAMPLE – ASEAN LVT MARKET</a:t>
            </a:r>
            <a:endParaRPr lang="en-IN" dirty="0"/>
          </a:p>
        </p:txBody>
      </p:sp>
      <p:sp>
        <p:nvSpPr>
          <p:cNvPr id="6" name="Slide Number Placeholder 5">
            <a:extLst>
              <a:ext uri="{FF2B5EF4-FFF2-40B4-BE49-F238E27FC236}">
                <a16:creationId xmlns:a16="http://schemas.microsoft.com/office/drawing/2014/main" id="{797FA146-0B9D-41A0-9570-13BB2747DE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29B988-92F7-4913-ABDF-B7E811A3A017}" type="slidenum">
              <a:rPr lang="en-IN" smtClean="0"/>
              <a:t>‹#›</a:t>
            </a:fld>
            <a:endParaRPr lang="en-IN"/>
          </a:p>
        </p:txBody>
      </p:sp>
    </p:spTree>
    <p:extLst>
      <p:ext uri="{BB962C8B-B14F-4D97-AF65-F5344CB8AC3E}">
        <p14:creationId xmlns:p14="http://schemas.microsoft.com/office/powerpoint/2010/main" val="2157077609"/>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0BE012-AEDE-4518-BAFF-7E6A3A6069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0B5A0DB-7A73-4B09-A854-ACF34D1664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E992F65-5269-4C9C-AB08-92A3F3DBCA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4C0547-15D7-4312-BCAB-F8C15408669F}" type="datetimeFigureOut">
              <a:rPr lang="en-IN" smtClean="0"/>
              <a:t>06-05-2021</a:t>
            </a:fld>
            <a:endParaRPr lang="en-IN"/>
          </a:p>
        </p:txBody>
      </p:sp>
      <p:sp>
        <p:nvSpPr>
          <p:cNvPr id="5" name="Footer Placeholder 4">
            <a:extLst>
              <a:ext uri="{FF2B5EF4-FFF2-40B4-BE49-F238E27FC236}">
                <a16:creationId xmlns:a16="http://schemas.microsoft.com/office/drawing/2014/main" id="{080D3167-723B-4D07-8C1D-EDC74772A9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8EE0EB61-1E9E-417E-A76B-88866E1C33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F40796-AE1E-4F0A-9CF1-19E7082DB303}" type="slidenum">
              <a:rPr lang="en-IN" smtClean="0"/>
              <a:t>‹#›</a:t>
            </a:fld>
            <a:endParaRPr lang="en-IN"/>
          </a:p>
        </p:txBody>
      </p:sp>
    </p:spTree>
    <p:extLst>
      <p:ext uri="{BB962C8B-B14F-4D97-AF65-F5344CB8AC3E}">
        <p14:creationId xmlns:p14="http://schemas.microsoft.com/office/powerpoint/2010/main" val="38315681"/>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806A6A-904F-40D1-B416-186DCC603C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36D8737-395B-46D5-925C-6DEA0FB3EE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D4E79C5-B416-47E1-B8E1-1D36F83B94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803AFC-9632-4E2B-A7C9-A8BD984C0625}" type="datetimeFigureOut">
              <a:rPr lang="en-IN" smtClean="0"/>
              <a:t>06-05-2021</a:t>
            </a:fld>
            <a:endParaRPr lang="en-IN"/>
          </a:p>
        </p:txBody>
      </p:sp>
      <p:sp>
        <p:nvSpPr>
          <p:cNvPr id="5" name="Footer Placeholder 4">
            <a:extLst>
              <a:ext uri="{FF2B5EF4-FFF2-40B4-BE49-F238E27FC236}">
                <a16:creationId xmlns:a16="http://schemas.microsoft.com/office/drawing/2014/main" id="{107D0994-9F3A-4181-B163-2EAC10C178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rgbClr val="00B0F0"/>
                </a:solidFill>
              </a:defRPr>
            </a:lvl1pPr>
          </a:lstStyle>
          <a:p>
            <a:r>
              <a:rPr lang="en-US" dirty="0"/>
              <a:t>SAMPLE – ASEAN LVT MARKET</a:t>
            </a:r>
            <a:endParaRPr lang="en-IN" dirty="0"/>
          </a:p>
        </p:txBody>
      </p:sp>
      <p:sp>
        <p:nvSpPr>
          <p:cNvPr id="6" name="Slide Number Placeholder 5">
            <a:extLst>
              <a:ext uri="{FF2B5EF4-FFF2-40B4-BE49-F238E27FC236}">
                <a16:creationId xmlns:a16="http://schemas.microsoft.com/office/drawing/2014/main" id="{9F559BBD-D33E-4935-98C8-06CA687403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693FDD-C5A9-475B-9F89-931FB5DF8382}" type="slidenum">
              <a:rPr lang="en-IN" smtClean="0"/>
              <a:t>‹#›</a:t>
            </a:fld>
            <a:endParaRPr lang="en-IN"/>
          </a:p>
        </p:txBody>
      </p:sp>
    </p:spTree>
    <p:extLst>
      <p:ext uri="{BB962C8B-B14F-4D97-AF65-F5344CB8AC3E}">
        <p14:creationId xmlns:p14="http://schemas.microsoft.com/office/powerpoint/2010/main" val="1971736602"/>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slideLayout" Target="../slideLayouts/slideLayout19.xml"/><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tags" Target="../tags/tag128.xml"/><Relationship Id="rId16" Type="http://schemas.openxmlformats.org/officeDocument/2006/relationships/image" Target="../media/image39.svg"/><Relationship Id="rId1" Type="http://schemas.openxmlformats.org/officeDocument/2006/relationships/tags" Target="../tags/tag127.x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65.bin"/><Relationship Id="rId15" Type="http://schemas.openxmlformats.org/officeDocument/2006/relationships/image" Target="../media/image38.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notesSlide" Target="../notesSlides/notesSlide7.xml"/><Relationship Id="rId9" Type="http://schemas.openxmlformats.org/officeDocument/2006/relationships/image" Target="../media/image32.png"/><Relationship Id="rId14" Type="http://schemas.openxmlformats.org/officeDocument/2006/relationships/image" Target="../media/image37.svg"/></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62.xml"/><Relationship Id="rId7" Type="http://schemas.openxmlformats.org/officeDocument/2006/relationships/image" Target="../media/image44.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47.png"/><Relationship Id="rId4" Type="http://schemas.openxmlformats.org/officeDocument/2006/relationships/oleObject" Target="../embeddings/oleObject66.bin"/><Relationship Id="rId9"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48.jpe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chart" Target="../charts/chart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0.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chart" Target="../charts/chart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chart" Target="../charts/chart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chart" Target="../charts/chart5.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chart" Target="../charts/chart6.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slideLayout" Target="../slideLayouts/slideLayout55.xml"/><Relationship Id="rId7" Type="http://schemas.openxmlformats.org/officeDocument/2006/relationships/image" Target="../media/image51.svg"/><Relationship Id="rId12" Type="http://schemas.openxmlformats.org/officeDocument/2006/relationships/image" Target="../media/image56.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1.emf"/><Relationship Id="rId10" Type="http://schemas.openxmlformats.org/officeDocument/2006/relationships/image" Target="../media/image54.png"/><Relationship Id="rId4" Type="http://schemas.openxmlformats.org/officeDocument/2006/relationships/oleObject" Target="../embeddings/oleObject81.bin"/><Relationship Id="rId9" Type="http://schemas.openxmlformats.org/officeDocument/2006/relationships/image" Target="../media/image53.svg"/><Relationship Id="rId14" Type="http://schemas.openxmlformats.org/officeDocument/2006/relationships/image" Target="../media/image58.jp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55.svg"/><Relationship Id="rId3" Type="http://schemas.openxmlformats.org/officeDocument/2006/relationships/slideLayout" Target="../slideLayouts/slideLayout71.xml"/><Relationship Id="rId7" Type="http://schemas.openxmlformats.org/officeDocument/2006/relationships/image" Target="../media/image60.svg"/><Relationship Id="rId12" Type="http://schemas.openxmlformats.org/officeDocument/2006/relationships/image" Target="../media/image65.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59.png"/><Relationship Id="rId11" Type="http://schemas.openxmlformats.org/officeDocument/2006/relationships/image" Target="../media/image64.svg"/><Relationship Id="rId5" Type="http://schemas.openxmlformats.org/officeDocument/2006/relationships/image" Target="../media/image1.emf"/><Relationship Id="rId10" Type="http://schemas.openxmlformats.org/officeDocument/2006/relationships/image" Target="../media/image63.png"/><Relationship Id="rId4" Type="http://schemas.openxmlformats.org/officeDocument/2006/relationships/oleObject" Target="../embeddings/oleObject82.bin"/><Relationship Id="rId9" Type="http://schemas.openxmlformats.org/officeDocument/2006/relationships/image" Target="../media/image62.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svg"/><Relationship Id="rId7" Type="http://schemas.microsoft.com/office/2007/relationships/hdphoto" Target="../media/hdphoto3.wdp"/><Relationship Id="rId2" Type="http://schemas.openxmlformats.org/officeDocument/2006/relationships/image" Target="../media/image11.png"/><Relationship Id="rId1" Type="http://schemas.openxmlformats.org/officeDocument/2006/relationships/slideLayout" Target="../slideLayouts/slideLayout10.xml"/><Relationship Id="rId6" Type="http://schemas.openxmlformats.org/officeDocument/2006/relationships/image" Target="../media/image14.png"/><Relationship Id="rId11" Type="http://schemas.openxmlformats.org/officeDocument/2006/relationships/image" Target="../media/image18.svg"/><Relationship Id="rId5" Type="http://schemas.microsoft.com/office/2007/relationships/hdphoto" Target="../media/hdphoto2.wdp"/><Relationship Id="rId10" Type="http://schemas.openxmlformats.org/officeDocument/2006/relationships/image" Target="../media/image17.png"/><Relationship Id="rId4" Type="http://schemas.openxmlformats.org/officeDocument/2006/relationships/image" Target="../media/image13.png"/><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sv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slideLayout" Target="../slideLayouts/slideLayout61.xml"/><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tags" Target="../tags/tag124.xml"/><Relationship Id="rId16" Type="http://schemas.openxmlformats.org/officeDocument/2006/relationships/image" Target="../media/image28.png"/><Relationship Id="rId1" Type="http://schemas.openxmlformats.org/officeDocument/2006/relationships/tags" Target="../tags/tag123.xml"/><Relationship Id="rId6" Type="http://schemas.openxmlformats.org/officeDocument/2006/relationships/image" Target="../media/image1.emf"/><Relationship Id="rId11" Type="http://schemas.openxmlformats.org/officeDocument/2006/relationships/image" Target="../media/image23.png"/><Relationship Id="rId5" Type="http://schemas.openxmlformats.org/officeDocument/2006/relationships/oleObject" Target="../embeddings/oleObject63.bin"/><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notesSlide" Target="../notesSlides/notesSlide5.xml"/><Relationship Id="rId9" Type="http://schemas.openxmlformats.org/officeDocument/2006/relationships/image" Target="../media/image21.png"/><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64AAF62-5AD9-4674-8B20-6A74471DB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18" name="Object 17" hidden="1">
                        <a:extLst>
                          <a:ext uri="{FF2B5EF4-FFF2-40B4-BE49-F238E27FC236}">
                            <a16:creationId xmlns:a16="http://schemas.microsoft.com/office/drawing/2014/main" id="{C64AAF62-5AD9-4674-8B20-6A74471DBE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895E7EE5-3B3A-44FD-AD3A-A0B89ADF597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Lato" panose="020F0502020204030203" pitchFamily="34" charset="0"/>
              <a:ea typeface="+mn-ea"/>
              <a:cs typeface="+mn-cs"/>
              <a:sym typeface="Lato" panose="020F0502020204030203" pitchFamily="34" charset="0"/>
            </a:endParaRPr>
          </a:p>
        </p:txBody>
      </p:sp>
      <p:sp>
        <p:nvSpPr>
          <p:cNvPr id="5" name="Title 4">
            <a:extLst>
              <a:ext uri="{FF2B5EF4-FFF2-40B4-BE49-F238E27FC236}">
                <a16:creationId xmlns:a16="http://schemas.microsoft.com/office/drawing/2014/main" id="{BAB42285-3473-46CB-9CA8-81C00FB09490}"/>
              </a:ext>
            </a:extLst>
          </p:cNvPr>
          <p:cNvSpPr>
            <a:spLocks noGrp="1"/>
          </p:cNvSpPr>
          <p:nvPr>
            <p:ph type="ctrTitle"/>
          </p:nvPr>
        </p:nvSpPr>
        <p:spPr>
          <a:xfrm>
            <a:off x="671774" y="1593262"/>
            <a:ext cx="7332539" cy="1415772"/>
          </a:xfrm>
        </p:spPr>
        <p:txBody>
          <a:bodyPr/>
          <a:lstStyle/>
          <a:p>
            <a:r>
              <a:rPr lang="en-US" dirty="0"/>
              <a:t>ASEAN LUXURY VINYL TILE (LVT) MARKET </a:t>
            </a:r>
            <a:br>
              <a:rPr lang="en-US" dirty="0"/>
            </a:br>
            <a:r>
              <a:rPr lang="en-US" sz="2000" dirty="0"/>
              <a:t>(2021 - 2026)</a:t>
            </a:r>
            <a:endParaRPr lang="en-US" sz="1800" dirty="0"/>
          </a:p>
        </p:txBody>
      </p:sp>
      <p:sp>
        <p:nvSpPr>
          <p:cNvPr id="23" name="Text Placeholder 22">
            <a:extLst>
              <a:ext uri="{FF2B5EF4-FFF2-40B4-BE49-F238E27FC236}">
                <a16:creationId xmlns:a16="http://schemas.microsoft.com/office/drawing/2014/main" id="{CB844E24-5B30-43F3-97B1-D3BD5ACAF019}"/>
              </a:ext>
            </a:extLst>
          </p:cNvPr>
          <p:cNvSpPr>
            <a:spLocks noGrp="1"/>
          </p:cNvSpPr>
          <p:nvPr>
            <p:ph type="body" sz="quarter" idx="17"/>
          </p:nvPr>
        </p:nvSpPr>
        <p:spPr>
          <a:xfrm>
            <a:off x="1356180" y="4570170"/>
            <a:ext cx="916918" cy="166199"/>
          </a:xfrm>
        </p:spPr>
        <p:txBody>
          <a:bodyPr/>
          <a:lstStyle/>
          <a:p>
            <a:r>
              <a:rPr lang="en-US" dirty="0"/>
              <a:t>Domain: NEO</a:t>
            </a:r>
          </a:p>
        </p:txBody>
      </p:sp>
      <p:sp>
        <p:nvSpPr>
          <p:cNvPr id="24" name="Text Placeholder 23">
            <a:extLst>
              <a:ext uri="{FF2B5EF4-FFF2-40B4-BE49-F238E27FC236}">
                <a16:creationId xmlns:a16="http://schemas.microsoft.com/office/drawing/2014/main" id="{1CF6D506-FC46-406A-AD49-3DCE2624CFCF}"/>
              </a:ext>
            </a:extLst>
          </p:cNvPr>
          <p:cNvSpPr>
            <a:spLocks noGrp="1"/>
          </p:cNvSpPr>
          <p:nvPr>
            <p:ph type="body" sz="quarter" idx="18"/>
          </p:nvPr>
        </p:nvSpPr>
        <p:spPr>
          <a:xfrm>
            <a:off x="3797583" y="4570170"/>
            <a:ext cx="1052211" cy="166199"/>
          </a:xfrm>
        </p:spPr>
        <p:txBody>
          <a:bodyPr/>
          <a:lstStyle/>
          <a:p>
            <a:r>
              <a:rPr lang="en-US" dirty="0"/>
              <a:t>Base Year: 2020</a:t>
            </a:r>
          </a:p>
        </p:txBody>
      </p:sp>
      <p:sp>
        <p:nvSpPr>
          <p:cNvPr id="25" name="Text Placeholder 24">
            <a:extLst>
              <a:ext uri="{FF2B5EF4-FFF2-40B4-BE49-F238E27FC236}">
                <a16:creationId xmlns:a16="http://schemas.microsoft.com/office/drawing/2014/main" id="{2185654F-6B19-4E05-B516-2B9760400AFA}"/>
              </a:ext>
            </a:extLst>
          </p:cNvPr>
          <p:cNvSpPr>
            <a:spLocks noGrp="1"/>
          </p:cNvSpPr>
          <p:nvPr>
            <p:ph type="body" sz="quarter" idx="19"/>
          </p:nvPr>
        </p:nvSpPr>
        <p:spPr>
          <a:xfrm>
            <a:off x="5912484" y="4570170"/>
            <a:ext cx="1840505" cy="166199"/>
          </a:xfrm>
        </p:spPr>
        <p:txBody>
          <a:bodyPr/>
          <a:lstStyle/>
          <a:p>
            <a:r>
              <a:rPr lang="en-US" dirty="0"/>
              <a:t>Forecast Period: 2021-2026</a:t>
            </a:r>
          </a:p>
        </p:txBody>
      </p:sp>
      <p:sp>
        <p:nvSpPr>
          <p:cNvPr id="14" name="Text Placeholder 13">
            <a:extLst>
              <a:ext uri="{FF2B5EF4-FFF2-40B4-BE49-F238E27FC236}">
                <a16:creationId xmlns:a16="http://schemas.microsoft.com/office/drawing/2014/main" id="{BA3435AD-1B46-44FA-92C6-07212FCE9532}"/>
              </a:ext>
            </a:extLst>
          </p:cNvPr>
          <p:cNvSpPr>
            <a:spLocks noGrp="1"/>
          </p:cNvSpPr>
          <p:nvPr>
            <p:ph type="body" sz="quarter" idx="20"/>
          </p:nvPr>
        </p:nvSpPr>
        <p:spPr>
          <a:xfrm>
            <a:off x="785894" y="3259525"/>
            <a:ext cx="7038619" cy="1004314"/>
          </a:xfrm>
        </p:spPr>
        <p:txBody>
          <a:bodyPr vert="horz" wrap="square" lIns="0" tIns="0" rIns="0" bIns="0" rtlCol="0" anchor="t">
            <a:spAutoFit/>
          </a:bodyPr>
          <a:lstStyle/>
          <a:p>
            <a:pPr algn="just">
              <a:lnSpc>
                <a:spcPct val="140000"/>
              </a:lnSpc>
              <a:spcBef>
                <a:spcPts val="0"/>
              </a:spcBef>
            </a:pPr>
            <a:r>
              <a:rPr lang="en-US" dirty="0"/>
              <a:t>A detailed understanding of the current market dynamics and growth opportunities</a:t>
            </a:r>
          </a:p>
          <a:p>
            <a:pPr algn="just">
              <a:lnSpc>
                <a:spcPct val="140000"/>
              </a:lnSpc>
              <a:spcBef>
                <a:spcPts val="0"/>
              </a:spcBef>
              <a:buClr>
                <a:srgbClr val="FFFFFF"/>
              </a:buClr>
            </a:pPr>
            <a:r>
              <a:rPr lang="en-US" dirty="0">
                <a:ea typeface="+mn-lt"/>
                <a:cs typeface="+mn-lt"/>
              </a:rPr>
              <a:t>An understanding of the impact of rapid technological developments and COVID-19 on the market</a:t>
            </a:r>
          </a:p>
          <a:p>
            <a:pPr algn="just">
              <a:lnSpc>
                <a:spcPct val="140000"/>
              </a:lnSpc>
              <a:spcBef>
                <a:spcPts val="0"/>
              </a:spcBef>
            </a:pPr>
            <a:r>
              <a:rPr lang="en-US" dirty="0"/>
              <a:t>Insights into the competitive landscape, along with product innovations and strategies of major players</a:t>
            </a:r>
          </a:p>
        </p:txBody>
      </p:sp>
      <p:sp>
        <p:nvSpPr>
          <p:cNvPr id="35" name="Text Placeholder 34">
            <a:extLst>
              <a:ext uri="{FF2B5EF4-FFF2-40B4-BE49-F238E27FC236}">
                <a16:creationId xmlns:a16="http://schemas.microsoft.com/office/drawing/2014/main" id="{9A902845-F06B-472E-B20E-7B2EE89AEECB}"/>
              </a:ext>
            </a:extLst>
          </p:cNvPr>
          <p:cNvSpPr>
            <a:spLocks noGrp="1"/>
          </p:cNvSpPr>
          <p:nvPr>
            <p:ph type="body" sz="quarter" idx="22"/>
          </p:nvPr>
        </p:nvSpPr>
        <p:spPr>
          <a:xfrm>
            <a:off x="539253" y="1252359"/>
            <a:ext cx="2787042" cy="249299"/>
          </a:xfrm>
        </p:spPr>
        <p:txBody>
          <a:bodyPr/>
          <a:lstStyle/>
          <a:p>
            <a:pPr algn="just"/>
            <a:r>
              <a:rPr lang="en-US" sz="1800" dirty="0"/>
              <a:t>SAMPLE</a:t>
            </a:r>
          </a:p>
        </p:txBody>
      </p:sp>
      <p:sp>
        <p:nvSpPr>
          <p:cNvPr id="28" name="Text Placeholder 27">
            <a:extLst>
              <a:ext uri="{FF2B5EF4-FFF2-40B4-BE49-F238E27FC236}">
                <a16:creationId xmlns:a16="http://schemas.microsoft.com/office/drawing/2014/main" id="{CDAC4746-C624-4849-80E1-AC0BA39B8D4D}"/>
              </a:ext>
            </a:extLst>
          </p:cNvPr>
          <p:cNvSpPr>
            <a:spLocks noGrp="1"/>
          </p:cNvSpPr>
          <p:nvPr>
            <p:ph type="body" sz="quarter" idx="23"/>
          </p:nvPr>
        </p:nvSpPr>
        <p:spPr>
          <a:xfrm>
            <a:off x="6793166" y="6219148"/>
            <a:ext cx="4741683" cy="369781"/>
          </a:xfrm>
        </p:spPr>
        <p:txBody>
          <a:bodyPr/>
          <a:lstStyle/>
          <a:p>
            <a:pPr>
              <a:lnSpc>
                <a:spcPct val="120000"/>
              </a:lnSpc>
            </a:pPr>
            <a:r>
              <a:rPr lang="en-US" dirty="0"/>
              <a:t>Industry Reports | Consulting | Intelligence Center</a:t>
            </a:r>
          </a:p>
          <a:p>
            <a:pPr>
              <a:lnSpc>
                <a:spcPct val="120000"/>
              </a:lnSpc>
            </a:pPr>
            <a:r>
              <a:rPr lang="en-US" dirty="0"/>
              <a:t>+1 617 765 2493 | info@mordorintelligence.com | www.mordorintelligence.com</a:t>
            </a:r>
          </a:p>
        </p:txBody>
      </p:sp>
      <p:sp>
        <p:nvSpPr>
          <p:cNvPr id="6" name="Subtitle 5">
            <a:extLst>
              <a:ext uri="{FF2B5EF4-FFF2-40B4-BE49-F238E27FC236}">
                <a16:creationId xmlns:a16="http://schemas.microsoft.com/office/drawing/2014/main" id="{C856E197-A6DD-49E9-9F62-CA286B6866CF}"/>
              </a:ext>
            </a:extLst>
          </p:cNvPr>
          <p:cNvSpPr>
            <a:spLocks noGrp="1"/>
          </p:cNvSpPr>
          <p:nvPr>
            <p:ph type="subTitle" idx="24"/>
          </p:nvPr>
        </p:nvSpPr>
        <p:spPr>
          <a:xfrm>
            <a:off x="754126" y="3022662"/>
            <a:ext cx="7038619" cy="166199"/>
          </a:xfrm>
        </p:spPr>
        <p:txBody>
          <a:bodyPr wrap="square"/>
          <a:lstStyle/>
          <a:p>
            <a:r>
              <a:rPr lang="en-US" dirty="0"/>
              <a:t>The study offers:</a:t>
            </a:r>
          </a:p>
        </p:txBody>
      </p:sp>
      <p:pic>
        <p:nvPicPr>
          <p:cNvPr id="8" name="Picture 7">
            <a:extLst>
              <a:ext uri="{FF2B5EF4-FFF2-40B4-BE49-F238E27FC236}">
                <a16:creationId xmlns:a16="http://schemas.microsoft.com/office/drawing/2014/main" id="{C5C65405-E09F-4AAD-A837-073B1F22DED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93166" y="5798095"/>
            <a:ext cx="2855304" cy="356910"/>
          </a:xfrm>
          <a:prstGeom prst="rect">
            <a:avLst/>
          </a:prstGeom>
        </p:spPr>
      </p:pic>
    </p:spTree>
    <p:extLst>
      <p:ext uri="{BB962C8B-B14F-4D97-AF65-F5344CB8AC3E}">
        <p14:creationId xmlns:p14="http://schemas.microsoft.com/office/powerpoint/2010/main" val="1326618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4B611A55-3078-4DBA-8474-EE0FFA7C91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3" name="Object 32" hidden="1">
                        <a:extLst>
                          <a:ext uri="{FF2B5EF4-FFF2-40B4-BE49-F238E27FC236}">
                            <a16:creationId xmlns:a16="http://schemas.microsoft.com/office/drawing/2014/main" id="{4B611A55-3078-4DBA-8474-EE0FFA7C91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FFFE6F75-085D-4E8B-9684-647F8A4FE4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6" name="Title 35">
            <a:extLst>
              <a:ext uri="{FF2B5EF4-FFF2-40B4-BE49-F238E27FC236}">
                <a16:creationId xmlns:a16="http://schemas.microsoft.com/office/drawing/2014/main" id="{34C2B246-B4EE-4661-B595-1FA9F861B2B7}"/>
              </a:ext>
            </a:extLst>
          </p:cNvPr>
          <p:cNvSpPr>
            <a:spLocks noGrp="1"/>
          </p:cNvSpPr>
          <p:nvPr>
            <p:ph type="title"/>
          </p:nvPr>
        </p:nvSpPr>
        <p:spPr>
          <a:xfrm>
            <a:off x="335490" y="386899"/>
            <a:ext cx="11504762" cy="430887"/>
          </a:xfrm>
        </p:spPr>
        <p:txBody>
          <a:bodyPr/>
          <a:lstStyle/>
          <a:p>
            <a:r>
              <a:rPr lang="en-US" sz="2800" dirty="0"/>
              <a:t>2. ANALYSIS METHODOLOGY</a:t>
            </a:r>
          </a:p>
        </p:txBody>
      </p:sp>
      <p:sp>
        <p:nvSpPr>
          <p:cNvPr id="41" name="Text Placeholder 40">
            <a:extLst>
              <a:ext uri="{FF2B5EF4-FFF2-40B4-BE49-F238E27FC236}">
                <a16:creationId xmlns:a16="http://schemas.microsoft.com/office/drawing/2014/main" id="{05947521-FD70-46C9-89AD-B1A3CEB132FE}"/>
              </a:ext>
            </a:extLst>
          </p:cNvPr>
          <p:cNvSpPr>
            <a:spLocks noGrp="1"/>
          </p:cNvSpPr>
          <p:nvPr>
            <p:ph type="body" sz="quarter" idx="34"/>
          </p:nvPr>
        </p:nvSpPr>
        <p:spPr>
          <a:xfrm>
            <a:off x="368950" y="1343983"/>
            <a:ext cx="2898315" cy="166199"/>
          </a:xfrm>
        </p:spPr>
        <p:txBody>
          <a:bodyPr/>
          <a:lstStyle/>
          <a:p>
            <a:r>
              <a:rPr lang="en-US" dirty="0"/>
              <a:t>RESEARCH METHODOLOGY</a:t>
            </a:r>
          </a:p>
        </p:txBody>
      </p:sp>
      <p:sp>
        <p:nvSpPr>
          <p:cNvPr id="49" name="Text Placeholder 48">
            <a:extLst>
              <a:ext uri="{FF2B5EF4-FFF2-40B4-BE49-F238E27FC236}">
                <a16:creationId xmlns:a16="http://schemas.microsoft.com/office/drawing/2014/main" id="{6EA461D5-8305-417F-B862-6F19443053F0}"/>
              </a:ext>
            </a:extLst>
          </p:cNvPr>
          <p:cNvSpPr>
            <a:spLocks noGrp="1"/>
          </p:cNvSpPr>
          <p:nvPr>
            <p:ph type="body" sz="quarter" idx="42"/>
          </p:nvPr>
        </p:nvSpPr>
        <p:spPr/>
        <p:txBody>
          <a:bodyPr/>
          <a:lstStyle/>
          <a:p>
            <a:r>
              <a:rPr lang="en-US" dirty="0"/>
              <a:t>RESEARCH PROCESS</a:t>
            </a:r>
          </a:p>
        </p:txBody>
      </p:sp>
      <p:sp>
        <p:nvSpPr>
          <p:cNvPr id="38" name="Text Placeholder 37">
            <a:extLst>
              <a:ext uri="{FF2B5EF4-FFF2-40B4-BE49-F238E27FC236}">
                <a16:creationId xmlns:a16="http://schemas.microsoft.com/office/drawing/2014/main" id="{8EFB5161-1A13-41C2-A3CD-C509635BFB10}"/>
              </a:ext>
            </a:extLst>
          </p:cNvPr>
          <p:cNvSpPr>
            <a:spLocks noGrp="1"/>
          </p:cNvSpPr>
          <p:nvPr>
            <p:ph type="body" sz="quarter" idx="33"/>
          </p:nvPr>
        </p:nvSpPr>
        <p:spPr>
          <a:xfrm>
            <a:off x="494387" y="1782565"/>
            <a:ext cx="2603524" cy="1308050"/>
          </a:xfrm>
        </p:spPr>
        <p:txBody>
          <a:bodyPr/>
          <a:lstStyle/>
          <a:p>
            <a:r>
              <a:rPr lang="en-US" b="1" dirty="0"/>
              <a:t>Financial Journals</a:t>
            </a:r>
          </a:p>
          <a:p>
            <a:r>
              <a:rPr lang="en-US" b="1" dirty="0"/>
              <a:t>Annual Reports</a:t>
            </a:r>
          </a:p>
          <a:p>
            <a:r>
              <a:rPr lang="en-US" b="1" dirty="0"/>
              <a:t>Market Research Reports</a:t>
            </a:r>
          </a:p>
          <a:p>
            <a:r>
              <a:rPr lang="en-US" b="1" dirty="0"/>
              <a:t>Industry Websites</a:t>
            </a:r>
          </a:p>
          <a:p>
            <a:r>
              <a:rPr lang="en-US" b="1" dirty="0"/>
              <a:t>Industry-related Databases</a:t>
            </a:r>
          </a:p>
          <a:p>
            <a:r>
              <a:rPr lang="en-US" b="1" dirty="0"/>
              <a:t>Thought Leader Briefings</a:t>
            </a:r>
          </a:p>
        </p:txBody>
      </p:sp>
      <p:sp>
        <p:nvSpPr>
          <p:cNvPr id="52" name="Text Placeholder 51">
            <a:extLst>
              <a:ext uri="{FF2B5EF4-FFF2-40B4-BE49-F238E27FC236}">
                <a16:creationId xmlns:a16="http://schemas.microsoft.com/office/drawing/2014/main" id="{EBBF25E6-3CFD-4E28-A60A-31C190A47691}"/>
              </a:ext>
            </a:extLst>
          </p:cNvPr>
          <p:cNvSpPr>
            <a:spLocks noGrp="1"/>
          </p:cNvSpPr>
          <p:nvPr>
            <p:ph type="body" sz="quarter" idx="43"/>
          </p:nvPr>
        </p:nvSpPr>
        <p:spPr>
          <a:xfrm>
            <a:off x="494387" y="3457416"/>
            <a:ext cx="2603524" cy="153888"/>
          </a:xfrm>
        </p:spPr>
        <p:txBody>
          <a:bodyPr/>
          <a:lstStyle/>
          <a:p>
            <a:r>
              <a:rPr lang="en-US" dirty="0"/>
              <a:t>Secondary Research</a:t>
            </a:r>
          </a:p>
        </p:txBody>
      </p:sp>
      <p:sp>
        <p:nvSpPr>
          <p:cNvPr id="54" name="Text Placeholder 53">
            <a:extLst>
              <a:ext uri="{FF2B5EF4-FFF2-40B4-BE49-F238E27FC236}">
                <a16:creationId xmlns:a16="http://schemas.microsoft.com/office/drawing/2014/main" id="{4CF2244A-116E-4A2D-843C-CC74191F8766}"/>
              </a:ext>
            </a:extLst>
          </p:cNvPr>
          <p:cNvSpPr>
            <a:spLocks noGrp="1"/>
          </p:cNvSpPr>
          <p:nvPr>
            <p:ph type="body" sz="quarter" idx="44"/>
          </p:nvPr>
        </p:nvSpPr>
        <p:spPr>
          <a:xfrm>
            <a:off x="494387" y="4093111"/>
            <a:ext cx="2603524" cy="153888"/>
          </a:xfrm>
        </p:spPr>
        <p:txBody>
          <a:bodyPr/>
          <a:lstStyle/>
          <a:p>
            <a:r>
              <a:rPr lang="en-US" dirty="0"/>
              <a:t>Primary Research</a:t>
            </a:r>
          </a:p>
        </p:txBody>
      </p:sp>
      <p:sp>
        <p:nvSpPr>
          <p:cNvPr id="55" name="Text Placeholder 54">
            <a:extLst>
              <a:ext uri="{FF2B5EF4-FFF2-40B4-BE49-F238E27FC236}">
                <a16:creationId xmlns:a16="http://schemas.microsoft.com/office/drawing/2014/main" id="{183293EE-C5DA-40E6-A8C8-E4582466BBAB}"/>
              </a:ext>
            </a:extLst>
          </p:cNvPr>
          <p:cNvSpPr>
            <a:spLocks noGrp="1"/>
          </p:cNvSpPr>
          <p:nvPr>
            <p:ph type="body" sz="quarter" idx="45"/>
          </p:nvPr>
        </p:nvSpPr>
        <p:spPr>
          <a:xfrm>
            <a:off x="494387" y="4635212"/>
            <a:ext cx="2603524" cy="1308050"/>
          </a:xfrm>
        </p:spPr>
        <p:txBody>
          <a:bodyPr/>
          <a:lstStyle/>
          <a:p>
            <a:r>
              <a:rPr lang="en-US" b="1" dirty="0"/>
              <a:t>CEOs/CFOs</a:t>
            </a:r>
          </a:p>
          <a:p>
            <a:r>
              <a:rPr lang="en-US" b="1" dirty="0"/>
              <a:t>Board Members</a:t>
            </a:r>
          </a:p>
          <a:p>
            <a:r>
              <a:rPr lang="en-US" b="1" dirty="0"/>
              <a:t>Research Heads</a:t>
            </a:r>
          </a:p>
          <a:p>
            <a:r>
              <a:rPr lang="en-US" b="1" dirty="0"/>
              <a:t>Strategic Decision-makers</a:t>
            </a:r>
          </a:p>
          <a:p>
            <a:r>
              <a:rPr lang="en-US" b="1" dirty="0"/>
              <a:t>Financial Advisors</a:t>
            </a:r>
          </a:p>
          <a:p>
            <a:r>
              <a:rPr lang="en-US" b="1" dirty="0"/>
              <a:t>Investors</a:t>
            </a:r>
          </a:p>
        </p:txBody>
      </p:sp>
      <p:sp>
        <p:nvSpPr>
          <p:cNvPr id="57" name="Text Placeholder 56">
            <a:extLst>
              <a:ext uri="{FF2B5EF4-FFF2-40B4-BE49-F238E27FC236}">
                <a16:creationId xmlns:a16="http://schemas.microsoft.com/office/drawing/2014/main" id="{344A42CB-3746-47CA-967D-4A0D4A5AA939}"/>
              </a:ext>
            </a:extLst>
          </p:cNvPr>
          <p:cNvSpPr>
            <a:spLocks noGrp="1"/>
          </p:cNvSpPr>
          <p:nvPr>
            <p:ph type="body" sz="quarter" idx="46"/>
          </p:nvPr>
        </p:nvSpPr>
        <p:spPr>
          <a:xfrm>
            <a:off x="4021443" y="2242390"/>
            <a:ext cx="1200158" cy="307777"/>
          </a:xfrm>
        </p:spPr>
        <p:txBody>
          <a:bodyPr/>
          <a:lstStyle/>
          <a:p>
            <a:pPr marL="0" indent="0">
              <a:buNone/>
            </a:pPr>
            <a:r>
              <a:rPr lang="en-US" b="1" dirty="0"/>
              <a:t>1. Secondary Data Analysis</a:t>
            </a:r>
          </a:p>
        </p:txBody>
      </p:sp>
      <p:sp>
        <p:nvSpPr>
          <p:cNvPr id="58" name="Text Placeholder 57">
            <a:extLst>
              <a:ext uri="{FF2B5EF4-FFF2-40B4-BE49-F238E27FC236}">
                <a16:creationId xmlns:a16="http://schemas.microsoft.com/office/drawing/2014/main" id="{08724ED8-61C6-45DE-A7CC-FA98E5A78381}"/>
              </a:ext>
            </a:extLst>
          </p:cNvPr>
          <p:cNvSpPr>
            <a:spLocks noGrp="1"/>
          </p:cNvSpPr>
          <p:nvPr>
            <p:ph type="body" sz="quarter" idx="47"/>
          </p:nvPr>
        </p:nvSpPr>
        <p:spPr>
          <a:xfrm>
            <a:off x="6390854" y="3194581"/>
            <a:ext cx="956576" cy="615553"/>
          </a:xfrm>
        </p:spPr>
        <p:txBody>
          <a:bodyPr lIns="0" tIns="0" rIns="0" bIns="0"/>
          <a:lstStyle/>
          <a:p>
            <a:pPr marL="0" indent="0">
              <a:buNone/>
            </a:pPr>
            <a:r>
              <a:rPr lang="en-US" b="1" dirty="0"/>
              <a:t>2. Analyze and Collate Different Perspectives</a:t>
            </a:r>
          </a:p>
        </p:txBody>
      </p:sp>
      <p:sp>
        <p:nvSpPr>
          <p:cNvPr id="59" name="Text Placeholder 58">
            <a:extLst>
              <a:ext uri="{FF2B5EF4-FFF2-40B4-BE49-F238E27FC236}">
                <a16:creationId xmlns:a16="http://schemas.microsoft.com/office/drawing/2014/main" id="{0EF4B40A-E66C-48E2-9FEC-7F5D2D3A9DF5}"/>
              </a:ext>
            </a:extLst>
          </p:cNvPr>
          <p:cNvSpPr>
            <a:spLocks noGrp="1"/>
          </p:cNvSpPr>
          <p:nvPr>
            <p:ph type="body" sz="quarter" idx="48"/>
          </p:nvPr>
        </p:nvSpPr>
        <p:spPr>
          <a:xfrm>
            <a:off x="4940838" y="4481324"/>
            <a:ext cx="1200158" cy="307777"/>
          </a:xfrm>
        </p:spPr>
        <p:txBody>
          <a:bodyPr lIns="0" tIns="0" rIns="0" bIns="0"/>
          <a:lstStyle/>
          <a:p>
            <a:pPr marL="0" indent="0">
              <a:buNone/>
            </a:pPr>
            <a:r>
              <a:rPr lang="en-US" b="1" dirty="0"/>
              <a:t>3. Interview Participants </a:t>
            </a:r>
          </a:p>
        </p:txBody>
      </p:sp>
      <p:sp>
        <p:nvSpPr>
          <p:cNvPr id="62" name="Text Placeholder 61">
            <a:extLst>
              <a:ext uri="{FF2B5EF4-FFF2-40B4-BE49-F238E27FC236}">
                <a16:creationId xmlns:a16="http://schemas.microsoft.com/office/drawing/2014/main" id="{49CFE801-EA88-4443-BF92-7C9F15402F93}"/>
              </a:ext>
            </a:extLst>
          </p:cNvPr>
          <p:cNvSpPr>
            <a:spLocks noGrp="1"/>
          </p:cNvSpPr>
          <p:nvPr>
            <p:ph type="body" sz="quarter" idx="49"/>
          </p:nvPr>
        </p:nvSpPr>
        <p:spPr/>
        <p:txBody>
          <a:bodyPr/>
          <a:lstStyle/>
          <a:p>
            <a:pPr algn="ctr"/>
            <a:r>
              <a:rPr lang="en-US" b="1" dirty="0"/>
              <a:t>Research Process</a:t>
            </a:r>
          </a:p>
        </p:txBody>
      </p:sp>
      <p:sp>
        <p:nvSpPr>
          <p:cNvPr id="63" name="Text Placeholder 62">
            <a:extLst>
              <a:ext uri="{FF2B5EF4-FFF2-40B4-BE49-F238E27FC236}">
                <a16:creationId xmlns:a16="http://schemas.microsoft.com/office/drawing/2014/main" id="{FF219992-CFD8-4F8D-8F21-847BE1797F99}"/>
              </a:ext>
            </a:extLst>
          </p:cNvPr>
          <p:cNvSpPr>
            <a:spLocks noGrp="1"/>
          </p:cNvSpPr>
          <p:nvPr>
            <p:ph type="body" sz="quarter" idx="50"/>
          </p:nvPr>
        </p:nvSpPr>
        <p:spPr>
          <a:xfrm>
            <a:off x="4596019" y="5482975"/>
            <a:ext cx="1889211" cy="538609"/>
          </a:xfrm>
        </p:spPr>
        <p:txBody>
          <a:bodyPr/>
          <a:lstStyle/>
          <a:p>
            <a:r>
              <a:rPr lang="en-US" b="1" dirty="0"/>
              <a:t>Industry Experts, Consultants,</a:t>
            </a:r>
          </a:p>
          <a:p>
            <a:r>
              <a:rPr lang="en-US" b="1" dirty="0"/>
              <a:t>Plant Managers, Strategists, etc. </a:t>
            </a:r>
          </a:p>
        </p:txBody>
      </p:sp>
      <p:sp>
        <p:nvSpPr>
          <p:cNvPr id="64" name="Text Placeholder 63">
            <a:extLst>
              <a:ext uri="{FF2B5EF4-FFF2-40B4-BE49-F238E27FC236}">
                <a16:creationId xmlns:a16="http://schemas.microsoft.com/office/drawing/2014/main" id="{AE950D0D-52EF-4F00-AB4B-9FFA54F0D4C3}"/>
              </a:ext>
            </a:extLst>
          </p:cNvPr>
          <p:cNvSpPr>
            <a:spLocks noGrp="1"/>
          </p:cNvSpPr>
          <p:nvPr>
            <p:ph type="body" sz="quarter" idx="51"/>
          </p:nvPr>
        </p:nvSpPr>
        <p:spPr>
          <a:xfrm>
            <a:off x="8466470" y="2872766"/>
            <a:ext cx="2676264" cy="153888"/>
          </a:xfrm>
        </p:spPr>
        <p:txBody>
          <a:bodyPr/>
          <a:lstStyle/>
          <a:p>
            <a:r>
              <a:rPr lang="en-US" b="1" dirty="0"/>
              <a:t>Define Objective and Scope</a:t>
            </a:r>
          </a:p>
        </p:txBody>
      </p:sp>
      <p:sp>
        <p:nvSpPr>
          <p:cNvPr id="65" name="Text Placeholder 64">
            <a:extLst>
              <a:ext uri="{FF2B5EF4-FFF2-40B4-BE49-F238E27FC236}">
                <a16:creationId xmlns:a16="http://schemas.microsoft.com/office/drawing/2014/main" id="{132F0EEB-515F-4537-ABA8-8F4E35C40B0F}"/>
              </a:ext>
            </a:extLst>
          </p:cNvPr>
          <p:cNvSpPr>
            <a:spLocks noGrp="1"/>
          </p:cNvSpPr>
          <p:nvPr>
            <p:ph type="body" sz="quarter" idx="52"/>
          </p:nvPr>
        </p:nvSpPr>
        <p:spPr>
          <a:xfrm>
            <a:off x="8466470" y="3346172"/>
            <a:ext cx="2676264" cy="307777"/>
          </a:xfrm>
        </p:spPr>
        <p:txBody>
          <a:bodyPr/>
          <a:lstStyle/>
          <a:p>
            <a:r>
              <a:rPr lang="en-US" b="1" dirty="0"/>
              <a:t>Suppliers, OEMs, Raw Material Suppliers, </a:t>
            </a:r>
            <a:br>
              <a:rPr lang="en-US" b="1" dirty="0"/>
            </a:br>
            <a:r>
              <a:rPr lang="en-US" b="1" dirty="0"/>
              <a:t>and Customers’ Perspective</a:t>
            </a:r>
          </a:p>
        </p:txBody>
      </p:sp>
      <p:sp>
        <p:nvSpPr>
          <p:cNvPr id="66" name="Text Placeholder 65">
            <a:extLst>
              <a:ext uri="{FF2B5EF4-FFF2-40B4-BE49-F238E27FC236}">
                <a16:creationId xmlns:a16="http://schemas.microsoft.com/office/drawing/2014/main" id="{D762D0A4-7E1C-4116-AD21-3F430F7781E4}"/>
              </a:ext>
            </a:extLst>
          </p:cNvPr>
          <p:cNvSpPr>
            <a:spLocks noGrp="1"/>
          </p:cNvSpPr>
          <p:nvPr>
            <p:ph type="body" sz="quarter" idx="53"/>
          </p:nvPr>
        </p:nvSpPr>
        <p:spPr>
          <a:xfrm>
            <a:off x="8466470" y="3896521"/>
            <a:ext cx="2676264" cy="307777"/>
          </a:xfrm>
        </p:spPr>
        <p:txBody>
          <a:bodyPr/>
          <a:lstStyle/>
          <a:p>
            <a:r>
              <a:rPr lang="en-US" b="1" dirty="0"/>
              <a:t>Identify and Assess the Top Companies and their Best Practices</a:t>
            </a:r>
          </a:p>
        </p:txBody>
      </p:sp>
      <p:sp>
        <p:nvSpPr>
          <p:cNvPr id="67" name="Text Placeholder 66">
            <a:extLst>
              <a:ext uri="{FF2B5EF4-FFF2-40B4-BE49-F238E27FC236}">
                <a16:creationId xmlns:a16="http://schemas.microsoft.com/office/drawing/2014/main" id="{BD20EEA0-7E0F-4642-ABF3-833D15B527C4}"/>
              </a:ext>
            </a:extLst>
          </p:cNvPr>
          <p:cNvSpPr>
            <a:spLocks noGrp="1"/>
          </p:cNvSpPr>
          <p:nvPr>
            <p:ph type="body" sz="quarter" idx="55"/>
          </p:nvPr>
        </p:nvSpPr>
        <p:spPr>
          <a:xfrm>
            <a:off x="8322411" y="4923981"/>
            <a:ext cx="2964383" cy="666849"/>
          </a:xfrm>
        </p:spPr>
        <p:txBody>
          <a:bodyPr anchor="ctr"/>
          <a:lstStyle/>
          <a:p>
            <a:pPr>
              <a:spcAft>
                <a:spcPts val="400"/>
              </a:spcAft>
            </a:pPr>
            <a:r>
              <a:rPr lang="en-US" sz="1000" b="1" dirty="0"/>
              <a:t>Outcome – Top Performing Companies, Based on Revenue Generated</a:t>
            </a:r>
          </a:p>
          <a:p>
            <a:pPr>
              <a:spcAft>
                <a:spcPts val="400"/>
              </a:spcAft>
            </a:pPr>
            <a:r>
              <a:rPr lang="en-US" sz="1000" b="1" dirty="0"/>
              <a:t>Overall Understanding of the Market, Industry Trends, and Events</a:t>
            </a:r>
          </a:p>
        </p:txBody>
      </p:sp>
    </p:spTree>
    <p:extLst>
      <p:ext uri="{BB962C8B-B14F-4D97-AF65-F5344CB8AC3E}">
        <p14:creationId xmlns:p14="http://schemas.microsoft.com/office/powerpoint/2010/main" val="2763627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FAB9B12A-B808-4527-BBD1-ECCD3FBC75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3" name="Object 42" hidden="1">
                        <a:extLst>
                          <a:ext uri="{FF2B5EF4-FFF2-40B4-BE49-F238E27FC236}">
                            <a16:creationId xmlns:a16="http://schemas.microsoft.com/office/drawing/2014/main" id="{FAB9B12A-B808-4527-BBD1-ECCD3FBC75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DD08E6ED-08C9-4515-9CA2-F80EE78A22C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97" name="Text Placeholder 96">
            <a:extLst>
              <a:ext uri="{FF2B5EF4-FFF2-40B4-BE49-F238E27FC236}">
                <a16:creationId xmlns:a16="http://schemas.microsoft.com/office/drawing/2014/main" id="{7205D06F-5F51-45D1-B995-FC22BA327B7E}"/>
              </a:ext>
            </a:extLst>
          </p:cNvPr>
          <p:cNvSpPr>
            <a:spLocks noGrp="1"/>
          </p:cNvSpPr>
          <p:nvPr>
            <p:ph type="body" sz="quarter" idx="57"/>
          </p:nvPr>
        </p:nvSpPr>
        <p:spPr>
          <a:xfrm>
            <a:off x="5086479" y="5168666"/>
            <a:ext cx="2047912" cy="169277"/>
          </a:xfrm>
        </p:spPr>
        <p:txBody>
          <a:bodyPr/>
          <a:lstStyle/>
          <a:p>
            <a:r>
              <a:rPr lang="en-US" dirty="0"/>
              <a:t>Forecasting Model </a:t>
            </a:r>
          </a:p>
        </p:txBody>
      </p:sp>
      <p:sp>
        <p:nvSpPr>
          <p:cNvPr id="101" name="Text Placeholder 100">
            <a:extLst>
              <a:ext uri="{FF2B5EF4-FFF2-40B4-BE49-F238E27FC236}">
                <a16:creationId xmlns:a16="http://schemas.microsoft.com/office/drawing/2014/main" id="{347B7BC4-3BE8-4399-98EC-CDE3DABFF71A}"/>
              </a:ext>
            </a:extLst>
          </p:cNvPr>
          <p:cNvSpPr>
            <a:spLocks noGrp="1"/>
          </p:cNvSpPr>
          <p:nvPr>
            <p:ph type="body" sz="quarter" idx="58"/>
          </p:nvPr>
        </p:nvSpPr>
        <p:spPr>
          <a:xfrm>
            <a:off x="5086479" y="4850097"/>
            <a:ext cx="2047912" cy="166199"/>
          </a:xfrm>
        </p:spPr>
        <p:txBody>
          <a:bodyPr/>
          <a:lstStyle/>
          <a:p>
            <a:r>
              <a:rPr lang="en-US" dirty="0"/>
              <a:t>ECONOMETRIC MODELING</a:t>
            </a:r>
          </a:p>
        </p:txBody>
      </p:sp>
      <p:sp>
        <p:nvSpPr>
          <p:cNvPr id="47" name="Title 46">
            <a:extLst>
              <a:ext uri="{FF2B5EF4-FFF2-40B4-BE49-F238E27FC236}">
                <a16:creationId xmlns:a16="http://schemas.microsoft.com/office/drawing/2014/main" id="{90352A44-3D68-4247-A1EF-12540D3E0B97}"/>
              </a:ext>
            </a:extLst>
          </p:cNvPr>
          <p:cNvSpPr>
            <a:spLocks noGrp="1"/>
          </p:cNvSpPr>
          <p:nvPr>
            <p:ph type="title"/>
          </p:nvPr>
        </p:nvSpPr>
        <p:spPr>
          <a:xfrm>
            <a:off x="335490" y="386899"/>
            <a:ext cx="10601790" cy="430887"/>
          </a:xfrm>
        </p:spPr>
        <p:txBody>
          <a:bodyPr/>
          <a:lstStyle/>
          <a:p>
            <a:r>
              <a:rPr lang="en-US" sz="2800" dirty="0"/>
              <a:t>2. RESEARCH PHASES</a:t>
            </a:r>
          </a:p>
        </p:txBody>
      </p:sp>
      <p:pic>
        <p:nvPicPr>
          <p:cNvPr id="126" name="Picture Placeholder 125">
            <a:extLst>
              <a:ext uri="{FF2B5EF4-FFF2-40B4-BE49-F238E27FC236}">
                <a16:creationId xmlns:a16="http://schemas.microsoft.com/office/drawing/2014/main" id="{AF3B7EDC-7B16-44F4-A5B9-9FECB8D99DB6}"/>
              </a:ext>
            </a:extLst>
          </p:cNvPr>
          <p:cNvPicPr>
            <a:picLocks noGrp="1" noChangeAspect="1"/>
          </p:cNvPicPr>
          <p:nvPr>
            <p:ph type="pic" sz="quarter" idx="29"/>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t="210" b="210"/>
          <a:stretch/>
        </p:blipFill>
        <p:spPr/>
      </p:pic>
      <p:sp>
        <p:nvSpPr>
          <p:cNvPr id="53" name="Text Placeholder 52">
            <a:extLst>
              <a:ext uri="{FF2B5EF4-FFF2-40B4-BE49-F238E27FC236}">
                <a16:creationId xmlns:a16="http://schemas.microsoft.com/office/drawing/2014/main" id="{4998B605-4AC5-418A-B57A-F50A8860729B}"/>
              </a:ext>
            </a:extLst>
          </p:cNvPr>
          <p:cNvSpPr>
            <a:spLocks noGrp="1"/>
          </p:cNvSpPr>
          <p:nvPr>
            <p:ph type="body" sz="quarter" idx="33"/>
          </p:nvPr>
        </p:nvSpPr>
        <p:spPr>
          <a:xfrm>
            <a:off x="421570" y="2094443"/>
            <a:ext cx="1902950" cy="661720"/>
          </a:xfrm>
        </p:spPr>
        <p:txBody>
          <a:bodyPr/>
          <a:lstStyle/>
          <a:p>
            <a:r>
              <a:rPr lang="en-US" dirty="0"/>
              <a:t>Company Annual Reports</a:t>
            </a:r>
          </a:p>
          <a:p>
            <a:r>
              <a:rPr lang="en-US" dirty="0"/>
              <a:t>Journals</a:t>
            </a:r>
          </a:p>
          <a:p>
            <a:r>
              <a:rPr lang="en-US" dirty="0"/>
              <a:t>Government Publications</a:t>
            </a:r>
          </a:p>
        </p:txBody>
      </p:sp>
      <p:sp>
        <p:nvSpPr>
          <p:cNvPr id="56" name="Text Placeholder 55">
            <a:extLst>
              <a:ext uri="{FF2B5EF4-FFF2-40B4-BE49-F238E27FC236}">
                <a16:creationId xmlns:a16="http://schemas.microsoft.com/office/drawing/2014/main" id="{7DBA0D8C-F8E3-408F-B9E8-FEE280F46223}"/>
              </a:ext>
            </a:extLst>
          </p:cNvPr>
          <p:cNvSpPr>
            <a:spLocks noGrp="1"/>
          </p:cNvSpPr>
          <p:nvPr>
            <p:ph type="body" sz="quarter" idx="34"/>
          </p:nvPr>
        </p:nvSpPr>
        <p:spPr>
          <a:xfrm>
            <a:off x="421570" y="1775874"/>
            <a:ext cx="1902950" cy="166199"/>
          </a:xfrm>
        </p:spPr>
        <p:txBody>
          <a:bodyPr/>
          <a:lstStyle/>
          <a:p>
            <a:r>
              <a:rPr lang="en-US" dirty="0"/>
              <a:t>SECONDARY RESEARCH</a:t>
            </a:r>
          </a:p>
        </p:txBody>
      </p:sp>
      <p:pic>
        <p:nvPicPr>
          <p:cNvPr id="128" name="Picture Placeholder 127">
            <a:extLst>
              <a:ext uri="{FF2B5EF4-FFF2-40B4-BE49-F238E27FC236}">
                <a16:creationId xmlns:a16="http://schemas.microsoft.com/office/drawing/2014/main" id="{457CA90A-26C4-494D-A668-B6B6A911B95C}"/>
              </a:ext>
            </a:extLst>
          </p:cNvPr>
          <p:cNvPicPr>
            <a:picLocks noGrp="1" noChangeAspect="1"/>
          </p:cNvPicPr>
          <p:nvPr>
            <p:ph type="pic" sz="quarter" idx="44"/>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p:pic>
      <p:sp>
        <p:nvSpPr>
          <p:cNvPr id="68" name="Text Placeholder 67">
            <a:extLst>
              <a:ext uri="{FF2B5EF4-FFF2-40B4-BE49-F238E27FC236}">
                <a16:creationId xmlns:a16="http://schemas.microsoft.com/office/drawing/2014/main" id="{6F07CCA6-788D-4F60-B3D0-9F33209BD6A7}"/>
              </a:ext>
            </a:extLst>
          </p:cNvPr>
          <p:cNvSpPr>
            <a:spLocks noGrp="1"/>
          </p:cNvSpPr>
          <p:nvPr>
            <p:ph type="body" sz="quarter" idx="45"/>
          </p:nvPr>
        </p:nvSpPr>
        <p:spPr>
          <a:xfrm>
            <a:off x="3594088" y="2094443"/>
            <a:ext cx="1902950" cy="830997"/>
          </a:xfrm>
        </p:spPr>
        <p:txBody>
          <a:bodyPr/>
          <a:lstStyle/>
          <a:p>
            <a:r>
              <a:rPr lang="en-US" dirty="0"/>
              <a:t>Solution Vendors</a:t>
            </a:r>
          </a:p>
          <a:p>
            <a:r>
              <a:rPr lang="en-US" dirty="0"/>
              <a:t>System Integrators</a:t>
            </a:r>
          </a:p>
          <a:p>
            <a:r>
              <a:rPr lang="en-US" dirty="0"/>
              <a:t>Government Certification Agencies</a:t>
            </a:r>
          </a:p>
        </p:txBody>
      </p:sp>
      <p:sp>
        <p:nvSpPr>
          <p:cNvPr id="71" name="Text Placeholder 70">
            <a:extLst>
              <a:ext uri="{FF2B5EF4-FFF2-40B4-BE49-F238E27FC236}">
                <a16:creationId xmlns:a16="http://schemas.microsoft.com/office/drawing/2014/main" id="{5A85FE89-584D-4A51-8CD5-76D592D41361}"/>
              </a:ext>
            </a:extLst>
          </p:cNvPr>
          <p:cNvSpPr>
            <a:spLocks noGrp="1"/>
          </p:cNvSpPr>
          <p:nvPr>
            <p:ph type="body" sz="quarter" idx="46"/>
          </p:nvPr>
        </p:nvSpPr>
        <p:spPr>
          <a:xfrm>
            <a:off x="3594088" y="1775874"/>
            <a:ext cx="1902950" cy="166199"/>
          </a:xfrm>
        </p:spPr>
        <p:txBody>
          <a:bodyPr/>
          <a:lstStyle/>
          <a:p>
            <a:r>
              <a:rPr lang="en-US" dirty="0"/>
              <a:t>PRIMARY RESEARCH</a:t>
            </a:r>
          </a:p>
        </p:txBody>
      </p:sp>
      <p:pic>
        <p:nvPicPr>
          <p:cNvPr id="130" name="Picture Placeholder 129">
            <a:extLst>
              <a:ext uri="{FF2B5EF4-FFF2-40B4-BE49-F238E27FC236}">
                <a16:creationId xmlns:a16="http://schemas.microsoft.com/office/drawing/2014/main" id="{A4560334-9B13-457E-8AB1-A171B6424E14}"/>
              </a:ext>
            </a:extLst>
          </p:cNvPr>
          <p:cNvPicPr>
            <a:picLocks noGrp="1" noChangeAspect="1"/>
          </p:cNvPicPr>
          <p:nvPr>
            <p:ph type="pic" sz="quarter" idx="47"/>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a:fillRect/>
          </a:stretch>
        </p:blipFill>
        <p:spPr/>
      </p:pic>
      <p:sp>
        <p:nvSpPr>
          <p:cNvPr id="82" name="Text Placeholder 81">
            <a:extLst>
              <a:ext uri="{FF2B5EF4-FFF2-40B4-BE49-F238E27FC236}">
                <a16:creationId xmlns:a16="http://schemas.microsoft.com/office/drawing/2014/main" id="{73789DCB-EEB2-43C1-8F34-4E7CE7E6BD9B}"/>
              </a:ext>
            </a:extLst>
          </p:cNvPr>
          <p:cNvSpPr>
            <a:spLocks noGrp="1"/>
          </p:cNvSpPr>
          <p:nvPr>
            <p:ph type="body" sz="quarter" idx="48"/>
          </p:nvPr>
        </p:nvSpPr>
        <p:spPr>
          <a:xfrm>
            <a:off x="6730784" y="2094443"/>
            <a:ext cx="1902950" cy="907941"/>
          </a:xfrm>
        </p:spPr>
        <p:txBody>
          <a:bodyPr/>
          <a:lstStyle/>
          <a:p>
            <a:r>
              <a:rPr lang="en-US" dirty="0"/>
              <a:t>Industry Experts</a:t>
            </a:r>
          </a:p>
          <a:p>
            <a:r>
              <a:rPr lang="en-US" dirty="0"/>
              <a:t>Consultants</a:t>
            </a:r>
          </a:p>
          <a:p>
            <a:r>
              <a:rPr lang="en-US" dirty="0"/>
              <a:t>Subject-matter Experts</a:t>
            </a:r>
          </a:p>
          <a:p>
            <a:r>
              <a:rPr lang="en-US" dirty="0"/>
              <a:t>In-house Experts</a:t>
            </a:r>
          </a:p>
        </p:txBody>
      </p:sp>
      <p:sp>
        <p:nvSpPr>
          <p:cNvPr id="85" name="Text Placeholder 84">
            <a:extLst>
              <a:ext uri="{FF2B5EF4-FFF2-40B4-BE49-F238E27FC236}">
                <a16:creationId xmlns:a16="http://schemas.microsoft.com/office/drawing/2014/main" id="{2CDC1BBB-4B59-46CE-AF90-6E88D034E29F}"/>
              </a:ext>
            </a:extLst>
          </p:cNvPr>
          <p:cNvSpPr>
            <a:spLocks noGrp="1"/>
          </p:cNvSpPr>
          <p:nvPr>
            <p:ph type="body" sz="quarter" idx="49"/>
          </p:nvPr>
        </p:nvSpPr>
        <p:spPr>
          <a:xfrm>
            <a:off x="6730784" y="1775874"/>
            <a:ext cx="1902950" cy="166199"/>
          </a:xfrm>
        </p:spPr>
        <p:txBody>
          <a:bodyPr/>
          <a:lstStyle/>
          <a:p>
            <a:r>
              <a:rPr lang="en-US" dirty="0"/>
              <a:t>EXPERT VALIDATION</a:t>
            </a:r>
          </a:p>
        </p:txBody>
      </p:sp>
      <p:pic>
        <p:nvPicPr>
          <p:cNvPr id="134" name="Picture Placeholder 133">
            <a:extLst>
              <a:ext uri="{FF2B5EF4-FFF2-40B4-BE49-F238E27FC236}">
                <a16:creationId xmlns:a16="http://schemas.microsoft.com/office/drawing/2014/main" id="{9836AACB-6921-4F9D-8501-62E17EDF7785}"/>
              </a:ext>
            </a:extLst>
          </p:cNvPr>
          <p:cNvPicPr>
            <a:picLocks noGrp="1" noChangeAspect="1"/>
          </p:cNvPicPr>
          <p:nvPr>
            <p:ph type="pic" sz="quarter" idx="50"/>
          </p:nvPr>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t="210" b="210"/>
          <a:stretch/>
        </p:blipFill>
        <p:spPr/>
      </p:pic>
      <p:sp>
        <p:nvSpPr>
          <p:cNvPr id="87" name="Text Placeholder 86">
            <a:extLst>
              <a:ext uri="{FF2B5EF4-FFF2-40B4-BE49-F238E27FC236}">
                <a16:creationId xmlns:a16="http://schemas.microsoft.com/office/drawing/2014/main" id="{E9AB54DB-BBA0-454F-8C76-9F5E6EAEFFCC}"/>
              </a:ext>
            </a:extLst>
          </p:cNvPr>
          <p:cNvSpPr>
            <a:spLocks noGrp="1"/>
          </p:cNvSpPr>
          <p:nvPr>
            <p:ph type="body" sz="quarter" idx="51"/>
          </p:nvPr>
        </p:nvSpPr>
        <p:spPr>
          <a:xfrm>
            <a:off x="9867480" y="2094443"/>
            <a:ext cx="1902950" cy="507831"/>
          </a:xfrm>
        </p:spPr>
        <p:txBody>
          <a:bodyPr/>
          <a:lstStyle/>
          <a:p>
            <a:r>
              <a:rPr lang="en-US" dirty="0"/>
              <a:t>Compilation of Insights from Data and Forecasts into One Report </a:t>
            </a:r>
          </a:p>
        </p:txBody>
      </p:sp>
      <p:sp>
        <p:nvSpPr>
          <p:cNvPr id="88" name="Text Placeholder 87">
            <a:extLst>
              <a:ext uri="{FF2B5EF4-FFF2-40B4-BE49-F238E27FC236}">
                <a16:creationId xmlns:a16="http://schemas.microsoft.com/office/drawing/2014/main" id="{111EC3AF-FB88-4224-A75A-ECD879FF2CF6}"/>
              </a:ext>
            </a:extLst>
          </p:cNvPr>
          <p:cNvSpPr>
            <a:spLocks noGrp="1"/>
          </p:cNvSpPr>
          <p:nvPr>
            <p:ph type="body" sz="quarter" idx="52"/>
          </p:nvPr>
        </p:nvSpPr>
        <p:spPr>
          <a:xfrm>
            <a:off x="9867480" y="1775874"/>
            <a:ext cx="1902950" cy="166199"/>
          </a:xfrm>
        </p:spPr>
        <p:txBody>
          <a:bodyPr/>
          <a:lstStyle/>
          <a:p>
            <a:r>
              <a:rPr lang="en-US" dirty="0"/>
              <a:t>REPORT WRITING</a:t>
            </a:r>
          </a:p>
        </p:txBody>
      </p:sp>
      <p:pic>
        <p:nvPicPr>
          <p:cNvPr id="137" name="Picture Placeholder 136">
            <a:extLst>
              <a:ext uri="{FF2B5EF4-FFF2-40B4-BE49-F238E27FC236}">
                <a16:creationId xmlns:a16="http://schemas.microsoft.com/office/drawing/2014/main" id="{9621780C-073C-44B9-BEA8-1546BB75EA5E}"/>
              </a:ext>
            </a:extLst>
          </p:cNvPr>
          <p:cNvPicPr>
            <a:picLocks noGrp="1" noChangeAspect="1"/>
          </p:cNvPicPr>
          <p:nvPr>
            <p:ph type="pic" sz="quarter" idx="53"/>
          </p:nvPr>
        </p:nvPicPr>
        <p:blipFill rotWithShape="1">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t="210" b="210"/>
          <a:stretch/>
        </p:blipFill>
        <p:spPr/>
      </p:pic>
      <p:sp>
        <p:nvSpPr>
          <p:cNvPr id="91" name="Text Placeholder 90">
            <a:extLst>
              <a:ext uri="{FF2B5EF4-FFF2-40B4-BE49-F238E27FC236}">
                <a16:creationId xmlns:a16="http://schemas.microsoft.com/office/drawing/2014/main" id="{8EC7C0BC-59C3-4223-8715-8DF669D7AD96}"/>
              </a:ext>
            </a:extLst>
          </p:cNvPr>
          <p:cNvSpPr>
            <a:spLocks noGrp="1"/>
          </p:cNvSpPr>
          <p:nvPr>
            <p:ph type="body" sz="quarter" idx="54"/>
          </p:nvPr>
        </p:nvSpPr>
        <p:spPr>
          <a:xfrm>
            <a:off x="2029800" y="5168666"/>
            <a:ext cx="1902950" cy="661720"/>
          </a:xfrm>
        </p:spPr>
        <p:txBody>
          <a:bodyPr/>
          <a:lstStyle/>
          <a:p>
            <a:r>
              <a:rPr lang="en-US" dirty="0"/>
              <a:t>Company-related Queries</a:t>
            </a:r>
          </a:p>
          <a:p>
            <a:r>
              <a:rPr lang="en-US" dirty="0"/>
              <a:t>Market-related Queries</a:t>
            </a:r>
          </a:p>
          <a:p>
            <a:r>
              <a:rPr lang="en-US" dirty="0"/>
              <a:t>Company Financials</a:t>
            </a:r>
          </a:p>
        </p:txBody>
      </p:sp>
      <p:sp>
        <p:nvSpPr>
          <p:cNvPr id="93" name="Text Placeholder 92">
            <a:extLst>
              <a:ext uri="{FF2B5EF4-FFF2-40B4-BE49-F238E27FC236}">
                <a16:creationId xmlns:a16="http://schemas.microsoft.com/office/drawing/2014/main" id="{E9B43C7F-64F5-4BF0-92F0-2BD35A53F2FE}"/>
              </a:ext>
            </a:extLst>
          </p:cNvPr>
          <p:cNvSpPr>
            <a:spLocks noGrp="1"/>
          </p:cNvSpPr>
          <p:nvPr>
            <p:ph type="body" sz="quarter" idx="55"/>
          </p:nvPr>
        </p:nvSpPr>
        <p:spPr>
          <a:xfrm>
            <a:off x="2029800" y="4850097"/>
            <a:ext cx="1902950" cy="166199"/>
          </a:xfrm>
        </p:spPr>
        <p:txBody>
          <a:bodyPr/>
          <a:lstStyle/>
          <a:p>
            <a:r>
              <a:rPr lang="en-US" dirty="0"/>
              <a:t>DISCUSSION GUIDE</a:t>
            </a:r>
          </a:p>
        </p:txBody>
      </p:sp>
      <p:pic>
        <p:nvPicPr>
          <p:cNvPr id="139" name="Picture Placeholder 138">
            <a:extLst>
              <a:ext uri="{FF2B5EF4-FFF2-40B4-BE49-F238E27FC236}">
                <a16:creationId xmlns:a16="http://schemas.microsoft.com/office/drawing/2014/main" id="{DB13D150-3341-449C-B762-041E7410B77E}"/>
              </a:ext>
            </a:extLst>
          </p:cNvPr>
          <p:cNvPicPr>
            <a:picLocks noGrp="1" noChangeAspect="1"/>
          </p:cNvPicPr>
          <p:nvPr>
            <p:ph type="pic" sz="quarter" idx="56"/>
          </p:nvPr>
        </p:nvPicPr>
        <p:blipFill rotWithShape="1">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rcRect l="-18306" t="-18306" r="-18306" b="-18306"/>
          <a:stretch/>
        </p:blipFill>
        <p:spPr>
          <a:xfrm>
            <a:off x="5852597" y="4404311"/>
            <a:ext cx="383433" cy="383433"/>
          </a:xfrm>
        </p:spPr>
      </p:pic>
      <p:sp>
        <p:nvSpPr>
          <p:cNvPr id="109" name="Text Placeholder 108">
            <a:extLst>
              <a:ext uri="{FF2B5EF4-FFF2-40B4-BE49-F238E27FC236}">
                <a16:creationId xmlns:a16="http://schemas.microsoft.com/office/drawing/2014/main" id="{B57209E4-033D-4FA6-940B-B7C059F59AA6}"/>
              </a:ext>
            </a:extLst>
          </p:cNvPr>
          <p:cNvSpPr>
            <a:spLocks noGrp="1"/>
          </p:cNvSpPr>
          <p:nvPr>
            <p:ph type="body" sz="quarter" idx="59"/>
          </p:nvPr>
        </p:nvSpPr>
        <p:spPr>
          <a:xfrm>
            <a:off x="8229813" y="5168666"/>
            <a:ext cx="2047912" cy="754053"/>
          </a:xfrm>
        </p:spPr>
        <p:txBody>
          <a:bodyPr/>
          <a:lstStyle/>
          <a:p>
            <a:r>
              <a:rPr lang="en-US" dirty="0"/>
              <a:t>Revalidation of Numbers from Secondary through Primaries</a:t>
            </a:r>
          </a:p>
          <a:p>
            <a:r>
              <a:rPr lang="en-US" dirty="0"/>
              <a:t>Combination of Top-down and Bottom-up Approaches</a:t>
            </a:r>
          </a:p>
        </p:txBody>
      </p:sp>
      <p:sp>
        <p:nvSpPr>
          <p:cNvPr id="113" name="Text Placeholder 112">
            <a:extLst>
              <a:ext uri="{FF2B5EF4-FFF2-40B4-BE49-F238E27FC236}">
                <a16:creationId xmlns:a16="http://schemas.microsoft.com/office/drawing/2014/main" id="{591BAFD3-2651-4EC7-832A-B2AF9EC2F644}"/>
              </a:ext>
            </a:extLst>
          </p:cNvPr>
          <p:cNvSpPr>
            <a:spLocks noGrp="1"/>
          </p:cNvSpPr>
          <p:nvPr>
            <p:ph type="body" sz="quarter" idx="60"/>
          </p:nvPr>
        </p:nvSpPr>
        <p:spPr>
          <a:xfrm>
            <a:off x="8229813" y="4850097"/>
            <a:ext cx="2047912" cy="166199"/>
          </a:xfrm>
        </p:spPr>
        <p:txBody>
          <a:bodyPr/>
          <a:lstStyle/>
          <a:p>
            <a:r>
              <a:rPr lang="en-US" dirty="0"/>
              <a:t>DATA TRIANGULATION</a:t>
            </a:r>
          </a:p>
        </p:txBody>
      </p:sp>
      <p:pic>
        <p:nvPicPr>
          <p:cNvPr id="141" name="Picture Placeholder 140">
            <a:extLst>
              <a:ext uri="{FF2B5EF4-FFF2-40B4-BE49-F238E27FC236}">
                <a16:creationId xmlns:a16="http://schemas.microsoft.com/office/drawing/2014/main" id="{9703C515-124B-404D-985B-9A29D5B2DBF3}"/>
              </a:ext>
            </a:extLst>
          </p:cNvPr>
          <p:cNvPicPr>
            <a:picLocks noGrp="1" noChangeAspect="1"/>
          </p:cNvPicPr>
          <p:nvPr>
            <p:ph type="pic" sz="quarter" idx="61"/>
          </p:nvPr>
        </p:nvPicPr>
        <p:blipFill rotWithShape="1">
          <a:blip r:embed="rId19" cstate="email">
            <a:extLst>
              <a:ext uri="{28A0092B-C50C-407E-A947-70E740481C1C}">
                <a14:useLocalDpi xmlns:a14="http://schemas.microsoft.com/office/drawing/2010/main"/>
              </a:ext>
            </a:extLst>
          </a:blip>
          <a:srcRect l="-15539" t="-79476" r="-15539" b="-79476"/>
          <a:stretch/>
        </p:blipFill>
        <p:spPr>
          <a:xfrm>
            <a:off x="8918624" y="4327004"/>
            <a:ext cx="538047" cy="538047"/>
          </a:xfrm>
          <a:noFill/>
        </p:spPr>
      </p:pic>
    </p:spTree>
    <p:extLst>
      <p:ext uri="{BB962C8B-B14F-4D97-AF65-F5344CB8AC3E}">
        <p14:creationId xmlns:p14="http://schemas.microsoft.com/office/powerpoint/2010/main" val="3915832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1C58BFFB-1C95-48DB-A95D-20D7B17EA4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6" name="Object 45" hidden="1">
                        <a:extLst>
                          <a:ext uri="{FF2B5EF4-FFF2-40B4-BE49-F238E27FC236}">
                            <a16:creationId xmlns:a16="http://schemas.microsoft.com/office/drawing/2014/main" id="{1C58BFFB-1C95-48DB-A95D-20D7B17EA4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9E2C2272-9F5A-4D8C-A4AD-DA3011ADE82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8" name="Title 27">
            <a:extLst>
              <a:ext uri="{FF2B5EF4-FFF2-40B4-BE49-F238E27FC236}">
                <a16:creationId xmlns:a16="http://schemas.microsoft.com/office/drawing/2014/main" id="{2716E99E-696F-4B30-8DF7-3C8CC3E68122}"/>
              </a:ext>
            </a:extLst>
          </p:cNvPr>
          <p:cNvSpPr>
            <a:spLocks noGrp="1"/>
          </p:cNvSpPr>
          <p:nvPr>
            <p:ph type="title"/>
          </p:nvPr>
        </p:nvSpPr>
        <p:spPr/>
        <p:txBody>
          <a:bodyPr/>
          <a:lstStyle/>
          <a:p>
            <a:r>
              <a:rPr lang="en-US" dirty="0"/>
              <a:t>2. RESEARCH PHASES EXPLAINED</a:t>
            </a:r>
          </a:p>
        </p:txBody>
      </p:sp>
      <p:sp>
        <p:nvSpPr>
          <p:cNvPr id="29" name="Text Placeholder 28">
            <a:extLst>
              <a:ext uri="{FF2B5EF4-FFF2-40B4-BE49-F238E27FC236}">
                <a16:creationId xmlns:a16="http://schemas.microsoft.com/office/drawing/2014/main" id="{47A4CF5E-A600-42D9-9C6C-3E8920205466}"/>
              </a:ext>
            </a:extLst>
          </p:cNvPr>
          <p:cNvSpPr>
            <a:spLocks noGrp="1"/>
          </p:cNvSpPr>
          <p:nvPr>
            <p:ph type="body" sz="quarter" idx="34"/>
          </p:nvPr>
        </p:nvSpPr>
        <p:spPr>
          <a:xfrm>
            <a:off x="346989" y="1141136"/>
            <a:ext cx="5339435" cy="215444"/>
          </a:xfrm>
        </p:spPr>
        <p:txBody>
          <a:bodyPr/>
          <a:lstStyle/>
          <a:p>
            <a:r>
              <a:rPr lang="en-US" dirty="0"/>
              <a:t>SECONDARY RESEARCH</a:t>
            </a:r>
          </a:p>
        </p:txBody>
      </p:sp>
      <p:sp>
        <p:nvSpPr>
          <p:cNvPr id="61" name="Text Placeholder 60">
            <a:extLst>
              <a:ext uri="{FF2B5EF4-FFF2-40B4-BE49-F238E27FC236}">
                <a16:creationId xmlns:a16="http://schemas.microsoft.com/office/drawing/2014/main" id="{F8CCBCA7-9A09-4966-95DE-17DD7E5CF845}"/>
              </a:ext>
            </a:extLst>
          </p:cNvPr>
          <p:cNvSpPr>
            <a:spLocks noGrp="1"/>
          </p:cNvSpPr>
          <p:nvPr>
            <p:ph type="body" sz="quarter" idx="35"/>
          </p:nvPr>
        </p:nvSpPr>
        <p:spPr>
          <a:xfrm>
            <a:off x="6096002" y="1148751"/>
            <a:ext cx="5674317" cy="215444"/>
          </a:xfrm>
        </p:spPr>
        <p:txBody>
          <a:bodyPr/>
          <a:lstStyle/>
          <a:p>
            <a:r>
              <a:rPr lang="en-US" dirty="0"/>
              <a:t>PRIMARY RESEARCH</a:t>
            </a:r>
          </a:p>
        </p:txBody>
      </p:sp>
      <p:sp>
        <p:nvSpPr>
          <p:cNvPr id="31" name="Text Placeholder 30">
            <a:extLst>
              <a:ext uri="{FF2B5EF4-FFF2-40B4-BE49-F238E27FC236}">
                <a16:creationId xmlns:a16="http://schemas.microsoft.com/office/drawing/2014/main" id="{1DA039B6-05BF-4975-8EFC-00218BB57998}"/>
              </a:ext>
            </a:extLst>
          </p:cNvPr>
          <p:cNvSpPr>
            <a:spLocks noGrp="1"/>
          </p:cNvSpPr>
          <p:nvPr>
            <p:ph type="body" sz="quarter" idx="36"/>
          </p:nvPr>
        </p:nvSpPr>
        <p:spPr>
          <a:xfrm>
            <a:off x="260870" y="1494177"/>
            <a:ext cx="5579457" cy="4766882"/>
          </a:xfrm>
        </p:spPr>
        <p:txBody>
          <a:bodyPr/>
          <a:lstStyle/>
          <a:p>
            <a:pPr marL="0" indent="0" algn="just">
              <a:spcBef>
                <a:spcPts val="0"/>
              </a:spcBef>
              <a:spcAft>
                <a:spcPts val="800"/>
              </a:spcAft>
              <a:buNone/>
            </a:pPr>
            <a:r>
              <a:rPr lang="en-US" dirty="0"/>
              <a:t>This phase involves a thorough synthesis of existing publications across the web to gather meaningful insights on the current situation of the market, technology developments, and any other market related information. The sources include, but are not limited to:</a:t>
            </a:r>
          </a:p>
          <a:p>
            <a:pPr algn="just">
              <a:spcBef>
                <a:spcPts val="0"/>
              </a:spcBef>
              <a:spcAft>
                <a:spcPts val="800"/>
              </a:spcAft>
              <a:buClr>
                <a:schemeClr val="accent1"/>
              </a:buClr>
              <a:buFont typeface="Wingdings" panose="05000000000000000000" pitchFamily="2" charset="2"/>
              <a:buChar char="n"/>
            </a:pPr>
            <a:r>
              <a:rPr lang="en-US" dirty="0"/>
              <a:t>Scientific papers, journals, and publications</a:t>
            </a:r>
          </a:p>
          <a:p>
            <a:pPr algn="just">
              <a:spcBef>
                <a:spcPts val="0"/>
              </a:spcBef>
              <a:spcAft>
                <a:spcPts val="800"/>
              </a:spcAft>
              <a:buClr>
                <a:schemeClr val="accent1"/>
              </a:buClr>
              <a:buFont typeface="Wingdings" panose="05000000000000000000" pitchFamily="2" charset="2"/>
              <a:buChar char="n"/>
            </a:pPr>
            <a:r>
              <a:rPr lang="en-US" dirty="0"/>
              <a:t>Trade information to understand imports, exports, and average traded price of the commodity, if available</a:t>
            </a:r>
          </a:p>
          <a:p>
            <a:pPr algn="just">
              <a:spcBef>
                <a:spcPts val="0"/>
              </a:spcBef>
              <a:spcAft>
                <a:spcPts val="800"/>
              </a:spcAft>
              <a:buClr>
                <a:schemeClr val="accent1"/>
              </a:buClr>
              <a:buFont typeface="Wingdings" panose="05000000000000000000" pitchFamily="2" charset="2"/>
              <a:buChar char="n"/>
            </a:pPr>
            <a:r>
              <a:rPr lang="en-US" dirty="0"/>
              <a:t>Industry and government websites for blogs, magazines, and other publications</a:t>
            </a:r>
          </a:p>
          <a:p>
            <a:pPr algn="just">
              <a:spcBef>
                <a:spcPts val="0"/>
              </a:spcBef>
              <a:spcAft>
                <a:spcPts val="800"/>
              </a:spcAft>
              <a:buClr>
                <a:schemeClr val="accent1"/>
              </a:buClr>
              <a:buFont typeface="Wingdings" panose="05000000000000000000" pitchFamily="2" charset="2"/>
              <a:buChar char="n"/>
            </a:pPr>
            <a:r>
              <a:rPr lang="en-US" dirty="0"/>
              <a:t>Conference proceedings and association publications</a:t>
            </a:r>
          </a:p>
          <a:p>
            <a:pPr algn="just">
              <a:spcBef>
                <a:spcPts val="0"/>
              </a:spcBef>
              <a:spcAft>
                <a:spcPts val="800"/>
              </a:spcAft>
              <a:buClr>
                <a:schemeClr val="accent1"/>
              </a:buClr>
              <a:buFont typeface="Wingdings" panose="05000000000000000000" pitchFamily="2" charset="2"/>
              <a:buChar char="n"/>
            </a:pPr>
            <a:r>
              <a:rPr lang="en-US" dirty="0"/>
              <a:t>Investor presentations, technical brochures, annual reports, press releases, transcripts of key personnel interviews, and other strategic publications by several competitors in the market</a:t>
            </a:r>
          </a:p>
          <a:p>
            <a:pPr algn="just">
              <a:spcBef>
                <a:spcPts val="0"/>
              </a:spcBef>
              <a:spcAft>
                <a:spcPts val="800"/>
              </a:spcAft>
              <a:buClr>
                <a:schemeClr val="accent1"/>
              </a:buClr>
              <a:buFont typeface="Wingdings" panose="05000000000000000000" pitchFamily="2" charset="2"/>
              <a:buChar char="n"/>
            </a:pPr>
            <a:r>
              <a:rPr lang="en-US" dirty="0"/>
              <a:t>Product information including technical specifications, approvals, patents, etc.</a:t>
            </a:r>
          </a:p>
          <a:p>
            <a:pPr algn="just">
              <a:spcBef>
                <a:spcPts val="0"/>
              </a:spcBef>
              <a:spcAft>
                <a:spcPts val="800"/>
              </a:spcAft>
              <a:buClr>
                <a:schemeClr val="accent1"/>
              </a:buClr>
              <a:buFont typeface="Wingdings" panose="05000000000000000000" pitchFamily="2" charset="2"/>
              <a:buChar char="n"/>
            </a:pPr>
            <a:r>
              <a:rPr lang="en-US" dirty="0"/>
              <a:t>Public sources (Statistical Authorities, Trade Associations, Public Companies Filings, Investor Presentations, Trade Promotion Agency Publications, Magazines and others)</a:t>
            </a:r>
          </a:p>
          <a:p>
            <a:pPr algn="just">
              <a:spcBef>
                <a:spcPts val="0"/>
              </a:spcBef>
              <a:spcAft>
                <a:spcPts val="800"/>
              </a:spcAft>
              <a:buClr>
                <a:schemeClr val="accent1"/>
              </a:buClr>
              <a:buFont typeface="Wingdings" panose="05000000000000000000" pitchFamily="2" charset="2"/>
              <a:buChar char="n"/>
            </a:pPr>
            <a:r>
              <a:rPr lang="en-US" dirty="0"/>
              <a:t>Paid sources (Factiva, Hoovers, access to industry specific data and subscriptions, etc.)</a:t>
            </a:r>
          </a:p>
          <a:p>
            <a:pPr algn="just">
              <a:spcBef>
                <a:spcPts val="0"/>
              </a:spcBef>
              <a:spcAft>
                <a:spcPts val="800"/>
              </a:spcAft>
              <a:buClr>
                <a:schemeClr val="accent1"/>
              </a:buClr>
              <a:buFont typeface="Wingdings" panose="05000000000000000000" pitchFamily="2" charset="2"/>
              <a:buChar char="n"/>
            </a:pPr>
            <a:r>
              <a:rPr lang="en-US" dirty="0"/>
              <a:t>Other sources, including journals, articles, etc. (for prices and usage patterns)</a:t>
            </a:r>
          </a:p>
        </p:txBody>
      </p:sp>
      <p:sp>
        <p:nvSpPr>
          <p:cNvPr id="32" name="Text Placeholder 31">
            <a:extLst>
              <a:ext uri="{FF2B5EF4-FFF2-40B4-BE49-F238E27FC236}">
                <a16:creationId xmlns:a16="http://schemas.microsoft.com/office/drawing/2014/main" id="{7F2CC68D-576B-4D3C-BDA7-B8755F855C68}"/>
              </a:ext>
            </a:extLst>
          </p:cNvPr>
          <p:cNvSpPr>
            <a:spLocks noGrp="1"/>
          </p:cNvSpPr>
          <p:nvPr>
            <p:ph type="body" sz="quarter" idx="37"/>
          </p:nvPr>
        </p:nvSpPr>
        <p:spPr>
          <a:xfrm>
            <a:off x="6168060" y="1493984"/>
            <a:ext cx="5674317" cy="3362395"/>
          </a:xfrm>
        </p:spPr>
        <p:txBody>
          <a:bodyPr/>
          <a:lstStyle/>
          <a:p>
            <a:pPr algn="just">
              <a:spcBef>
                <a:spcPts val="0"/>
              </a:spcBef>
              <a:spcAft>
                <a:spcPts val="200"/>
              </a:spcAft>
              <a:buClr>
                <a:schemeClr val="accent1"/>
              </a:buClr>
              <a:buFont typeface="Wingdings" panose="05000000000000000000" pitchFamily="2" charset="2"/>
              <a:buChar char="n"/>
            </a:pPr>
            <a:r>
              <a:rPr lang="en-US" dirty="0"/>
              <a:t>At Mordor, we pool in industry experts across the value chain, to gather first-hand insights on the market studied. In addition to these knowledgeable industry veterans or retired experts, consultants and freelancers are a call away to collaborate with Mordor on any assignment that requires real-time industry insights.</a:t>
            </a:r>
          </a:p>
          <a:p>
            <a:pPr algn="just">
              <a:spcBef>
                <a:spcPts val="0"/>
              </a:spcBef>
              <a:spcAft>
                <a:spcPts val="200"/>
              </a:spcAft>
              <a:buClr>
                <a:schemeClr val="accent1"/>
              </a:buClr>
              <a:buFont typeface="Wingdings" panose="05000000000000000000" pitchFamily="2" charset="2"/>
              <a:buChar char="n"/>
            </a:pPr>
            <a:r>
              <a:rPr lang="en-US" dirty="0"/>
              <a:t>We are also equipped to conduct market surveys to gather qualitative insights and the opinion of individuals related to the industry.</a:t>
            </a:r>
          </a:p>
          <a:p>
            <a:pPr algn="just">
              <a:spcBef>
                <a:spcPts val="0"/>
              </a:spcBef>
              <a:spcAft>
                <a:spcPts val="200"/>
              </a:spcAft>
              <a:buClr>
                <a:schemeClr val="accent1"/>
              </a:buClr>
              <a:buSzPct val="180000"/>
              <a:buFont typeface="Wingdings" panose="05000000000000000000" pitchFamily="2" charset="2"/>
              <a:buChar char="§"/>
            </a:pPr>
            <a:r>
              <a:rPr lang="en-US" dirty="0"/>
              <a:t>Primary research is used both to validate the data points obtained from secondary research and to fill the data gaps after secondary research. Data gathered during the primary research phase are useful to arrive at critical insights, both qualitative and quantitative; these insights can be used to ascertain the following</a:t>
            </a:r>
            <a:r>
              <a:rPr lang="en-US" dirty="0">
                <a:solidFill>
                  <a:prstClr val="black"/>
                </a:solidFill>
                <a:ea typeface="Roboto Condensed" panose="02000000000000000000" pitchFamily="2" charset="0"/>
              </a:rPr>
              <a:t>:</a:t>
            </a:r>
          </a:p>
          <a:p>
            <a:pPr marL="628650" lvl="1" indent="-171450" algn="just">
              <a:lnSpc>
                <a:spcPct val="110000"/>
              </a:lnSpc>
              <a:spcBef>
                <a:spcPts val="0"/>
              </a:spcBef>
              <a:spcAft>
                <a:spcPts val="200"/>
              </a:spcAft>
              <a:buFont typeface="Arial" panose="020B0604020202020204" pitchFamily="34" charset="0"/>
              <a:buChar char="•"/>
            </a:pPr>
            <a:r>
              <a:rPr lang="en-US" sz="1200" dirty="0">
                <a:solidFill>
                  <a:prstClr val="black"/>
                </a:solidFill>
                <a:ea typeface="Roboto Condensed" panose="02000000000000000000" pitchFamily="2" charset="0"/>
              </a:rPr>
              <a:t>Critical market dynamics (drivers, restraints, future, and regulations) and their impact</a:t>
            </a:r>
          </a:p>
          <a:p>
            <a:pPr marL="628650" lvl="1" indent="-171450" algn="just">
              <a:lnSpc>
                <a:spcPct val="110000"/>
              </a:lnSpc>
              <a:spcBef>
                <a:spcPts val="0"/>
              </a:spcBef>
              <a:spcAft>
                <a:spcPts val="200"/>
              </a:spcAft>
              <a:buFont typeface="Arial" panose="020B0604020202020204" pitchFamily="34" charset="0"/>
              <a:buChar char="•"/>
            </a:pPr>
            <a:r>
              <a:rPr lang="en-US" sz="1200" dirty="0">
                <a:solidFill>
                  <a:prstClr val="black"/>
                </a:solidFill>
                <a:ea typeface="Roboto Condensed" panose="02000000000000000000" pitchFamily="2" charset="0"/>
              </a:rPr>
              <a:t>Market distribution across various segments</a:t>
            </a:r>
          </a:p>
          <a:p>
            <a:pPr marL="628650" lvl="1" indent="-171450" algn="just">
              <a:lnSpc>
                <a:spcPct val="110000"/>
              </a:lnSpc>
              <a:spcBef>
                <a:spcPts val="0"/>
              </a:spcBef>
              <a:spcAft>
                <a:spcPts val="200"/>
              </a:spcAft>
              <a:buFont typeface="Arial" panose="020B0604020202020204" pitchFamily="34" charset="0"/>
              <a:buChar char="•"/>
            </a:pPr>
            <a:r>
              <a:rPr lang="en-US" sz="1200" dirty="0">
                <a:solidFill>
                  <a:prstClr val="black"/>
                </a:solidFill>
                <a:ea typeface="Roboto Condensed" panose="02000000000000000000" pitchFamily="2" charset="0"/>
              </a:rPr>
              <a:t>Market entry for new companies and insights on competitive landscape</a:t>
            </a:r>
            <a:endParaRPr lang="en-US" sz="1200" dirty="0"/>
          </a:p>
        </p:txBody>
      </p:sp>
      <p:sp>
        <p:nvSpPr>
          <p:cNvPr id="33" name="Text Placeholder 32">
            <a:extLst>
              <a:ext uri="{FF2B5EF4-FFF2-40B4-BE49-F238E27FC236}">
                <a16:creationId xmlns:a16="http://schemas.microsoft.com/office/drawing/2014/main" id="{5E5FC66C-7E2B-49C7-9C48-2478278AA8E7}"/>
              </a:ext>
            </a:extLst>
          </p:cNvPr>
          <p:cNvSpPr>
            <a:spLocks noGrp="1"/>
          </p:cNvSpPr>
          <p:nvPr>
            <p:ph type="body" sz="quarter" idx="38"/>
          </p:nvPr>
        </p:nvSpPr>
        <p:spPr/>
        <p:txBody>
          <a:bodyPr/>
          <a:lstStyle/>
          <a:p>
            <a:r>
              <a:rPr lang="en-US" dirty="0"/>
              <a:t>MODES OF PRIMARY RESEARCH</a:t>
            </a:r>
          </a:p>
        </p:txBody>
      </p:sp>
      <p:sp>
        <p:nvSpPr>
          <p:cNvPr id="34" name="Text Placeholder 33">
            <a:extLst>
              <a:ext uri="{FF2B5EF4-FFF2-40B4-BE49-F238E27FC236}">
                <a16:creationId xmlns:a16="http://schemas.microsoft.com/office/drawing/2014/main" id="{0E2A5DDF-7289-4F21-8C5D-5D9FAE179DA8}"/>
              </a:ext>
            </a:extLst>
          </p:cNvPr>
          <p:cNvSpPr>
            <a:spLocks noGrp="1"/>
          </p:cNvSpPr>
          <p:nvPr>
            <p:ph type="body" sz="quarter" idx="39"/>
          </p:nvPr>
        </p:nvSpPr>
        <p:spPr/>
        <p:txBody>
          <a:bodyPr/>
          <a:lstStyle/>
          <a:p>
            <a:pPr algn="ctr">
              <a:buNone/>
            </a:pPr>
            <a:r>
              <a:rPr lang="en-US" dirty="0"/>
              <a:t>Telephonic Interviews</a:t>
            </a:r>
          </a:p>
        </p:txBody>
      </p:sp>
      <p:sp>
        <p:nvSpPr>
          <p:cNvPr id="35" name="Text Placeholder 34">
            <a:extLst>
              <a:ext uri="{FF2B5EF4-FFF2-40B4-BE49-F238E27FC236}">
                <a16:creationId xmlns:a16="http://schemas.microsoft.com/office/drawing/2014/main" id="{AF364D20-7D90-436E-8F31-3BEA6C4A04C5}"/>
              </a:ext>
            </a:extLst>
          </p:cNvPr>
          <p:cNvSpPr>
            <a:spLocks noGrp="1"/>
          </p:cNvSpPr>
          <p:nvPr>
            <p:ph type="body" sz="quarter" idx="40"/>
          </p:nvPr>
        </p:nvSpPr>
        <p:spPr/>
        <p:txBody>
          <a:bodyPr/>
          <a:lstStyle/>
          <a:p>
            <a:pPr algn="ctr">
              <a:buNone/>
            </a:pPr>
            <a:r>
              <a:rPr lang="en-US" dirty="0"/>
              <a:t>Email Interviews</a:t>
            </a:r>
          </a:p>
        </p:txBody>
      </p:sp>
      <p:sp>
        <p:nvSpPr>
          <p:cNvPr id="36" name="Text Placeholder 35">
            <a:extLst>
              <a:ext uri="{FF2B5EF4-FFF2-40B4-BE49-F238E27FC236}">
                <a16:creationId xmlns:a16="http://schemas.microsoft.com/office/drawing/2014/main" id="{1CB334F4-BD71-499F-A13E-19DED192AA59}"/>
              </a:ext>
            </a:extLst>
          </p:cNvPr>
          <p:cNvSpPr>
            <a:spLocks noGrp="1"/>
          </p:cNvSpPr>
          <p:nvPr>
            <p:ph type="body" sz="quarter" idx="41"/>
          </p:nvPr>
        </p:nvSpPr>
        <p:spPr/>
        <p:txBody>
          <a:bodyPr/>
          <a:lstStyle/>
          <a:p>
            <a:pPr algn="ctr">
              <a:buNone/>
            </a:pPr>
            <a:r>
              <a:rPr lang="en-US" dirty="0"/>
              <a:t>Chat Interviews</a:t>
            </a:r>
          </a:p>
        </p:txBody>
      </p:sp>
      <p:sp>
        <p:nvSpPr>
          <p:cNvPr id="37" name="Text Placeholder 36">
            <a:extLst>
              <a:ext uri="{FF2B5EF4-FFF2-40B4-BE49-F238E27FC236}">
                <a16:creationId xmlns:a16="http://schemas.microsoft.com/office/drawing/2014/main" id="{8CA379D4-9435-461A-B564-032F9A0A09EE}"/>
              </a:ext>
            </a:extLst>
          </p:cNvPr>
          <p:cNvSpPr>
            <a:spLocks noGrp="1"/>
          </p:cNvSpPr>
          <p:nvPr>
            <p:ph type="body" sz="quarter" idx="42"/>
          </p:nvPr>
        </p:nvSpPr>
        <p:spPr/>
        <p:txBody>
          <a:bodyPr/>
          <a:lstStyle/>
          <a:p>
            <a:pPr algn="ctr">
              <a:buNone/>
            </a:pPr>
            <a:r>
              <a:rPr lang="en-US" dirty="0"/>
              <a:t>Virtual Council</a:t>
            </a:r>
          </a:p>
        </p:txBody>
      </p:sp>
      <p:sp>
        <p:nvSpPr>
          <p:cNvPr id="38" name="Text Placeholder 37">
            <a:extLst>
              <a:ext uri="{FF2B5EF4-FFF2-40B4-BE49-F238E27FC236}">
                <a16:creationId xmlns:a16="http://schemas.microsoft.com/office/drawing/2014/main" id="{80165211-CF6F-471C-82ED-9E1E381AC2BB}"/>
              </a:ext>
            </a:extLst>
          </p:cNvPr>
          <p:cNvSpPr>
            <a:spLocks noGrp="1"/>
          </p:cNvSpPr>
          <p:nvPr>
            <p:ph type="body" sz="quarter" idx="43"/>
          </p:nvPr>
        </p:nvSpPr>
        <p:spPr/>
        <p:txBody>
          <a:bodyPr/>
          <a:lstStyle/>
          <a:p>
            <a:pPr algn="ctr">
              <a:buNone/>
            </a:pPr>
            <a:r>
              <a:rPr lang="en-US" dirty="0"/>
              <a:t>Surveys</a:t>
            </a:r>
          </a:p>
        </p:txBody>
      </p:sp>
      <p:sp>
        <p:nvSpPr>
          <p:cNvPr id="39" name="Text Placeholder 38">
            <a:extLst>
              <a:ext uri="{FF2B5EF4-FFF2-40B4-BE49-F238E27FC236}">
                <a16:creationId xmlns:a16="http://schemas.microsoft.com/office/drawing/2014/main" id="{4FDD83F2-965B-4A20-8B06-4F5C5C1A660F}"/>
              </a:ext>
            </a:extLst>
          </p:cNvPr>
          <p:cNvSpPr>
            <a:spLocks noGrp="1"/>
          </p:cNvSpPr>
          <p:nvPr>
            <p:ph type="body" sz="quarter" idx="44"/>
          </p:nvPr>
        </p:nvSpPr>
        <p:spPr>
          <a:xfrm>
            <a:off x="11011990" y="5643932"/>
            <a:ext cx="676065" cy="307777"/>
          </a:xfrm>
        </p:spPr>
        <p:txBody>
          <a:bodyPr/>
          <a:lstStyle/>
          <a:p>
            <a:r>
              <a:rPr lang="en-US" dirty="0"/>
              <a:t>&amp; Others</a:t>
            </a:r>
          </a:p>
        </p:txBody>
      </p:sp>
      <p:pic>
        <p:nvPicPr>
          <p:cNvPr id="68" name="Picture Placeholder 67">
            <a:extLst>
              <a:ext uri="{FF2B5EF4-FFF2-40B4-BE49-F238E27FC236}">
                <a16:creationId xmlns:a16="http://schemas.microsoft.com/office/drawing/2014/main" id="{9735BDE8-074A-44FD-BDD1-649F1D03FA19}"/>
              </a:ext>
            </a:extLst>
          </p:cNvPr>
          <p:cNvPicPr>
            <a:picLocks noGrp="1" noChangeAspect="1"/>
          </p:cNvPicPr>
          <p:nvPr>
            <p:ph type="pic" sz="quarter" idx="63"/>
          </p:nvPr>
        </p:nvPicPr>
        <p:blipFill>
          <a:blip r:embed="rId6">
            <a:extLst>
              <a:ext uri="{28A0092B-C50C-407E-A947-70E740481C1C}">
                <a14:useLocalDpi xmlns:a14="http://schemas.microsoft.com/office/drawing/2010/main" val="0"/>
              </a:ext>
            </a:extLst>
          </a:blip>
          <a:srcRect l="132" r="132"/>
          <a:stretch>
            <a:fillRect/>
          </a:stretch>
        </p:blipFill>
        <p:spPr/>
      </p:pic>
      <p:pic>
        <p:nvPicPr>
          <p:cNvPr id="70" name="Picture Placeholder 69">
            <a:extLst>
              <a:ext uri="{FF2B5EF4-FFF2-40B4-BE49-F238E27FC236}">
                <a16:creationId xmlns:a16="http://schemas.microsoft.com/office/drawing/2014/main" id="{FA29891C-4BC4-4582-8202-87BFE844FE03}"/>
              </a:ext>
            </a:extLst>
          </p:cNvPr>
          <p:cNvPicPr>
            <a:picLocks noGrp="1" noChangeAspect="1"/>
          </p:cNvPicPr>
          <p:nvPr>
            <p:ph type="pic" sz="quarter" idx="64"/>
          </p:nvPr>
        </p:nvPicPr>
        <p:blipFill>
          <a:blip r:embed="rId7">
            <a:extLst>
              <a:ext uri="{28A0092B-C50C-407E-A947-70E740481C1C}">
                <a14:useLocalDpi xmlns:a14="http://schemas.microsoft.com/office/drawing/2010/main" val="0"/>
              </a:ext>
            </a:extLst>
          </a:blip>
          <a:srcRect l="742" r="742"/>
          <a:stretch>
            <a:fillRect/>
          </a:stretch>
        </p:blipFill>
        <p:spPr/>
      </p:pic>
      <p:pic>
        <p:nvPicPr>
          <p:cNvPr id="72" name="Picture Placeholder 71">
            <a:extLst>
              <a:ext uri="{FF2B5EF4-FFF2-40B4-BE49-F238E27FC236}">
                <a16:creationId xmlns:a16="http://schemas.microsoft.com/office/drawing/2014/main" id="{FEA45FE9-4B68-4B6D-A42A-BAA068D37947}"/>
              </a:ext>
            </a:extLst>
          </p:cNvPr>
          <p:cNvPicPr>
            <a:picLocks noGrp="1" noChangeAspect="1"/>
          </p:cNvPicPr>
          <p:nvPr>
            <p:ph type="pic" sz="quarter" idx="65"/>
          </p:nvPr>
        </p:nvPicPr>
        <p:blipFill>
          <a:blip r:embed="rId8">
            <a:extLst>
              <a:ext uri="{28A0092B-C50C-407E-A947-70E740481C1C}">
                <a14:useLocalDpi xmlns:a14="http://schemas.microsoft.com/office/drawing/2010/main" val="0"/>
              </a:ext>
            </a:extLst>
          </a:blip>
          <a:srcRect t="108" b="108"/>
          <a:stretch>
            <a:fillRect/>
          </a:stretch>
        </p:blipFill>
        <p:spPr/>
      </p:pic>
      <p:pic>
        <p:nvPicPr>
          <p:cNvPr id="74" name="Picture Placeholder 73">
            <a:extLst>
              <a:ext uri="{FF2B5EF4-FFF2-40B4-BE49-F238E27FC236}">
                <a16:creationId xmlns:a16="http://schemas.microsoft.com/office/drawing/2014/main" id="{2572A06A-8BAF-4FC5-B8C7-EB71DD5B2E2B}"/>
              </a:ext>
            </a:extLst>
          </p:cNvPr>
          <p:cNvPicPr>
            <a:picLocks noGrp="1" noChangeAspect="1"/>
          </p:cNvPicPr>
          <p:nvPr>
            <p:ph type="pic" sz="quarter" idx="66"/>
          </p:nvPr>
        </p:nvPicPr>
        <p:blipFill>
          <a:blip r:embed="rId9">
            <a:extLst>
              <a:ext uri="{28A0092B-C50C-407E-A947-70E740481C1C}">
                <a14:useLocalDpi xmlns:a14="http://schemas.microsoft.com/office/drawing/2010/main" val="0"/>
              </a:ext>
            </a:extLst>
          </a:blip>
          <a:srcRect t="2394" b="2394"/>
          <a:stretch>
            <a:fillRect/>
          </a:stretch>
        </p:blipFill>
        <p:spPr/>
      </p:pic>
      <p:pic>
        <p:nvPicPr>
          <p:cNvPr id="76" name="Picture Placeholder 75">
            <a:extLst>
              <a:ext uri="{FF2B5EF4-FFF2-40B4-BE49-F238E27FC236}">
                <a16:creationId xmlns:a16="http://schemas.microsoft.com/office/drawing/2014/main" id="{D7D2F505-1C4E-46B7-9B78-8123FD774921}"/>
              </a:ext>
            </a:extLst>
          </p:cNvPr>
          <p:cNvPicPr>
            <a:picLocks noGrp="1" noChangeAspect="1"/>
          </p:cNvPicPr>
          <p:nvPr>
            <p:ph type="pic" sz="quarter" idx="67"/>
          </p:nvPr>
        </p:nvPicPr>
        <p:blipFill>
          <a:blip r:embed="rId10">
            <a:extLst>
              <a:ext uri="{28A0092B-C50C-407E-A947-70E740481C1C}">
                <a14:useLocalDpi xmlns:a14="http://schemas.microsoft.com/office/drawing/2010/main" val="0"/>
              </a:ext>
            </a:extLst>
          </a:blip>
          <a:srcRect t="108" b="108"/>
          <a:stretch>
            <a:fillRect/>
          </a:stretch>
        </p:blipFill>
        <p:spPr/>
      </p:pic>
    </p:spTree>
    <p:extLst>
      <p:ext uri="{BB962C8B-B14F-4D97-AF65-F5344CB8AC3E}">
        <p14:creationId xmlns:p14="http://schemas.microsoft.com/office/powerpoint/2010/main" val="696970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D09E479-0D2D-42DA-8A5D-02DE969936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9" name="Object 28" hidden="1">
                        <a:extLst>
                          <a:ext uri="{FF2B5EF4-FFF2-40B4-BE49-F238E27FC236}">
                            <a16:creationId xmlns:a16="http://schemas.microsoft.com/office/drawing/2014/main" id="{4D09E479-0D2D-42DA-8A5D-02DE96993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9D5B2603-70FC-42FA-ACB0-2F611568F3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pic>
        <p:nvPicPr>
          <p:cNvPr id="32" name="Picture Placeholder 31">
            <a:extLst>
              <a:ext uri="{FF2B5EF4-FFF2-40B4-BE49-F238E27FC236}">
                <a16:creationId xmlns:a16="http://schemas.microsoft.com/office/drawing/2014/main" id="{DD8196A9-A023-48CF-98F6-69431BDF2788}"/>
              </a:ext>
            </a:extLst>
          </p:cNvPr>
          <p:cNvPicPr>
            <a:picLocks noGrp="1" noChangeAspect="1"/>
          </p:cNvPicPr>
          <p:nvPr>
            <p:ph type="pic" sz="quarter" idx="43"/>
          </p:nvPr>
        </p:nvPicPr>
        <p:blipFill>
          <a:blip r:embed="rId6" cstate="email">
            <a:extLst>
              <a:ext uri="{28A0092B-C50C-407E-A947-70E740481C1C}">
                <a14:useLocalDpi xmlns:a14="http://schemas.microsoft.com/office/drawing/2010/main"/>
              </a:ext>
            </a:extLst>
          </a:blip>
          <a:srcRect/>
          <a:stretch>
            <a:fillRect/>
          </a:stretch>
        </p:blipFill>
        <p:spPr/>
      </p:pic>
      <p:sp>
        <p:nvSpPr>
          <p:cNvPr id="16" name="Title 46">
            <a:extLst>
              <a:ext uri="{FF2B5EF4-FFF2-40B4-BE49-F238E27FC236}">
                <a16:creationId xmlns:a16="http://schemas.microsoft.com/office/drawing/2014/main" id="{79F06DFA-C90B-4648-AD42-D5DB19835B1A}"/>
              </a:ext>
            </a:extLst>
          </p:cNvPr>
          <p:cNvSpPr>
            <a:spLocks noGrp="1"/>
          </p:cNvSpPr>
          <p:nvPr>
            <p:ph type="title"/>
          </p:nvPr>
        </p:nvSpPr>
        <p:spPr>
          <a:xfrm>
            <a:off x="335490" y="386899"/>
            <a:ext cx="10601790" cy="430887"/>
          </a:xfrm>
        </p:spPr>
        <p:txBody>
          <a:bodyPr/>
          <a:lstStyle/>
          <a:p>
            <a:r>
              <a:rPr lang="en-US" sz="2800" dirty="0"/>
              <a:t>2. RESEARCH PHASES</a:t>
            </a:r>
          </a:p>
        </p:txBody>
      </p:sp>
      <p:sp>
        <p:nvSpPr>
          <p:cNvPr id="20" name="Text Placeholder 19">
            <a:extLst>
              <a:ext uri="{FF2B5EF4-FFF2-40B4-BE49-F238E27FC236}">
                <a16:creationId xmlns:a16="http://schemas.microsoft.com/office/drawing/2014/main" id="{DCDB9672-8783-41C8-878C-1077540BF60B}"/>
              </a:ext>
            </a:extLst>
          </p:cNvPr>
          <p:cNvSpPr>
            <a:spLocks noGrp="1"/>
          </p:cNvSpPr>
          <p:nvPr>
            <p:ph type="body" sz="quarter" idx="34"/>
          </p:nvPr>
        </p:nvSpPr>
        <p:spPr>
          <a:xfrm>
            <a:off x="335490" y="1071609"/>
            <a:ext cx="11504763" cy="215444"/>
          </a:xfrm>
        </p:spPr>
        <p:txBody>
          <a:bodyPr/>
          <a:lstStyle/>
          <a:p>
            <a:pPr algn="just"/>
            <a:r>
              <a:rPr lang="en-US" dirty="0"/>
              <a:t>DATA TRIANGULATION AND INSIGHT GENERATION</a:t>
            </a:r>
          </a:p>
        </p:txBody>
      </p:sp>
      <p:sp>
        <p:nvSpPr>
          <p:cNvPr id="21" name="Text Placeholder 20">
            <a:extLst>
              <a:ext uri="{FF2B5EF4-FFF2-40B4-BE49-F238E27FC236}">
                <a16:creationId xmlns:a16="http://schemas.microsoft.com/office/drawing/2014/main" id="{6D0A25D0-4456-4234-B0A4-A2CA9725B0C3}"/>
              </a:ext>
            </a:extLst>
          </p:cNvPr>
          <p:cNvSpPr>
            <a:spLocks noGrp="1"/>
          </p:cNvSpPr>
          <p:nvPr>
            <p:ph type="body" sz="quarter" idx="36"/>
          </p:nvPr>
        </p:nvSpPr>
        <p:spPr>
          <a:xfrm>
            <a:off x="335490" y="1373667"/>
            <a:ext cx="11504763" cy="1423980"/>
          </a:xfrm>
        </p:spPr>
        <p:txBody>
          <a:bodyPr/>
          <a:lstStyle/>
          <a:p>
            <a:pPr algn="just">
              <a:spcBef>
                <a:spcPts val="0"/>
              </a:spcBef>
              <a:spcAft>
                <a:spcPts val="800"/>
              </a:spcAft>
              <a:buClr>
                <a:schemeClr val="accent1"/>
              </a:buClr>
            </a:pPr>
            <a:r>
              <a:rPr lang="en-US" dirty="0"/>
              <a:t>Based on the factors (both endogenous and exogenous in nature) identified and collected during the secondary and primary phases, our in-house subject-matter experts transform the quantitative data extracted and use them to infer critical insights.</a:t>
            </a:r>
          </a:p>
          <a:p>
            <a:pPr algn="just">
              <a:spcBef>
                <a:spcPts val="0"/>
              </a:spcBef>
              <a:spcAft>
                <a:spcPts val="800"/>
              </a:spcAft>
              <a:buClr>
                <a:schemeClr val="accent1"/>
              </a:buClr>
            </a:pPr>
            <a:r>
              <a:rPr lang="en-US" dirty="0"/>
              <a:t>The market size estimations are carried out through ‘bottom-up’ and ‘top-down’ approaches. </a:t>
            </a:r>
          </a:p>
          <a:p>
            <a:pPr algn="just">
              <a:lnSpc>
                <a:spcPct val="110000"/>
              </a:lnSpc>
              <a:spcBef>
                <a:spcPts val="0"/>
              </a:spcBef>
              <a:spcAft>
                <a:spcPts val="800"/>
              </a:spcAft>
              <a:buClr>
                <a:schemeClr val="accent1"/>
              </a:buClr>
            </a:pPr>
            <a:r>
              <a:rPr lang="en-US" dirty="0"/>
              <a:t>Our top-down and bottom-up approaches are integrated into our ‘in-house model sheets’, which are used to generate the market estimates and growth rates (depending upon the historical trends of the respective markets, along with various factors, such as drivers, restraints, and recent developments in the market) of the product segment in the respective country.</a:t>
            </a:r>
          </a:p>
        </p:txBody>
      </p:sp>
      <p:sp>
        <p:nvSpPr>
          <p:cNvPr id="22" name="Text Placeholder 21">
            <a:extLst>
              <a:ext uri="{FF2B5EF4-FFF2-40B4-BE49-F238E27FC236}">
                <a16:creationId xmlns:a16="http://schemas.microsoft.com/office/drawing/2014/main" id="{34288AF9-C4FB-404B-8B7D-4285D4712A0F}"/>
              </a:ext>
            </a:extLst>
          </p:cNvPr>
          <p:cNvSpPr>
            <a:spLocks noGrp="1"/>
          </p:cNvSpPr>
          <p:nvPr>
            <p:ph type="body" sz="quarter" idx="37"/>
          </p:nvPr>
        </p:nvSpPr>
        <p:spPr>
          <a:xfrm>
            <a:off x="2195171" y="3032833"/>
            <a:ext cx="5105389" cy="1202830"/>
          </a:xfrm>
        </p:spPr>
        <p:txBody>
          <a:bodyPr/>
          <a:lstStyle/>
          <a:p>
            <a:r>
              <a:rPr lang="en-US" dirty="0"/>
              <a:t>It is a process of combining outcomes from different sources to increase the validity and reliability of the results. This process also helps strengthen conclusions about findings and reduce the risk of false interpretations. The insights obtained from both secondary and primary research are analyzed and validated by the process of data triangulation to arrive at closer estimates. </a:t>
            </a:r>
          </a:p>
        </p:txBody>
      </p:sp>
      <p:sp>
        <p:nvSpPr>
          <p:cNvPr id="23" name="Text Placeholder 22">
            <a:extLst>
              <a:ext uri="{FF2B5EF4-FFF2-40B4-BE49-F238E27FC236}">
                <a16:creationId xmlns:a16="http://schemas.microsoft.com/office/drawing/2014/main" id="{59B7852E-DAAF-49F6-9FF5-849005CB3707}"/>
              </a:ext>
            </a:extLst>
          </p:cNvPr>
          <p:cNvSpPr>
            <a:spLocks noGrp="1"/>
          </p:cNvSpPr>
          <p:nvPr>
            <p:ph type="body" sz="quarter" idx="38"/>
          </p:nvPr>
        </p:nvSpPr>
        <p:spPr>
          <a:xfrm>
            <a:off x="2182620" y="4355582"/>
            <a:ext cx="5105389" cy="796565"/>
          </a:xfrm>
        </p:spPr>
        <p:txBody>
          <a:bodyPr/>
          <a:lstStyle/>
          <a:p>
            <a:r>
              <a:rPr lang="en-US" dirty="0"/>
              <a:t>An econometric model is a simplified representation of a real-world process. Here, the tools of econometric theory are used to analyze and forecast economic phenomenon and to solve unknown quantities, such as forecast demand, supply, investment, production, consumption, etc.</a:t>
            </a:r>
          </a:p>
        </p:txBody>
      </p:sp>
      <p:sp>
        <p:nvSpPr>
          <p:cNvPr id="24" name="Text Placeholder 23">
            <a:extLst>
              <a:ext uri="{FF2B5EF4-FFF2-40B4-BE49-F238E27FC236}">
                <a16:creationId xmlns:a16="http://schemas.microsoft.com/office/drawing/2014/main" id="{467D5BA3-B1E2-4600-9C42-E00682B89DDF}"/>
              </a:ext>
            </a:extLst>
          </p:cNvPr>
          <p:cNvSpPr>
            <a:spLocks noGrp="1"/>
          </p:cNvSpPr>
          <p:nvPr>
            <p:ph type="body" sz="quarter" idx="39"/>
          </p:nvPr>
        </p:nvSpPr>
        <p:spPr>
          <a:xfrm>
            <a:off x="2182620" y="5516790"/>
            <a:ext cx="5105389" cy="593432"/>
          </a:xfrm>
        </p:spPr>
        <p:txBody>
          <a:bodyPr/>
          <a:lstStyle/>
          <a:p>
            <a:r>
              <a:rPr lang="en-US" dirty="0"/>
              <a:t>After the data is curated, analysts populate the report. From data and forecasts, insights are drawn to visualize the entire ecosystem in a single report.</a:t>
            </a:r>
          </a:p>
        </p:txBody>
      </p:sp>
      <p:sp>
        <p:nvSpPr>
          <p:cNvPr id="25" name="Text Placeholder 24">
            <a:extLst>
              <a:ext uri="{FF2B5EF4-FFF2-40B4-BE49-F238E27FC236}">
                <a16:creationId xmlns:a16="http://schemas.microsoft.com/office/drawing/2014/main" id="{93B76F65-3B22-49A8-A113-37C3B6E98E2B}"/>
              </a:ext>
            </a:extLst>
          </p:cNvPr>
          <p:cNvSpPr>
            <a:spLocks noGrp="1"/>
          </p:cNvSpPr>
          <p:nvPr>
            <p:ph type="body" sz="quarter" idx="40"/>
          </p:nvPr>
        </p:nvSpPr>
        <p:spPr/>
        <p:txBody>
          <a:bodyPr/>
          <a:lstStyle/>
          <a:p>
            <a:r>
              <a:rPr lang="en-US" dirty="0"/>
              <a:t>DATA </a:t>
            </a:r>
            <a:br>
              <a:rPr lang="en-US" dirty="0"/>
            </a:br>
            <a:r>
              <a:rPr lang="en-US" dirty="0"/>
              <a:t>TRIANGULATION </a:t>
            </a:r>
          </a:p>
        </p:txBody>
      </p:sp>
      <p:sp>
        <p:nvSpPr>
          <p:cNvPr id="26" name="Text Placeholder 25">
            <a:extLst>
              <a:ext uri="{FF2B5EF4-FFF2-40B4-BE49-F238E27FC236}">
                <a16:creationId xmlns:a16="http://schemas.microsoft.com/office/drawing/2014/main" id="{8BF1260D-D625-467C-A484-8E469A5C1B0C}"/>
              </a:ext>
            </a:extLst>
          </p:cNvPr>
          <p:cNvSpPr>
            <a:spLocks noGrp="1"/>
          </p:cNvSpPr>
          <p:nvPr>
            <p:ph type="body" sz="quarter" idx="41"/>
          </p:nvPr>
        </p:nvSpPr>
        <p:spPr/>
        <p:txBody>
          <a:bodyPr/>
          <a:lstStyle/>
          <a:p>
            <a:r>
              <a:rPr lang="en-US" dirty="0"/>
              <a:t>ECONOMETRIC MODELING </a:t>
            </a:r>
          </a:p>
        </p:txBody>
      </p:sp>
      <p:sp>
        <p:nvSpPr>
          <p:cNvPr id="27" name="Text Placeholder 26">
            <a:extLst>
              <a:ext uri="{FF2B5EF4-FFF2-40B4-BE49-F238E27FC236}">
                <a16:creationId xmlns:a16="http://schemas.microsoft.com/office/drawing/2014/main" id="{A89F19F3-BF18-4B95-BE9D-ECE33B637A77}"/>
              </a:ext>
            </a:extLst>
          </p:cNvPr>
          <p:cNvSpPr>
            <a:spLocks noGrp="1"/>
          </p:cNvSpPr>
          <p:nvPr>
            <p:ph type="body" sz="quarter" idx="42"/>
          </p:nvPr>
        </p:nvSpPr>
        <p:spPr/>
        <p:txBody>
          <a:bodyPr/>
          <a:lstStyle/>
          <a:p>
            <a:r>
              <a:rPr lang="en-US" dirty="0"/>
              <a:t>REPORT WRITING</a:t>
            </a:r>
          </a:p>
        </p:txBody>
      </p:sp>
    </p:spTree>
    <p:extLst>
      <p:ext uri="{BB962C8B-B14F-4D97-AF65-F5344CB8AC3E}">
        <p14:creationId xmlns:p14="http://schemas.microsoft.com/office/powerpoint/2010/main" val="3999606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0" y="2753842"/>
            <a:ext cx="3776134" cy="369332"/>
          </a:xfrm>
        </p:spPr>
        <p:txBody>
          <a:bodyPr vert="horz" wrap="square" lIns="0" tIns="0" rIns="0" bIns="0" rtlCol="0" anchor="b" anchorCtr="0">
            <a:spAutoFit/>
          </a:bodyPr>
          <a:lstStyle/>
          <a:p>
            <a:r>
              <a:rPr lang="en-US" sz="2400" dirty="0"/>
              <a:t>3. EXECUTIVE SUMMARY</a:t>
            </a:r>
            <a:endParaRPr lang="en-US" dirty="0"/>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Tree>
    <p:extLst>
      <p:ext uri="{BB962C8B-B14F-4D97-AF65-F5344CB8AC3E}">
        <p14:creationId xmlns:p14="http://schemas.microsoft.com/office/powerpoint/2010/main" val="3686838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815AA7D5-365B-40B0-ABDD-CFAB22693F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4" name="Object 23" hidden="1">
                        <a:extLst>
                          <a:ext uri="{FF2B5EF4-FFF2-40B4-BE49-F238E27FC236}">
                            <a16:creationId xmlns:a16="http://schemas.microsoft.com/office/drawing/2014/main" id="{815AA7D5-365B-40B0-ABDD-CFAB22693F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DDE8D6B5-25EC-4709-81A5-D9331CF603A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3" name="Title 42">
            <a:extLst>
              <a:ext uri="{FF2B5EF4-FFF2-40B4-BE49-F238E27FC236}">
                <a16:creationId xmlns:a16="http://schemas.microsoft.com/office/drawing/2014/main" id="{7B36906C-2EC7-441C-97E1-CC0831185929}"/>
              </a:ext>
            </a:extLst>
          </p:cNvPr>
          <p:cNvSpPr>
            <a:spLocks noGrp="1"/>
          </p:cNvSpPr>
          <p:nvPr>
            <p:ph type="title"/>
          </p:nvPr>
        </p:nvSpPr>
        <p:spPr/>
        <p:txBody>
          <a:bodyPr/>
          <a:lstStyle/>
          <a:p>
            <a:r>
              <a:rPr lang="en-US" dirty="0"/>
              <a:t>3. EXECUTIVE SUMMARY</a:t>
            </a:r>
          </a:p>
        </p:txBody>
      </p:sp>
      <p:sp>
        <p:nvSpPr>
          <p:cNvPr id="45" name="Text Placeholder 44">
            <a:extLst>
              <a:ext uri="{FF2B5EF4-FFF2-40B4-BE49-F238E27FC236}">
                <a16:creationId xmlns:a16="http://schemas.microsoft.com/office/drawing/2014/main" id="{4BA4DD4A-8172-422D-843B-72EFA46DB1CB}"/>
              </a:ext>
            </a:extLst>
          </p:cNvPr>
          <p:cNvSpPr>
            <a:spLocks noGrp="1"/>
          </p:cNvSpPr>
          <p:nvPr>
            <p:ph type="body" sz="quarter" idx="33"/>
          </p:nvPr>
        </p:nvSpPr>
        <p:spPr>
          <a:xfrm>
            <a:off x="6452825" y="1569162"/>
            <a:ext cx="5221511" cy="4397935"/>
          </a:xfrm>
        </p:spPr>
        <p:txBody>
          <a:bodyPr/>
          <a:lstStyle/>
          <a:p>
            <a:pPr marL="171450" indent="-171450" algn="just">
              <a:lnSpc>
                <a:spcPct val="150000"/>
              </a:lnSpc>
              <a:buSzPct val="140000"/>
              <a:buFont typeface="Wingdings" panose="05000000000000000000" pitchFamily="2" charset="2"/>
              <a:buChar char="§"/>
            </a:pPr>
            <a:r>
              <a:rPr lang="en-US" dirty="0"/>
              <a:t>The ASEAN Luxury Vinyl tile market (henceforth, referred to as the market studied) was valued at USD XX billion in 2020, and it is expected to reach USD XX billion by 2026, registering a CAGR of XX%, during the period, 2020-2026.</a:t>
            </a:r>
          </a:p>
          <a:p>
            <a:pPr marL="171450" indent="-171450" algn="just">
              <a:lnSpc>
                <a:spcPct val="150000"/>
              </a:lnSpc>
              <a:buSzPct val="140000"/>
              <a:buFont typeface="Wingdings" panose="05000000000000000000" pitchFamily="2" charset="2"/>
              <a:buChar char="§"/>
            </a:pPr>
            <a:r>
              <a:rPr lang="en-US" dirty="0"/>
              <a:t>Luxury vinyl tiles (LVT) flooring is a product that looks like real wood and stone flooring but provides many more benefits such as flexibility to create its own design, sustain the wear and tear of daily life, waterproof and requires very less maintenance. </a:t>
            </a:r>
          </a:p>
          <a:p>
            <a:pPr marL="171450" indent="-171450" algn="just">
              <a:lnSpc>
                <a:spcPct val="150000"/>
              </a:lnSpc>
              <a:buSzPct val="140000"/>
              <a:buFont typeface="Wingdings" panose="05000000000000000000" pitchFamily="2" charset="2"/>
              <a:buChar char="§"/>
            </a:pPr>
            <a:r>
              <a:rPr lang="en-US" dirty="0"/>
              <a:t>Luxury vinyl tiles (LVT) flooring is done in different places such as residential houses, offices, supermarkets, hypermarkets, hospitals, and institutions to give an aesthetic appearance to the application.</a:t>
            </a:r>
          </a:p>
          <a:p>
            <a:pPr marL="171450" indent="-171450" algn="just">
              <a:lnSpc>
                <a:spcPct val="150000"/>
              </a:lnSpc>
              <a:buSzPct val="140000"/>
              <a:buFont typeface="Wingdings" panose="05000000000000000000" pitchFamily="2" charset="2"/>
              <a:buChar char="§"/>
            </a:pPr>
            <a:r>
              <a:rPr lang="en-US" dirty="0"/>
              <a:t>Economic development and substantial infrastructure development have constituted regional revenue generation. Further, the patterns associated with domestic production, import and export, and consumption have helped market participants to analyze and capitalize on potential opportunities.</a:t>
            </a:r>
          </a:p>
        </p:txBody>
      </p:sp>
      <p:sp>
        <p:nvSpPr>
          <p:cNvPr id="55" name="Text Placeholder 54">
            <a:extLst>
              <a:ext uri="{FF2B5EF4-FFF2-40B4-BE49-F238E27FC236}">
                <a16:creationId xmlns:a16="http://schemas.microsoft.com/office/drawing/2014/main" id="{2399C618-4277-4B7B-A6BB-D682A507CFB7}"/>
              </a:ext>
            </a:extLst>
          </p:cNvPr>
          <p:cNvSpPr>
            <a:spLocks noGrp="1"/>
          </p:cNvSpPr>
          <p:nvPr>
            <p:ph type="body" sz="quarter" idx="43"/>
          </p:nvPr>
        </p:nvSpPr>
        <p:spPr>
          <a:xfrm>
            <a:off x="289561" y="6153423"/>
            <a:ext cx="10193470" cy="156005"/>
          </a:xfrm>
        </p:spPr>
        <p:txBody>
          <a:bodyPr/>
          <a:lstStyle/>
          <a:p>
            <a:r>
              <a:rPr lang="en-US" dirty="0"/>
              <a:t>SOURCE: Mordor Intelligence</a:t>
            </a:r>
          </a:p>
        </p:txBody>
      </p:sp>
      <p:sp>
        <p:nvSpPr>
          <p:cNvPr id="56" name="Text Placeholder 55">
            <a:extLst>
              <a:ext uri="{FF2B5EF4-FFF2-40B4-BE49-F238E27FC236}">
                <a16:creationId xmlns:a16="http://schemas.microsoft.com/office/drawing/2014/main" id="{C991C728-E2B1-47A1-9CD7-C5DF6248FA93}"/>
              </a:ext>
            </a:extLst>
          </p:cNvPr>
          <p:cNvSpPr>
            <a:spLocks noGrp="1"/>
          </p:cNvSpPr>
          <p:nvPr>
            <p:ph type="body" sz="quarter" idx="44"/>
          </p:nvPr>
        </p:nvSpPr>
        <p:spPr>
          <a:xfrm>
            <a:off x="419010" y="1425008"/>
            <a:ext cx="5604163" cy="184666"/>
          </a:xfrm>
        </p:spPr>
        <p:txBody>
          <a:bodyPr/>
          <a:lstStyle/>
          <a:p>
            <a:r>
              <a:rPr lang="en-US" dirty="0"/>
              <a:t>ASEAN Luxury vinyl tile (LVT) market</a:t>
            </a:r>
          </a:p>
        </p:txBody>
      </p:sp>
      <p:graphicFrame>
        <p:nvGraphicFramePr>
          <p:cNvPr id="62" name="Chart Placeholder 61">
            <a:extLst>
              <a:ext uri="{FF2B5EF4-FFF2-40B4-BE49-F238E27FC236}">
                <a16:creationId xmlns:a16="http://schemas.microsoft.com/office/drawing/2014/main" id="{987E9E27-786E-4EBD-B30E-6F3F0869CE40}"/>
              </a:ext>
            </a:extLst>
          </p:cNvPr>
          <p:cNvGraphicFramePr>
            <a:graphicFrameLocks noGrp="1"/>
          </p:cNvGraphicFramePr>
          <p:nvPr>
            <p:ph type="chart" sz="quarter" idx="45"/>
            <p:extLst>
              <p:ext uri="{D42A27DB-BD31-4B8C-83A1-F6EECF244321}">
                <p14:modId xmlns:p14="http://schemas.microsoft.com/office/powerpoint/2010/main" val="272903970"/>
              </p:ext>
            </p:extLst>
          </p:nvPr>
        </p:nvGraphicFramePr>
        <p:xfrm>
          <a:off x="419100" y="2896905"/>
          <a:ext cx="5603875" cy="3032895"/>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54025605-DB3F-465C-8225-52FFFB7173BB}"/>
              </a:ext>
            </a:extLst>
          </p:cNvPr>
          <p:cNvSpPr>
            <a:spLocks noGrp="1"/>
          </p:cNvSpPr>
          <p:nvPr>
            <p:ph type="body" sz="quarter" idx="46"/>
          </p:nvPr>
        </p:nvSpPr>
        <p:spPr>
          <a:xfrm>
            <a:off x="419010" y="1665138"/>
            <a:ext cx="5604163" cy="184666"/>
          </a:xfrm>
        </p:spPr>
        <p:txBody>
          <a:bodyPr/>
          <a:lstStyle/>
          <a:p>
            <a:r>
              <a:rPr lang="en-US" dirty="0"/>
              <a:t>Revenue in USD billion, ASEAN, 2017-2026</a:t>
            </a:r>
          </a:p>
        </p:txBody>
      </p:sp>
      <p:sp>
        <p:nvSpPr>
          <p:cNvPr id="78" name="Freeform: Shape 77">
            <a:extLst>
              <a:ext uri="{FF2B5EF4-FFF2-40B4-BE49-F238E27FC236}">
                <a16:creationId xmlns:a16="http://schemas.microsoft.com/office/drawing/2014/main" id="{1F7D7241-6A7F-4551-87D2-CA54718363E7}"/>
              </a:ext>
            </a:extLst>
          </p:cNvPr>
          <p:cNvSpPr/>
          <p:nvPr/>
        </p:nvSpPr>
        <p:spPr>
          <a:xfrm>
            <a:off x="3151163" y="2506459"/>
            <a:ext cx="2588014" cy="1026842"/>
          </a:xfrm>
          <a:custGeom>
            <a:avLst/>
            <a:gdLst>
              <a:gd name="connsiteX0" fmla="*/ 0 w 4542971"/>
              <a:gd name="connsiteY0" fmla="*/ 899885 h 899885"/>
              <a:gd name="connsiteX1" fmla="*/ 0 w 4542971"/>
              <a:gd name="connsiteY1" fmla="*/ 0 h 899885"/>
              <a:gd name="connsiteX2" fmla="*/ 4542971 w 4542971"/>
              <a:gd name="connsiteY2" fmla="*/ 0 h 899885"/>
              <a:gd name="connsiteX3" fmla="*/ 4542971 w 4542971"/>
              <a:gd name="connsiteY3" fmla="*/ 145142 h 899885"/>
              <a:gd name="connsiteX0" fmla="*/ 0 w 4542971"/>
              <a:gd name="connsiteY0" fmla="*/ 899885 h 899885"/>
              <a:gd name="connsiteX1" fmla="*/ 0 w 4542971"/>
              <a:gd name="connsiteY1" fmla="*/ 0 h 899885"/>
              <a:gd name="connsiteX2" fmla="*/ 4542971 w 4542971"/>
              <a:gd name="connsiteY2" fmla="*/ 0 h 899885"/>
              <a:gd name="connsiteX3" fmla="*/ 4538391 w 4542971"/>
              <a:gd name="connsiteY3" fmla="*/ 458167 h 899885"/>
            </a:gdLst>
            <a:ahLst/>
            <a:cxnLst>
              <a:cxn ang="0">
                <a:pos x="connsiteX0" y="connsiteY0"/>
              </a:cxn>
              <a:cxn ang="0">
                <a:pos x="connsiteX1" y="connsiteY1"/>
              </a:cxn>
              <a:cxn ang="0">
                <a:pos x="connsiteX2" y="connsiteY2"/>
              </a:cxn>
              <a:cxn ang="0">
                <a:pos x="connsiteX3" y="connsiteY3"/>
              </a:cxn>
            </a:cxnLst>
            <a:rect l="l" t="t" r="r" b="b"/>
            <a:pathLst>
              <a:path w="4542971" h="899885">
                <a:moveTo>
                  <a:pt x="0" y="899885"/>
                </a:moveTo>
                <a:lnTo>
                  <a:pt x="0" y="0"/>
                </a:lnTo>
                <a:lnTo>
                  <a:pt x="4542971" y="0"/>
                </a:lnTo>
                <a:cubicBezTo>
                  <a:pt x="4542971" y="48381"/>
                  <a:pt x="4538391" y="409786"/>
                  <a:pt x="4538391" y="458167"/>
                </a:cubicBezTo>
              </a:path>
            </a:pathLst>
          </a:custGeom>
          <a:noFill/>
          <a:ln>
            <a:solidFill>
              <a:schemeClr val="accent6"/>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 name="Group 78">
            <a:extLst>
              <a:ext uri="{FF2B5EF4-FFF2-40B4-BE49-F238E27FC236}">
                <a16:creationId xmlns:a16="http://schemas.microsoft.com/office/drawing/2014/main" id="{73D06599-9A33-4C9F-98F3-9843D19BB8E0}"/>
              </a:ext>
            </a:extLst>
          </p:cNvPr>
          <p:cNvGrpSpPr/>
          <p:nvPr/>
        </p:nvGrpSpPr>
        <p:grpSpPr>
          <a:xfrm>
            <a:off x="4107362" y="2087139"/>
            <a:ext cx="914400" cy="914400"/>
            <a:chOff x="2525485" y="1897334"/>
            <a:chExt cx="914400" cy="914400"/>
          </a:xfrm>
        </p:grpSpPr>
        <p:sp>
          <p:nvSpPr>
            <p:cNvPr id="80" name="Oval 79">
              <a:extLst>
                <a:ext uri="{FF2B5EF4-FFF2-40B4-BE49-F238E27FC236}">
                  <a16:creationId xmlns:a16="http://schemas.microsoft.com/office/drawing/2014/main" id="{3A850584-73EC-4E45-8C7E-E9B19A100069}"/>
                </a:ext>
              </a:extLst>
            </p:cNvPr>
            <p:cNvSpPr/>
            <p:nvPr/>
          </p:nvSpPr>
          <p:spPr>
            <a:xfrm>
              <a:off x="2525485" y="1897334"/>
              <a:ext cx="914400" cy="914400"/>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81">
              <a:extLst>
                <a:ext uri="{FF2B5EF4-FFF2-40B4-BE49-F238E27FC236}">
                  <a16:creationId xmlns:a16="http://schemas.microsoft.com/office/drawing/2014/main" id="{7D6B112E-4555-4BFA-B347-4CF129124F70}"/>
                </a:ext>
              </a:extLst>
            </p:cNvPr>
            <p:cNvSpPr/>
            <p:nvPr/>
          </p:nvSpPr>
          <p:spPr>
            <a:xfrm>
              <a:off x="2743791" y="2436155"/>
              <a:ext cx="477788" cy="184666"/>
            </a:xfrm>
            <a:prstGeom prst="rect">
              <a:avLst/>
            </a:prstGeom>
            <a:solidFill>
              <a:schemeClr val="bg1"/>
            </a:solidFill>
          </p:spPr>
          <p:txBody>
            <a:bodyPr wrap="square" lIns="0" tIns="0" rIns="0" bIns="0" anchor="ctr">
              <a:spAutoFit/>
            </a:bodyPr>
            <a:lstStyle/>
            <a:p>
              <a:pPr algn="ctr">
                <a:spcAft>
                  <a:spcPts val="500"/>
                </a:spcAft>
              </a:pPr>
              <a:r>
                <a:rPr lang="en-US" sz="1200" dirty="0"/>
                <a:t>CAGR</a:t>
              </a:r>
            </a:p>
          </p:txBody>
        </p:sp>
        <p:sp>
          <p:nvSpPr>
            <p:cNvPr id="83" name="Rectangle 82">
              <a:extLst>
                <a:ext uri="{FF2B5EF4-FFF2-40B4-BE49-F238E27FC236}">
                  <a16:creationId xmlns:a16="http://schemas.microsoft.com/office/drawing/2014/main" id="{A5D0C289-6C83-47C4-A9AA-6496916E114B}"/>
                </a:ext>
              </a:extLst>
            </p:cNvPr>
            <p:cNvSpPr/>
            <p:nvPr/>
          </p:nvSpPr>
          <p:spPr>
            <a:xfrm>
              <a:off x="2664717" y="2109806"/>
              <a:ext cx="635936" cy="307777"/>
            </a:xfrm>
            <a:prstGeom prst="rect">
              <a:avLst/>
            </a:prstGeom>
            <a:noFill/>
          </p:spPr>
          <p:txBody>
            <a:bodyPr wrap="square" lIns="0" tIns="0" rIns="0" bIns="0" anchor="ctr">
              <a:spAutoFit/>
            </a:bodyPr>
            <a:lstStyle/>
            <a:p>
              <a:pPr algn="ctr">
                <a:spcAft>
                  <a:spcPts val="500"/>
                </a:spcAft>
              </a:pPr>
              <a:r>
                <a:rPr lang="en-US" sz="2000" b="1" dirty="0">
                  <a:solidFill>
                    <a:schemeClr val="accent6"/>
                  </a:solidFill>
                </a:rPr>
                <a:t>XX%</a:t>
              </a:r>
            </a:p>
          </p:txBody>
        </p:sp>
      </p:grpSp>
      <p:sp>
        <p:nvSpPr>
          <p:cNvPr id="25" name="Rectangle: Rounded Corners 24">
            <a:extLst>
              <a:ext uri="{FF2B5EF4-FFF2-40B4-BE49-F238E27FC236}">
                <a16:creationId xmlns:a16="http://schemas.microsoft.com/office/drawing/2014/main" id="{7D590A39-00A6-4A88-94A9-F8EFD1CA3437}"/>
              </a:ext>
            </a:extLst>
          </p:cNvPr>
          <p:cNvSpPr/>
          <p:nvPr/>
        </p:nvSpPr>
        <p:spPr>
          <a:xfrm>
            <a:off x="2826146" y="4404578"/>
            <a:ext cx="1466953" cy="3743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SAMPLE FIGURE</a:t>
            </a:r>
          </a:p>
        </p:txBody>
      </p:sp>
    </p:spTree>
    <p:extLst>
      <p:ext uri="{BB962C8B-B14F-4D97-AF65-F5344CB8AC3E}">
        <p14:creationId xmlns:p14="http://schemas.microsoft.com/office/powerpoint/2010/main" val="14598381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133350" y="2403560"/>
            <a:ext cx="3776134" cy="738664"/>
          </a:xfrm>
        </p:spPr>
        <p:txBody>
          <a:bodyPr vert="horz" wrap="square" lIns="0" tIns="0" rIns="0" bIns="0" rtlCol="0" anchor="b" anchorCtr="0">
            <a:spAutoFit/>
          </a:bodyPr>
          <a:lstStyle/>
          <a:p>
            <a:r>
              <a:rPr lang="en-US" sz="2400" dirty="0"/>
              <a:t>4. MARKET INSIGHTS AND DYNAMICS</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Content Placeholder 4">
            <a:extLst>
              <a:ext uri="{FF2B5EF4-FFF2-40B4-BE49-F238E27FC236}">
                <a16:creationId xmlns:a16="http://schemas.microsoft.com/office/drawing/2014/main" id="{95A4A255-E106-4D56-A1A3-249A5312EE27}"/>
              </a:ext>
            </a:extLst>
          </p:cNvPr>
          <p:cNvSpPr>
            <a:spLocks noGrp="1"/>
          </p:cNvSpPr>
          <p:nvPr>
            <p:ph idx="22"/>
          </p:nvPr>
        </p:nvSpPr>
        <p:spPr>
          <a:xfrm>
            <a:off x="133350" y="3327801"/>
            <a:ext cx="3363137" cy="1684307"/>
          </a:xfrm>
        </p:spPr>
        <p:txBody>
          <a:bodyPr/>
          <a:lstStyle/>
          <a:p>
            <a:pPr marL="246888" indent="-246888">
              <a:lnSpc>
                <a:spcPct val="150000"/>
              </a:lnSpc>
              <a:spcBef>
                <a:spcPts val="0"/>
              </a:spcBef>
              <a:spcAft>
                <a:spcPts val="300"/>
              </a:spcAft>
              <a:buClrTx/>
              <a:defRPr/>
            </a:pPr>
            <a:r>
              <a:rPr lang="en-US" sz="1100" b="1" cap="none" dirty="0"/>
              <a:t>4.1 Market Overview</a:t>
            </a:r>
          </a:p>
          <a:p>
            <a:pPr marL="246888" indent="-246888">
              <a:lnSpc>
                <a:spcPct val="150000"/>
              </a:lnSpc>
              <a:spcBef>
                <a:spcPts val="0"/>
              </a:spcBef>
              <a:spcAft>
                <a:spcPts val="300"/>
              </a:spcAft>
              <a:buClrTx/>
              <a:defRPr/>
            </a:pPr>
            <a:r>
              <a:rPr lang="en-US" sz="1100" b="1" cap="none" dirty="0"/>
              <a:t>4.2 Market Drivers</a:t>
            </a:r>
          </a:p>
          <a:p>
            <a:pPr marL="246888" indent="-246888">
              <a:lnSpc>
                <a:spcPct val="150000"/>
              </a:lnSpc>
              <a:spcBef>
                <a:spcPts val="0"/>
              </a:spcBef>
              <a:spcAft>
                <a:spcPts val="300"/>
              </a:spcAft>
              <a:buClrTx/>
              <a:defRPr/>
            </a:pPr>
            <a:r>
              <a:rPr lang="en-US" sz="1100" b="1" cap="none" dirty="0"/>
              <a:t>4.3 Market Restraints</a:t>
            </a:r>
          </a:p>
          <a:p>
            <a:pPr marL="246888" indent="-246888">
              <a:lnSpc>
                <a:spcPct val="150000"/>
              </a:lnSpc>
              <a:spcBef>
                <a:spcPts val="0"/>
              </a:spcBef>
              <a:spcAft>
                <a:spcPts val="300"/>
              </a:spcAft>
              <a:buClrTx/>
              <a:defRPr/>
            </a:pPr>
            <a:r>
              <a:rPr lang="en-US" b="1" dirty="0"/>
              <a:t>4.4 </a:t>
            </a:r>
            <a:r>
              <a:rPr lang="en-US" sz="1100" b="1" cap="none" dirty="0"/>
              <a:t>Value Chain Analysis </a:t>
            </a:r>
          </a:p>
          <a:p>
            <a:pPr marL="246888" indent="-246888">
              <a:lnSpc>
                <a:spcPct val="150000"/>
              </a:lnSpc>
              <a:spcBef>
                <a:spcPts val="0"/>
              </a:spcBef>
              <a:spcAft>
                <a:spcPts val="300"/>
              </a:spcAft>
              <a:buClrTx/>
              <a:defRPr/>
            </a:pPr>
            <a:r>
              <a:rPr lang="en-US" sz="1100" b="1" cap="none" dirty="0"/>
              <a:t>4.5 Porter's Five Forces Analysis</a:t>
            </a:r>
          </a:p>
          <a:p>
            <a:pPr marL="246888" indent="-246888">
              <a:lnSpc>
                <a:spcPct val="150000"/>
              </a:lnSpc>
              <a:spcBef>
                <a:spcPts val="0"/>
              </a:spcBef>
              <a:spcAft>
                <a:spcPts val="300"/>
              </a:spcAft>
              <a:buClrTx/>
              <a:defRPr/>
            </a:pPr>
            <a:r>
              <a:rPr lang="en-US" sz="1100" b="1" cap="none" dirty="0"/>
              <a:t>4.6 Impact of COVID- 19 on the Market</a:t>
            </a:r>
          </a:p>
        </p:txBody>
      </p:sp>
    </p:spTree>
    <p:extLst>
      <p:ext uri="{BB962C8B-B14F-4D97-AF65-F5344CB8AC3E}">
        <p14:creationId xmlns:p14="http://schemas.microsoft.com/office/powerpoint/2010/main" val="1990772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7F50C2A-E214-4571-B145-61113A58F2EE}"/>
              </a:ext>
            </a:extLst>
          </p:cNvPr>
          <p:cNvSpPr>
            <a:spLocks noGrp="1"/>
          </p:cNvSpPr>
          <p:nvPr>
            <p:ph type="title"/>
          </p:nvPr>
        </p:nvSpPr>
        <p:spPr>
          <a:xfrm>
            <a:off x="335490" y="386899"/>
            <a:ext cx="11504762" cy="400110"/>
          </a:xfrm>
        </p:spPr>
        <p:txBody>
          <a:bodyPr/>
          <a:lstStyle/>
          <a:p>
            <a:r>
              <a:rPr lang="en-US" dirty="0"/>
              <a:t>4.1 market overview</a:t>
            </a:r>
            <a:endParaRPr lang="en-IN" dirty="0"/>
          </a:p>
        </p:txBody>
      </p:sp>
      <p:sp>
        <p:nvSpPr>
          <p:cNvPr id="9" name="Content Placeholder 8">
            <a:extLst>
              <a:ext uri="{FF2B5EF4-FFF2-40B4-BE49-F238E27FC236}">
                <a16:creationId xmlns:a16="http://schemas.microsoft.com/office/drawing/2014/main" id="{4D5BFC92-369C-4C37-BE45-C936CAB003DA}"/>
              </a:ext>
            </a:extLst>
          </p:cNvPr>
          <p:cNvSpPr>
            <a:spLocks noGrp="1"/>
          </p:cNvSpPr>
          <p:nvPr>
            <p:ph sz="quarter" idx="4294967295"/>
          </p:nvPr>
        </p:nvSpPr>
        <p:spPr>
          <a:xfrm>
            <a:off x="2973" y="998038"/>
            <a:ext cx="11837279" cy="5721503"/>
          </a:xfrm>
        </p:spPr>
        <p:txBody>
          <a:bodyPr/>
          <a:lstStyle/>
          <a:p>
            <a:pPr marL="246888" indent="-246888" algn="just">
              <a:lnSpc>
                <a:spcPct val="150000"/>
              </a:lnSpc>
              <a:spcBef>
                <a:spcPts val="0"/>
              </a:spcBef>
              <a:buClr>
                <a:schemeClr val="accent1"/>
              </a:buClr>
              <a:buFontTx/>
              <a:buChar char="■"/>
            </a:pPr>
            <a:r>
              <a:rPr lang="en-US" sz="1200" dirty="0"/>
              <a:t>Luxury vinyl tiles (LVT) flooring is a product that looks like real wood and stone flooring but provides many more benefits such as flexibility to create its own design, sustain the wear and tear of daily life, waterproof and requires very less maintenance. </a:t>
            </a:r>
          </a:p>
          <a:p>
            <a:pPr marL="246888" indent="-246888" algn="just">
              <a:lnSpc>
                <a:spcPct val="150000"/>
              </a:lnSpc>
              <a:spcBef>
                <a:spcPts val="0"/>
              </a:spcBef>
              <a:buClr>
                <a:schemeClr val="accent1"/>
              </a:buClr>
              <a:buFontTx/>
              <a:buChar char="■"/>
            </a:pPr>
            <a:r>
              <a:rPr lang="en-US" sz="1200" dirty="0"/>
              <a:t>Luxury vinyl tiles (LVT) flooring is done in different places such as residential houses, offices, supermarkets, hypermarkets, hospitals, and institutions to give an aesthetic appearance to the application.</a:t>
            </a:r>
          </a:p>
          <a:p>
            <a:pPr marL="246888" indent="-246888" algn="just">
              <a:lnSpc>
                <a:spcPct val="150000"/>
              </a:lnSpc>
              <a:spcBef>
                <a:spcPts val="0"/>
              </a:spcBef>
              <a:buClr>
                <a:schemeClr val="accent1"/>
              </a:buClr>
              <a:buFontTx/>
              <a:buChar char="■"/>
            </a:pPr>
            <a:r>
              <a:rPr lang="en-US" sz="1200" dirty="0"/>
              <a:t>Economic development and substantial infrastructure development have constituted regional revenue generation. Further, the patterns associated with domestic production, import and export, and consumption have helped market participants to analyze and capitalize on potential opportunities.</a:t>
            </a:r>
          </a:p>
          <a:p>
            <a:pPr marL="247650" indent="-247650" algn="just">
              <a:lnSpc>
                <a:spcPct val="150000"/>
              </a:lnSpc>
              <a:buClr>
                <a:srgbClr val="54B8BD"/>
              </a:buClr>
              <a:buFontTx/>
              <a:buChar char="■"/>
            </a:pPr>
            <a:r>
              <a:rPr lang="en-US" sz="1200" dirty="0"/>
              <a:t>In this region, LVT is sold to homeowners and to contractors for condominium and large-scale property development projects, such as office/shopping complexes. Architects and interior designers often influence customer choices for ceramic tile products in the country.</a:t>
            </a:r>
          </a:p>
          <a:p>
            <a:pPr marL="247650" indent="-247650" algn="just">
              <a:lnSpc>
                <a:spcPct val="150000"/>
              </a:lnSpc>
              <a:buClr>
                <a:srgbClr val="54B8BD"/>
              </a:buClr>
              <a:buFontTx/>
              <a:buChar char="■"/>
            </a:pPr>
            <a:r>
              <a:rPr lang="en-US" sz="1200" dirty="0"/>
              <a:t>Thailand, Malaysia, and Indonesia have some of the largest and most successful tile manufacturers, who are constantly innovating in terms of product offerings in the country, which is expected to further fuel the demand for LVT in the region in upcoming years. </a:t>
            </a:r>
          </a:p>
          <a:p>
            <a:pPr marL="247650" indent="-247650" algn="just">
              <a:lnSpc>
                <a:spcPct val="150000"/>
              </a:lnSpc>
              <a:buClr>
                <a:srgbClr val="54B8BD"/>
              </a:buClr>
              <a:buFontTx/>
              <a:buChar char="■"/>
            </a:pPr>
            <a:r>
              <a:rPr lang="en-US" sz="1200" dirty="0"/>
              <a:t>The growth will be supported by increasing urbanization and mounting disposable income. The productive forces behind such an extravagant jump include tremendous growth of tile trade between ASEAN countries, which affords regional countries the possibility to establish itself as the regional hub in the area.</a:t>
            </a:r>
          </a:p>
          <a:p>
            <a:pPr marL="247650" indent="-247650" algn="just">
              <a:lnSpc>
                <a:spcPct val="150000"/>
              </a:lnSpc>
              <a:buClr>
                <a:srgbClr val="54B8BD"/>
              </a:buClr>
              <a:buFontTx/>
              <a:buChar char="■"/>
            </a:pPr>
            <a:r>
              <a:rPr lang="en-US" sz="1200" dirty="0"/>
              <a:t>Vinyl flooring is less environmentally friendly than its non-resilient counterparts because it emits VOCs and is difficult to recycle.</a:t>
            </a:r>
          </a:p>
          <a:p>
            <a:pPr marL="247650" indent="-247650" algn="just">
              <a:lnSpc>
                <a:spcPct val="150000"/>
              </a:lnSpc>
              <a:buClr>
                <a:srgbClr val="54B8BD"/>
              </a:buClr>
              <a:buFontTx/>
              <a:buChar char="■"/>
            </a:pPr>
            <a:r>
              <a:rPr lang="en-US" sz="1200" dirty="0"/>
              <a:t>COVID-19 has shaken ASEAN economies and changed market scenario. It has negatively impacted the ASEAN Luxury Vinyl Tile (LVT) Market. Accordingly, this segment has took the greatest hit in 2020. There was some concern that transactions would be halted due to manufacturing industries shutting down due to Coronavirus, restricted the construction of housing and building projects and the lockdown restrictions have limited the new purchases of LVT flooring and the outbreak is expected to continue to have a negative impact on businesses throughout 2020 and into 2021.</a:t>
            </a:r>
          </a:p>
          <a:p>
            <a:pPr marL="247650" indent="-247650" algn="just">
              <a:lnSpc>
                <a:spcPct val="150000"/>
              </a:lnSpc>
              <a:buClr>
                <a:srgbClr val="54B8BD"/>
              </a:buClr>
              <a:buFontTx/>
              <a:buChar char="■"/>
            </a:pPr>
            <a:endParaRPr lang="en-US" sz="1200" b="0" i="0" dirty="0">
              <a:solidFill>
                <a:srgbClr val="13293D"/>
              </a:solidFill>
              <a:effectLst/>
              <a:latin typeface="regular_medium"/>
            </a:endParaRPr>
          </a:p>
        </p:txBody>
      </p:sp>
      <p:sp>
        <p:nvSpPr>
          <p:cNvPr id="8" name="Text Placeholder 7">
            <a:extLst>
              <a:ext uri="{FF2B5EF4-FFF2-40B4-BE49-F238E27FC236}">
                <a16:creationId xmlns:a16="http://schemas.microsoft.com/office/drawing/2014/main" id="{E2BE0D7F-90F7-4885-AF1E-D728291E0EC0}"/>
              </a:ext>
            </a:extLst>
          </p:cNvPr>
          <p:cNvSpPr>
            <a:spLocks noGrp="1"/>
          </p:cNvSpPr>
          <p:nvPr>
            <p:ph type="body" sz="quarter" idx="41"/>
          </p:nvPr>
        </p:nvSpPr>
        <p:spPr>
          <a:xfrm>
            <a:off x="335490" y="174600"/>
            <a:ext cx="10601790" cy="138499"/>
          </a:xfrm>
        </p:spPr>
        <p:txBody>
          <a:bodyPr/>
          <a:lstStyle/>
          <a:p>
            <a:r>
              <a:rPr lang="en-US" dirty="0">
                <a:solidFill>
                  <a:prstClr val="white"/>
                </a:solidFill>
                <a:latin typeface="Lato Black" panose="020F0502020204030203"/>
              </a:rPr>
              <a:t>4. MARKET insights and Dynamics</a:t>
            </a:r>
            <a:endParaRPr lang="en-IN" dirty="0"/>
          </a:p>
        </p:txBody>
      </p:sp>
    </p:spTree>
    <p:extLst>
      <p:ext uri="{BB962C8B-B14F-4D97-AF65-F5344CB8AC3E}">
        <p14:creationId xmlns:p14="http://schemas.microsoft.com/office/powerpoint/2010/main" val="3135588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7F50C2A-E214-4571-B145-61113A58F2EE}"/>
              </a:ext>
            </a:extLst>
          </p:cNvPr>
          <p:cNvSpPr>
            <a:spLocks noGrp="1"/>
          </p:cNvSpPr>
          <p:nvPr>
            <p:ph type="title"/>
          </p:nvPr>
        </p:nvSpPr>
        <p:spPr>
          <a:xfrm>
            <a:off x="335490" y="386899"/>
            <a:ext cx="11504762" cy="400110"/>
          </a:xfrm>
        </p:spPr>
        <p:txBody>
          <a:bodyPr/>
          <a:lstStyle/>
          <a:p>
            <a:r>
              <a:rPr lang="en-US" dirty="0"/>
              <a:t>4.1 market overview</a:t>
            </a:r>
            <a:endParaRPr lang="en-IN" dirty="0"/>
          </a:p>
        </p:txBody>
      </p:sp>
      <p:sp>
        <p:nvSpPr>
          <p:cNvPr id="9" name="Content Placeholder 8">
            <a:extLst>
              <a:ext uri="{FF2B5EF4-FFF2-40B4-BE49-F238E27FC236}">
                <a16:creationId xmlns:a16="http://schemas.microsoft.com/office/drawing/2014/main" id="{4D5BFC92-369C-4C37-BE45-C936CAB003DA}"/>
              </a:ext>
            </a:extLst>
          </p:cNvPr>
          <p:cNvSpPr>
            <a:spLocks noGrp="1"/>
          </p:cNvSpPr>
          <p:nvPr>
            <p:ph sz="quarter" idx="4294967295"/>
          </p:nvPr>
        </p:nvSpPr>
        <p:spPr>
          <a:xfrm>
            <a:off x="159900" y="1050549"/>
            <a:ext cx="11877425" cy="4568751"/>
          </a:xfrm>
        </p:spPr>
        <p:txBody>
          <a:bodyPr/>
          <a:lstStyle/>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Luxury vinyl tiles (LVT) enhances the aesthetic appeal of a building, along with properties such as durability, comfort, and protection from extreme weather conditions. These factors are projected to drive the residential and commercial sectors during the forecast period.</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The use of LVT flooring solutions in residential and commercial buildings also enhances the aesthetic appeal and provides durability and comfort. Luxury vinyl tiles are preferred for bathrooms, kitchens, laundry rooms, and basements, due to their waterproof features in residential buildings. Further, LVTs don't trap dust and pet dander in the bedrooms. </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Practical, hygienic, and highly durable, LVT is a flooring product that's ideal for commercial spaces.</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LVT is resistant to marks and scuffs - particularly when made with a UV-cured coating. While durability is always a consideration when selecting a flooring material, it’s an absolute must for high-traffic applications such as airport terminals, schools, hospitals, and restaurants. All these factors are projected to drive the demand for LVT flooring solutions in the residential sector.</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Vinyl flooring is available in the form of sheets, tiles, and planks having impact resistance and easy maintenance, thus used for construction and renovation applications of houses. Low cost, availability in wide range of sizes, colors, patterns, and texture has raised its demand for constructing floor of different areas of homes such as kitchen, bathrooms laundry area, and others.</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Rising influence of designers and architects for the use of vinyl flooring in commercial application is expected to boost product demand. Easy cleaning and sterilization and stylish designs and slip &amp; water resistance offered by these products are likely to propel their demand in commercial application over the projected period.</a:t>
            </a:r>
          </a:p>
          <a:p>
            <a:pPr marL="246888" indent="-246888" algn="just">
              <a:lnSpc>
                <a:spcPct val="140000"/>
              </a:lnSpc>
              <a:spcBef>
                <a:spcPts val="0"/>
              </a:spcBef>
              <a:spcAft>
                <a:spcPts val="600"/>
              </a:spcAft>
              <a:buClr>
                <a:schemeClr val="accent1"/>
              </a:buClr>
              <a:buSzPct val="125000"/>
              <a:buFont typeface="Wingdings" panose="05000000000000000000" pitchFamily="2" charset="2"/>
              <a:buChar char="n"/>
              <a:defRPr/>
            </a:pPr>
            <a:r>
              <a:rPr lang="en-US" sz="1200" dirty="0"/>
              <a:t>In terms of market share, few of the major players currently dominate the market. However, with technological advancement and product innovation, mid-size to smaller companies are increasing their market presence by securing new contracts and tapping new markets.</a:t>
            </a:r>
          </a:p>
        </p:txBody>
      </p:sp>
      <p:sp>
        <p:nvSpPr>
          <p:cNvPr id="8" name="Text Placeholder 7">
            <a:extLst>
              <a:ext uri="{FF2B5EF4-FFF2-40B4-BE49-F238E27FC236}">
                <a16:creationId xmlns:a16="http://schemas.microsoft.com/office/drawing/2014/main" id="{E2BE0D7F-90F7-4885-AF1E-D728291E0EC0}"/>
              </a:ext>
            </a:extLst>
          </p:cNvPr>
          <p:cNvSpPr>
            <a:spLocks noGrp="1"/>
          </p:cNvSpPr>
          <p:nvPr>
            <p:ph type="body" sz="quarter" idx="41"/>
          </p:nvPr>
        </p:nvSpPr>
        <p:spPr>
          <a:xfrm>
            <a:off x="335490" y="174600"/>
            <a:ext cx="10601790" cy="138499"/>
          </a:xfrm>
        </p:spPr>
        <p:txBody>
          <a:bodyPr/>
          <a:lstStyle/>
          <a:p>
            <a:r>
              <a:rPr lang="en-US" dirty="0">
                <a:solidFill>
                  <a:prstClr val="white"/>
                </a:solidFill>
                <a:latin typeface="Lato Black" panose="020F0502020204030203"/>
              </a:rPr>
              <a:t>4. MARKET insights and dynamics</a:t>
            </a:r>
            <a:endParaRPr lang="en-IN" dirty="0"/>
          </a:p>
        </p:txBody>
      </p:sp>
      <p:sp>
        <p:nvSpPr>
          <p:cNvPr id="5" name="TextBox 1">
            <a:extLst>
              <a:ext uri="{FF2B5EF4-FFF2-40B4-BE49-F238E27FC236}">
                <a16:creationId xmlns:a16="http://schemas.microsoft.com/office/drawing/2014/main" id="{B76BB5BE-9E46-4328-A890-C54B9FE28DF4}"/>
              </a:ext>
            </a:extLst>
          </p:cNvPr>
          <p:cNvSpPr txBox="1"/>
          <p:nvPr/>
        </p:nvSpPr>
        <p:spPr>
          <a:xfrm>
            <a:off x="7964925" y="6109658"/>
            <a:ext cx="4067175"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b="1" i="1" dirty="0"/>
              <a:t>Complete Analysis will be Provided in the Full Report</a:t>
            </a:r>
            <a:endParaRPr lang="en-US" sz="1200" b="1" i="1" dirty="0"/>
          </a:p>
        </p:txBody>
      </p:sp>
    </p:spTree>
    <p:extLst>
      <p:ext uri="{BB962C8B-B14F-4D97-AF65-F5344CB8AC3E}">
        <p14:creationId xmlns:p14="http://schemas.microsoft.com/office/powerpoint/2010/main" val="2364196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8D10-AF43-4F83-A935-911DA30920F6}"/>
              </a:ext>
            </a:extLst>
          </p:cNvPr>
          <p:cNvSpPr>
            <a:spLocks noGrp="1"/>
          </p:cNvSpPr>
          <p:nvPr>
            <p:ph type="title"/>
          </p:nvPr>
        </p:nvSpPr>
        <p:spPr>
          <a:xfrm>
            <a:off x="340247" y="395066"/>
            <a:ext cx="11504762" cy="400110"/>
          </a:xfrm>
        </p:spPr>
        <p:txBody>
          <a:bodyPr/>
          <a:lstStyle/>
          <a:p>
            <a:r>
              <a:rPr lang="en-US" dirty="0"/>
              <a:t>4.1 MARKET OVERVIEW</a:t>
            </a:r>
            <a:endParaRPr lang="en-IN" dirty="0"/>
          </a:p>
        </p:txBody>
      </p:sp>
      <p:graphicFrame>
        <p:nvGraphicFramePr>
          <p:cNvPr id="12" name="Chart Placeholder 11">
            <a:extLst>
              <a:ext uri="{FF2B5EF4-FFF2-40B4-BE49-F238E27FC236}">
                <a16:creationId xmlns:a16="http://schemas.microsoft.com/office/drawing/2014/main" id="{D1080945-CE94-4409-AFBC-AAB1718BF1B0}"/>
              </a:ext>
            </a:extLst>
          </p:cNvPr>
          <p:cNvGraphicFramePr>
            <a:graphicFrameLocks noGrp="1"/>
          </p:cNvGraphicFramePr>
          <p:nvPr>
            <p:ph type="chart" sz="quarter" idx="13"/>
            <p:extLst>
              <p:ext uri="{D42A27DB-BD31-4B8C-83A1-F6EECF244321}">
                <p14:modId xmlns:p14="http://schemas.microsoft.com/office/powerpoint/2010/main" val="1796369311"/>
              </p:ext>
            </p:extLst>
          </p:nvPr>
        </p:nvGraphicFramePr>
        <p:xfrm>
          <a:off x="446088" y="1944688"/>
          <a:ext cx="7069137" cy="406558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1F276947-A233-4868-8B1C-8482FC80DAA4}"/>
              </a:ext>
            </a:extLst>
          </p:cNvPr>
          <p:cNvSpPr>
            <a:spLocks noGrp="1"/>
          </p:cNvSpPr>
          <p:nvPr>
            <p:ph type="body" sz="quarter" idx="36"/>
          </p:nvPr>
        </p:nvSpPr>
        <p:spPr>
          <a:xfrm>
            <a:off x="346991" y="101507"/>
            <a:ext cx="3631727" cy="561692"/>
          </a:xfrm>
        </p:spPr>
        <p:txBody>
          <a:bodyPr/>
          <a:lstStyle/>
          <a:p>
            <a:pPr marL="0" indent="0">
              <a:buNone/>
            </a:pPr>
            <a:r>
              <a:rPr lang="en-US" b="1" dirty="0">
                <a:solidFill>
                  <a:prstClr val="white"/>
                </a:solidFill>
                <a:latin typeface="Lato Black" panose="020F0502020204030203"/>
              </a:rPr>
              <a:t>4. MARKET INSIGHTS AND DYNAMICS</a:t>
            </a:r>
            <a:endParaRPr lang="en-IN" b="1" dirty="0"/>
          </a:p>
          <a:p>
            <a:pPr marL="0" indent="0">
              <a:buNone/>
            </a:pPr>
            <a:endParaRPr lang="en-IN" dirty="0"/>
          </a:p>
        </p:txBody>
      </p:sp>
      <p:sp>
        <p:nvSpPr>
          <p:cNvPr id="5" name="Text Placeholder 4">
            <a:extLst>
              <a:ext uri="{FF2B5EF4-FFF2-40B4-BE49-F238E27FC236}">
                <a16:creationId xmlns:a16="http://schemas.microsoft.com/office/drawing/2014/main" id="{707E48E5-BB3E-4A65-B74E-0AAA5400A632}"/>
              </a:ext>
            </a:extLst>
          </p:cNvPr>
          <p:cNvSpPr>
            <a:spLocks noGrp="1"/>
          </p:cNvSpPr>
          <p:nvPr>
            <p:ph type="body" sz="quarter" idx="37"/>
          </p:nvPr>
        </p:nvSpPr>
        <p:spPr/>
        <p:txBody>
          <a:bodyPr/>
          <a:lstStyle/>
          <a:p>
            <a:r>
              <a:rPr lang="en-US" dirty="0"/>
              <a:t>Source: IMF</a:t>
            </a:r>
            <a:endParaRPr lang="en-IN" dirty="0"/>
          </a:p>
        </p:txBody>
      </p:sp>
      <p:sp>
        <p:nvSpPr>
          <p:cNvPr id="6" name="Text Placeholder 5">
            <a:extLst>
              <a:ext uri="{FF2B5EF4-FFF2-40B4-BE49-F238E27FC236}">
                <a16:creationId xmlns:a16="http://schemas.microsoft.com/office/drawing/2014/main" id="{B55631A2-7407-488E-BCEB-5971A88B8448}"/>
              </a:ext>
            </a:extLst>
          </p:cNvPr>
          <p:cNvSpPr>
            <a:spLocks noGrp="1"/>
          </p:cNvSpPr>
          <p:nvPr>
            <p:ph type="body" sz="quarter" idx="53"/>
          </p:nvPr>
        </p:nvSpPr>
        <p:spPr/>
        <p:txBody>
          <a:bodyPr/>
          <a:lstStyle/>
          <a:p>
            <a:endParaRPr lang="en-US" dirty="0"/>
          </a:p>
          <a:p>
            <a:endParaRPr lang="en-US" dirty="0"/>
          </a:p>
          <a:p>
            <a:endParaRPr lang="en-US" dirty="0"/>
          </a:p>
          <a:p>
            <a:r>
              <a:rPr lang="en-IN" dirty="0"/>
              <a:t>ASEAN LVT MARKET</a:t>
            </a:r>
          </a:p>
        </p:txBody>
      </p:sp>
      <p:sp>
        <p:nvSpPr>
          <p:cNvPr id="7" name="Text Placeholder 6">
            <a:extLst>
              <a:ext uri="{FF2B5EF4-FFF2-40B4-BE49-F238E27FC236}">
                <a16:creationId xmlns:a16="http://schemas.microsoft.com/office/drawing/2014/main" id="{C5A6323B-AD8C-443A-A417-1338BF326ABD}"/>
              </a:ext>
            </a:extLst>
          </p:cNvPr>
          <p:cNvSpPr>
            <a:spLocks noGrp="1"/>
          </p:cNvSpPr>
          <p:nvPr>
            <p:ph type="body" sz="quarter" idx="56"/>
          </p:nvPr>
        </p:nvSpPr>
        <p:spPr/>
        <p:txBody>
          <a:bodyPr/>
          <a:lstStyle/>
          <a:p>
            <a:r>
              <a:rPr lang="en-US" dirty="0"/>
              <a:t>GDP Per Capita, Constant prices in ASEAN Region, 2017 – 2020 (In USD)</a:t>
            </a:r>
            <a:endParaRPr lang="en-IN" dirty="0"/>
          </a:p>
        </p:txBody>
      </p:sp>
    </p:spTree>
    <p:extLst>
      <p:ext uri="{BB962C8B-B14F-4D97-AF65-F5344CB8AC3E}">
        <p14:creationId xmlns:p14="http://schemas.microsoft.com/office/powerpoint/2010/main" val="2128884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19C43D-C5AB-4A31-AEF3-984170469D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9" name="Object 8" hidden="1">
                        <a:extLst>
                          <a:ext uri="{FF2B5EF4-FFF2-40B4-BE49-F238E27FC236}">
                            <a16:creationId xmlns:a16="http://schemas.microsoft.com/office/drawing/2014/main" id="{8A19C43D-C5AB-4A31-AEF3-984170469D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99828A5-EA4B-4ED6-A04E-91B23DC0FF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3" name="Content Placeholder 2">
            <a:extLst>
              <a:ext uri="{FF2B5EF4-FFF2-40B4-BE49-F238E27FC236}">
                <a16:creationId xmlns:a16="http://schemas.microsoft.com/office/drawing/2014/main" id="{4559764B-201F-4044-BA7F-E48B53967B1D}"/>
              </a:ext>
            </a:extLst>
          </p:cNvPr>
          <p:cNvSpPr>
            <a:spLocks noGrp="1"/>
          </p:cNvSpPr>
          <p:nvPr>
            <p:ph idx="1"/>
          </p:nvPr>
        </p:nvSpPr>
        <p:spPr/>
        <p:txBody>
          <a:bodyPr wrap="square"/>
          <a:lstStyle/>
          <a:p>
            <a:r>
              <a:rPr lang="en-US" dirty="0"/>
              <a:t>DISCLAIMER</a:t>
            </a:r>
          </a:p>
        </p:txBody>
      </p:sp>
      <p:sp>
        <p:nvSpPr>
          <p:cNvPr id="5" name="Content Placeholder 4">
            <a:extLst>
              <a:ext uri="{FF2B5EF4-FFF2-40B4-BE49-F238E27FC236}">
                <a16:creationId xmlns:a16="http://schemas.microsoft.com/office/drawing/2014/main" id="{E58D8575-AEF2-4A6C-BCDE-2D4EB0D61897}"/>
              </a:ext>
            </a:extLst>
          </p:cNvPr>
          <p:cNvSpPr>
            <a:spLocks noGrp="1"/>
          </p:cNvSpPr>
          <p:nvPr>
            <p:ph idx="13"/>
          </p:nvPr>
        </p:nvSpPr>
        <p:spPr>
          <a:xfrm>
            <a:off x="497529" y="952239"/>
            <a:ext cx="11322995" cy="3951274"/>
          </a:xfrm>
        </p:spPr>
        <p:txBody>
          <a:bodyPr wrap="square"/>
          <a:lstStyle/>
          <a:p>
            <a:pPr algn="just">
              <a:lnSpc>
                <a:spcPct val="150000"/>
              </a:lnSpc>
            </a:pPr>
            <a:r>
              <a:rPr lang="en-US" sz="1200" dirty="0">
                <a:solidFill>
                  <a:schemeClr val="tx1">
                    <a:lumMod val="75000"/>
                    <a:lumOff val="25000"/>
                  </a:schemeClr>
                </a:solidFill>
              </a:rPr>
              <a:t>Any information and/or material provided by Mordor Intelligence, including any or all the analysis and/or research from Mordor Intelligence, is provided to a select group of customers, in response to orders for such information, material, analysis, and/or research. As a customer of Mordor Intelligence, you acknowledge that our information, material, and/or services are for your internal use only, and not for any external use and/or dissemination, or general publication, and/or disclosure to any third parties. </a:t>
            </a:r>
          </a:p>
          <a:p>
            <a:pPr algn="just">
              <a:lnSpc>
                <a:spcPct val="150000"/>
              </a:lnSpc>
            </a:pPr>
            <a:r>
              <a:rPr lang="en-US" sz="1200" dirty="0">
                <a:solidFill>
                  <a:schemeClr val="tx1">
                    <a:lumMod val="75000"/>
                    <a:lumOff val="25000"/>
                  </a:schemeClr>
                </a:solidFill>
              </a:rPr>
              <a:t>Any or all the information and/or materials provided by Mordor Intelligence are based on primary interviews and/or secondary research, Therefore, the information is subject to fluctuation and variance. Mordor Intelligence takes no responsibility for any incorrect information and/or material supplied to us by sources we rely on, and no part of our analysis or research may be given, lent, resold, or disclosed to any third parties, including non-customers, without explicit as well as written permission from Mordor Intelligence.</a:t>
            </a:r>
          </a:p>
          <a:p>
            <a:pPr algn="just">
              <a:lnSpc>
                <a:spcPct val="150000"/>
              </a:lnSpc>
            </a:pPr>
            <a:r>
              <a:rPr lang="en-US" sz="1200" dirty="0">
                <a:solidFill>
                  <a:schemeClr val="tx1">
                    <a:lumMod val="75000"/>
                    <a:lumOff val="25000"/>
                  </a:schemeClr>
                </a:solidFill>
              </a:rPr>
              <a:t>Unauthorized reproduction and/or transmission of our information, material, analysis, and/or research in any form and by any means, including by photocopying, mechanical/electronic recording, or otherwise, without the explicit and written permission of Mordor Intelligence, is expressly and clearly prohibited.</a:t>
            </a:r>
          </a:p>
          <a:p>
            <a:pPr algn="just">
              <a:lnSpc>
                <a:spcPct val="150000"/>
              </a:lnSpc>
            </a:pPr>
            <a:r>
              <a:rPr lang="en-US" sz="1200" dirty="0">
                <a:solidFill>
                  <a:schemeClr val="tx1">
                    <a:lumMod val="75000"/>
                    <a:lumOff val="25000"/>
                  </a:schemeClr>
                </a:solidFill>
              </a:rPr>
              <a:t>Any use of the information, material, analysis, and/or research provided by Mordor Intelligence is at your sole risk, you acknowledge that the information, material, analysis, and/or research is provided “as is” and that Mordor Intelligence provides no warranty of any kind, expressed or implied, with regard to the information, material, analysis, and/or research, including but not limited to, merchantability and fitness for any purpose and/or use.</a:t>
            </a:r>
          </a:p>
        </p:txBody>
      </p:sp>
    </p:spTree>
    <p:extLst>
      <p:ext uri="{BB962C8B-B14F-4D97-AF65-F5344CB8AC3E}">
        <p14:creationId xmlns:p14="http://schemas.microsoft.com/office/powerpoint/2010/main" val="2325565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A2581AD-D990-41FA-92F0-545890F1C3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17" name="Object 16" hidden="1">
                        <a:extLst>
                          <a:ext uri="{FF2B5EF4-FFF2-40B4-BE49-F238E27FC236}">
                            <a16:creationId xmlns:a16="http://schemas.microsoft.com/office/drawing/2014/main" id="{EA2581AD-D990-41FA-92F0-545890F1C3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54FF3361-7F5B-41D5-897F-00251A0A1D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grpSp>
        <p:nvGrpSpPr>
          <p:cNvPr id="18" name="Group 17">
            <a:extLst>
              <a:ext uri="{FF2B5EF4-FFF2-40B4-BE49-F238E27FC236}">
                <a16:creationId xmlns:a16="http://schemas.microsoft.com/office/drawing/2014/main" id="{004F12F2-54A9-478D-A078-A36236163365}"/>
              </a:ext>
            </a:extLst>
          </p:cNvPr>
          <p:cNvGrpSpPr/>
          <p:nvPr/>
        </p:nvGrpSpPr>
        <p:grpSpPr>
          <a:xfrm>
            <a:off x="765082" y="1469425"/>
            <a:ext cx="10852491" cy="4860403"/>
            <a:chOff x="534125" y="767660"/>
            <a:chExt cx="10852491" cy="5369725"/>
          </a:xfrm>
        </p:grpSpPr>
        <p:grpSp>
          <p:nvGrpSpPr>
            <p:cNvPr id="22" name="Group 21">
              <a:extLst>
                <a:ext uri="{FF2B5EF4-FFF2-40B4-BE49-F238E27FC236}">
                  <a16:creationId xmlns:a16="http://schemas.microsoft.com/office/drawing/2014/main" id="{07D1A76E-DB36-4793-AAE1-A9DD9B8F5772}"/>
                </a:ext>
              </a:extLst>
            </p:cNvPr>
            <p:cNvGrpSpPr/>
            <p:nvPr/>
          </p:nvGrpSpPr>
          <p:grpSpPr>
            <a:xfrm>
              <a:off x="534125" y="767660"/>
              <a:ext cx="10852491" cy="5369725"/>
              <a:chOff x="244418" y="1452560"/>
              <a:chExt cx="8713845" cy="4547618"/>
            </a:xfrm>
          </p:grpSpPr>
          <p:sp>
            <p:nvSpPr>
              <p:cNvPr id="32" name="AutoShape 9">
                <a:extLst>
                  <a:ext uri="{FF2B5EF4-FFF2-40B4-BE49-F238E27FC236}">
                    <a16:creationId xmlns:a16="http://schemas.microsoft.com/office/drawing/2014/main" id="{FF47CBD6-F869-4125-88C6-AE423C1C72E5}"/>
                  </a:ext>
                </a:extLst>
              </p:cNvPr>
              <p:cNvSpPr>
                <a:spLocks noChangeArrowheads="1"/>
              </p:cNvSpPr>
              <p:nvPr/>
            </p:nvSpPr>
            <p:spPr bwMode="auto">
              <a:xfrm>
                <a:off x="2656111" y="2439215"/>
                <a:ext cx="304549" cy="1106466"/>
              </a:xfrm>
              <a:prstGeom prst="upArrow">
                <a:avLst>
                  <a:gd name="adj1" fmla="val 50000"/>
                  <a:gd name="adj2" fmla="val 85875"/>
                </a:avLst>
              </a:prstGeom>
              <a:solidFill>
                <a:srgbClr val="E8C921"/>
              </a:solidFill>
              <a:ln>
                <a:noFill/>
                <a:headEnd/>
                <a:tailEnd/>
              </a:ln>
              <a:effectLst>
                <a:outerShdw blurRad="57150" dist="19050" dir="5400000" algn="ctr" rotWithShape="0">
                  <a:srgbClr val="000000">
                    <a:alpha val="63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sp>
            <p:nvSpPr>
              <p:cNvPr id="33" name="Line 7">
                <a:extLst>
                  <a:ext uri="{FF2B5EF4-FFF2-40B4-BE49-F238E27FC236}">
                    <a16:creationId xmlns:a16="http://schemas.microsoft.com/office/drawing/2014/main" id="{E6324D64-A4FE-4A9B-94F4-E06279BC017C}"/>
                  </a:ext>
                </a:extLst>
              </p:cNvPr>
              <p:cNvSpPr>
                <a:spLocks noChangeShapeType="1"/>
              </p:cNvSpPr>
              <p:nvPr/>
            </p:nvSpPr>
            <p:spPr bwMode="auto">
              <a:xfrm>
                <a:off x="3192211" y="3590925"/>
                <a:ext cx="0" cy="288925"/>
              </a:xfrm>
              <a:prstGeom prst="line">
                <a:avLst/>
              </a:prstGeom>
              <a:noFill/>
              <a:ln w="9525">
                <a:solidFill>
                  <a:srgbClr val="336699"/>
                </a:solidFill>
                <a:round/>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Lato"/>
                  <a:ea typeface="+mn-ea"/>
                  <a:cs typeface="+mn-cs"/>
                </a:endParaRPr>
              </a:p>
            </p:txBody>
          </p:sp>
          <p:sp>
            <p:nvSpPr>
              <p:cNvPr id="34" name="Line 8">
                <a:extLst>
                  <a:ext uri="{FF2B5EF4-FFF2-40B4-BE49-F238E27FC236}">
                    <a16:creationId xmlns:a16="http://schemas.microsoft.com/office/drawing/2014/main" id="{B76131A8-BDA2-451F-A2A9-3C10C8383B4A}"/>
                  </a:ext>
                </a:extLst>
              </p:cNvPr>
              <p:cNvSpPr>
                <a:spLocks noChangeShapeType="1"/>
              </p:cNvSpPr>
              <p:nvPr/>
            </p:nvSpPr>
            <p:spPr bwMode="auto">
              <a:xfrm>
                <a:off x="6832600" y="3625850"/>
                <a:ext cx="0" cy="288925"/>
              </a:xfrm>
              <a:prstGeom prst="line">
                <a:avLst/>
              </a:prstGeom>
              <a:noFill/>
              <a:ln w="9525">
                <a:solidFill>
                  <a:srgbClr val="336699"/>
                </a:solidFill>
                <a:round/>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Lato"/>
                  <a:ea typeface="+mn-ea"/>
                  <a:cs typeface="+mn-cs"/>
                </a:endParaRPr>
              </a:p>
            </p:txBody>
          </p:sp>
          <p:sp>
            <p:nvSpPr>
              <p:cNvPr id="35" name="Text Box 5">
                <a:extLst>
                  <a:ext uri="{FF2B5EF4-FFF2-40B4-BE49-F238E27FC236}">
                    <a16:creationId xmlns:a16="http://schemas.microsoft.com/office/drawing/2014/main" id="{3DCE8B19-C798-4A6A-AA81-4F56D391284A}"/>
                  </a:ext>
                </a:extLst>
              </p:cNvPr>
              <p:cNvSpPr txBox="1">
                <a:spLocks noChangeArrowheads="1"/>
              </p:cNvSpPr>
              <p:nvPr/>
            </p:nvSpPr>
            <p:spPr bwMode="auto">
              <a:xfrm rot="16200000">
                <a:off x="238848" y="2489676"/>
                <a:ext cx="1844366" cy="297811"/>
              </a:xfrm>
              <a:prstGeom prst="rect">
                <a:avLst/>
              </a:prstGeom>
              <a:solidFill>
                <a:srgbClr val="236288"/>
              </a:solidFill>
              <a:ln>
                <a:noFill/>
                <a:headEnd/>
                <a:tailEnd/>
              </a:ln>
              <a:effectLst/>
            </p:spPr>
            <p:txBody>
              <a:bodyPr wrap="square">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GB" altLang="zh-CN" sz="1800" b="1" i="0" u="none" strike="noStrike" kern="0" cap="none" spc="0" normalizeH="0" baseline="0" noProof="0" dirty="0">
                    <a:ln>
                      <a:noFill/>
                    </a:ln>
                    <a:solidFill>
                      <a:prstClr val="white"/>
                    </a:solidFill>
                    <a:effectLst/>
                    <a:uLnTx/>
                    <a:uFillTx/>
                    <a:latin typeface="Lato"/>
                    <a:ea typeface="宋体" panose="02010600030101010101" pitchFamily="2" charset="-122"/>
                    <a:cs typeface="+mn-cs"/>
                  </a:rPr>
                  <a:t>Impact</a:t>
                </a:r>
                <a:endParaRPr kumimoji="0" lang="en-GB" sz="1800" b="1" i="0" u="none" strike="noStrike" kern="0" cap="none" spc="0" normalizeH="0" baseline="0" noProof="0" dirty="0">
                  <a:ln>
                    <a:noFill/>
                  </a:ln>
                  <a:solidFill>
                    <a:prstClr val="white"/>
                  </a:solidFill>
                  <a:effectLst/>
                  <a:uLnTx/>
                  <a:uFillTx/>
                  <a:latin typeface="Lato"/>
                  <a:ea typeface="SimSun" pitchFamily="2" charset="-122"/>
                  <a:cs typeface="+mn-cs"/>
                </a:endParaRPr>
              </a:p>
            </p:txBody>
          </p:sp>
          <p:sp>
            <p:nvSpPr>
              <p:cNvPr id="36" name="Rectangle 6">
                <a:extLst>
                  <a:ext uri="{FF2B5EF4-FFF2-40B4-BE49-F238E27FC236}">
                    <a16:creationId xmlns:a16="http://schemas.microsoft.com/office/drawing/2014/main" id="{0A9E2D39-6FBD-43B7-8312-BAC13EAF125A}"/>
                  </a:ext>
                </a:extLst>
              </p:cNvPr>
              <p:cNvSpPr>
                <a:spLocks noChangeArrowheads="1"/>
              </p:cNvSpPr>
              <p:nvPr/>
            </p:nvSpPr>
            <p:spPr bwMode="auto">
              <a:xfrm>
                <a:off x="965200" y="3560763"/>
                <a:ext cx="7993063" cy="71437"/>
              </a:xfrm>
              <a:prstGeom prst="rect">
                <a:avLst/>
              </a:prstGeom>
              <a:solidFill>
                <a:srgbClr val="003366"/>
              </a:solidFill>
              <a:ln w="19050" algn="ctr">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Lato"/>
                  <a:ea typeface="+mn-ea"/>
                  <a:cs typeface="+mn-cs"/>
                </a:endParaRPr>
              </a:p>
            </p:txBody>
          </p:sp>
          <p:sp>
            <p:nvSpPr>
              <p:cNvPr id="37" name="Rectangle 13">
                <a:extLst>
                  <a:ext uri="{FF2B5EF4-FFF2-40B4-BE49-F238E27FC236}">
                    <a16:creationId xmlns:a16="http://schemas.microsoft.com/office/drawing/2014/main" id="{03571EC8-4545-4CE2-8629-6DB5B2AB59FB}"/>
                  </a:ext>
                </a:extLst>
              </p:cNvPr>
              <p:cNvSpPr>
                <a:spLocks noChangeArrowheads="1"/>
              </p:cNvSpPr>
              <p:nvPr/>
            </p:nvSpPr>
            <p:spPr bwMode="auto">
              <a:xfrm>
                <a:off x="965200" y="3889375"/>
                <a:ext cx="7993063" cy="71438"/>
              </a:xfrm>
              <a:prstGeom prst="rect">
                <a:avLst/>
              </a:prstGeom>
              <a:solidFill>
                <a:srgbClr val="003366"/>
              </a:solidFill>
              <a:ln w="19050" algn="ctr">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Lato"/>
                  <a:ea typeface="+mn-ea"/>
                  <a:cs typeface="+mn-cs"/>
                </a:endParaRPr>
              </a:p>
            </p:txBody>
          </p:sp>
          <p:sp>
            <p:nvSpPr>
              <p:cNvPr id="38" name="Rectangle 17">
                <a:extLst>
                  <a:ext uri="{FF2B5EF4-FFF2-40B4-BE49-F238E27FC236}">
                    <a16:creationId xmlns:a16="http://schemas.microsoft.com/office/drawing/2014/main" id="{3AF4109F-4FCE-4A3E-89E8-2706EE904686}"/>
                  </a:ext>
                </a:extLst>
              </p:cNvPr>
              <p:cNvSpPr>
                <a:spLocks noChangeArrowheads="1"/>
              </p:cNvSpPr>
              <p:nvPr/>
            </p:nvSpPr>
            <p:spPr bwMode="auto">
              <a:xfrm rot="16200000">
                <a:off x="-775708" y="2472688"/>
                <a:ext cx="2314575" cy="274320"/>
              </a:xfrm>
              <a:prstGeom prst="rect">
                <a:avLst/>
              </a:prstGeom>
              <a:solidFill>
                <a:srgbClr val="E8C921"/>
              </a:solidFill>
              <a:ln>
                <a:noFill/>
                <a:headEnd/>
                <a:tailEnd/>
              </a:ln>
              <a:effectLst>
                <a:outerShdw blurRad="57150" dist="19050" dir="5400000" algn="ctr" rotWithShape="0">
                  <a:srgbClr val="000000">
                    <a:alpha val="63000"/>
                  </a:srgbClr>
                </a:outerShdw>
              </a:effec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Market</a:t>
                </a:r>
                <a:r>
                  <a:rPr kumimoji="0" lang="en-US" sz="1600" b="0" i="0" u="none" strike="noStrike" kern="0" cap="none" spc="0" normalizeH="0" baseline="0" noProof="0" dirty="0">
                    <a:ln>
                      <a:noFill/>
                    </a:ln>
                    <a:solidFill>
                      <a:srgbClr val="2C8EBF"/>
                    </a:solidFill>
                    <a:effectLst/>
                    <a:uLnTx/>
                    <a:uFillTx/>
                    <a:latin typeface="Lato"/>
                    <a:ea typeface="+mn-ea"/>
                    <a:cs typeface="+mn-cs"/>
                  </a:rPr>
                  <a:t> </a:t>
                </a:r>
                <a:r>
                  <a:rPr kumimoji="0" lang="en-US" sz="1600" b="0" i="0" u="none" strike="noStrike" kern="0" cap="none" spc="0" normalizeH="0" baseline="0" noProof="0" dirty="0">
                    <a:ln>
                      <a:noFill/>
                    </a:ln>
                    <a:solidFill>
                      <a:prstClr val="white"/>
                    </a:solidFill>
                    <a:effectLst/>
                    <a:uLnTx/>
                    <a:uFillTx/>
                    <a:latin typeface="Lato"/>
                    <a:ea typeface="+mn-ea"/>
                    <a:cs typeface="+mn-cs"/>
                  </a:rPr>
                  <a:t>Drivers</a:t>
                </a:r>
              </a:p>
            </p:txBody>
          </p:sp>
          <p:sp>
            <p:nvSpPr>
              <p:cNvPr id="39" name="Rectangle 18">
                <a:extLst>
                  <a:ext uri="{FF2B5EF4-FFF2-40B4-BE49-F238E27FC236}">
                    <a16:creationId xmlns:a16="http://schemas.microsoft.com/office/drawing/2014/main" id="{50C0A4FE-E8E1-43F6-BAA9-68037A51E985}"/>
                  </a:ext>
                </a:extLst>
              </p:cNvPr>
              <p:cNvSpPr>
                <a:spLocks noChangeArrowheads="1"/>
              </p:cNvSpPr>
              <p:nvPr/>
            </p:nvSpPr>
            <p:spPr bwMode="auto">
              <a:xfrm rot="16200000">
                <a:off x="-734435" y="4745991"/>
                <a:ext cx="2232025" cy="274320"/>
              </a:xfrm>
              <a:prstGeom prst="rect">
                <a:avLst/>
              </a:prstGeom>
              <a:solidFill>
                <a:srgbClr val="FA7A1A"/>
              </a:solidFill>
              <a:ln>
                <a:noFill/>
                <a:headEnd/>
                <a:tailEnd/>
              </a:ln>
              <a:effectLst>
                <a:outerShdw blurRad="57150" dist="19050" dir="5400000" algn="ctr" rotWithShape="0">
                  <a:srgbClr val="000000">
                    <a:alpha val="63000"/>
                  </a:srgbClr>
                </a:outerShdw>
              </a:effectLst>
            </p:spPr>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SimSun" pitchFamily="2" charset="-122"/>
                    <a:cs typeface="+mn-cs"/>
                  </a:rPr>
                  <a:t>Market Restraints</a:t>
                </a:r>
              </a:p>
            </p:txBody>
          </p:sp>
          <p:sp>
            <p:nvSpPr>
              <p:cNvPr id="40" name="Text Box 20">
                <a:extLst>
                  <a:ext uri="{FF2B5EF4-FFF2-40B4-BE49-F238E27FC236}">
                    <a16:creationId xmlns:a16="http://schemas.microsoft.com/office/drawing/2014/main" id="{555E2B2C-A8D6-4888-98A3-6FAA58EAB841}"/>
                  </a:ext>
                </a:extLst>
              </p:cNvPr>
              <p:cNvSpPr txBox="1">
                <a:spLocks noChangeArrowheads="1"/>
              </p:cNvSpPr>
              <p:nvPr/>
            </p:nvSpPr>
            <p:spPr bwMode="auto">
              <a:xfrm rot="16200000">
                <a:off x="207082" y="4768545"/>
                <a:ext cx="1907900" cy="297811"/>
              </a:xfrm>
              <a:prstGeom prst="rect">
                <a:avLst/>
              </a:prstGeom>
              <a:solidFill>
                <a:srgbClr val="236288"/>
              </a:solidFill>
              <a:ln>
                <a:noFill/>
                <a:headEnd/>
                <a:tailEnd/>
              </a:ln>
              <a:effectLst/>
            </p:spPr>
            <p:txBody>
              <a:bodyPr wrap="square">
                <a:spAutoFit/>
              </a:body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GB" altLang="zh-CN" sz="1800" b="1" i="0" u="none" strike="noStrike" kern="0" cap="none" spc="0" normalizeH="0" baseline="0" noProof="0" dirty="0">
                    <a:ln>
                      <a:noFill/>
                    </a:ln>
                    <a:solidFill>
                      <a:prstClr val="white"/>
                    </a:solidFill>
                    <a:effectLst/>
                    <a:uLnTx/>
                    <a:uFillTx/>
                    <a:latin typeface="Lato"/>
                    <a:ea typeface="宋体" panose="02010600030101010101" pitchFamily="2" charset="-122"/>
                    <a:cs typeface="+mn-cs"/>
                  </a:rPr>
                  <a:t>Impact</a:t>
                </a:r>
                <a:endParaRPr kumimoji="0" lang="en-GB" sz="1800" b="1" i="0" u="none" strike="noStrike" kern="0" cap="none" spc="0" normalizeH="0" baseline="0" noProof="0" dirty="0">
                  <a:ln>
                    <a:noFill/>
                  </a:ln>
                  <a:solidFill>
                    <a:prstClr val="white"/>
                  </a:solidFill>
                  <a:effectLst/>
                  <a:uLnTx/>
                  <a:uFillTx/>
                  <a:latin typeface="Lato"/>
                  <a:ea typeface="SimSun" pitchFamily="2" charset="-122"/>
                  <a:cs typeface="+mn-cs"/>
                </a:endParaRPr>
              </a:p>
            </p:txBody>
          </p:sp>
          <p:sp>
            <p:nvSpPr>
              <p:cNvPr id="41" name="Text Box 41">
                <a:extLst>
                  <a:ext uri="{FF2B5EF4-FFF2-40B4-BE49-F238E27FC236}">
                    <a16:creationId xmlns:a16="http://schemas.microsoft.com/office/drawing/2014/main" id="{4B4A3E86-5A7D-486A-A25B-92CC25CE0FD5}"/>
                  </a:ext>
                </a:extLst>
              </p:cNvPr>
              <p:cNvSpPr txBox="1">
                <a:spLocks noChangeArrowheads="1"/>
              </p:cNvSpPr>
              <p:nvPr/>
            </p:nvSpPr>
            <p:spPr bwMode="auto">
              <a:xfrm>
                <a:off x="366108" y="3367088"/>
                <a:ext cx="661005" cy="341220"/>
              </a:xfrm>
              <a:prstGeom prst="rect">
                <a:avLst/>
              </a:prstGeom>
              <a:noFill/>
              <a:ln w="9525">
                <a:noFill/>
                <a:miter lim="800000"/>
                <a:headEnd/>
                <a:tailEnd/>
              </a:ln>
            </p:spPr>
            <p:txBody>
              <a:bodyPr wrap="square">
                <a:sp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Lato"/>
                    <a:ea typeface="+mn-ea"/>
                    <a:cs typeface="+mn-cs"/>
                  </a:rPr>
                  <a:t>Low</a:t>
                </a:r>
              </a:p>
            </p:txBody>
          </p:sp>
          <p:sp>
            <p:nvSpPr>
              <p:cNvPr id="42" name="Text Box 42">
                <a:extLst>
                  <a:ext uri="{FF2B5EF4-FFF2-40B4-BE49-F238E27FC236}">
                    <a16:creationId xmlns:a16="http://schemas.microsoft.com/office/drawing/2014/main" id="{68F5ED9B-FA41-4F8C-A8B2-193D47B11262}"/>
                  </a:ext>
                </a:extLst>
              </p:cNvPr>
              <p:cNvSpPr txBox="1">
                <a:spLocks noChangeArrowheads="1"/>
              </p:cNvSpPr>
              <p:nvPr/>
            </p:nvSpPr>
            <p:spPr bwMode="auto">
              <a:xfrm>
                <a:off x="373915" y="1617970"/>
                <a:ext cx="638211" cy="341220"/>
              </a:xfrm>
              <a:prstGeom prst="rect">
                <a:avLst/>
              </a:prstGeom>
              <a:noFill/>
              <a:ln w="9525">
                <a:noFill/>
                <a:miter lim="800000"/>
                <a:headEnd/>
                <a:tailEnd/>
              </a:ln>
            </p:spPr>
            <p:txBody>
              <a:bodyPr wrap="square">
                <a:sp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Lato"/>
                    <a:ea typeface="+mn-ea"/>
                    <a:cs typeface="+mn-cs"/>
                  </a:rPr>
                  <a:t>High</a:t>
                </a:r>
              </a:p>
            </p:txBody>
          </p:sp>
          <p:sp>
            <p:nvSpPr>
              <p:cNvPr id="43" name="Text Box 43">
                <a:extLst>
                  <a:ext uri="{FF2B5EF4-FFF2-40B4-BE49-F238E27FC236}">
                    <a16:creationId xmlns:a16="http://schemas.microsoft.com/office/drawing/2014/main" id="{3FF940CD-C287-48F4-AAC1-58192D30C9C1}"/>
                  </a:ext>
                </a:extLst>
              </p:cNvPr>
              <p:cNvSpPr txBox="1">
                <a:spLocks noChangeArrowheads="1"/>
              </p:cNvSpPr>
              <p:nvPr/>
            </p:nvSpPr>
            <p:spPr bwMode="auto">
              <a:xfrm>
                <a:off x="388901" y="3865564"/>
                <a:ext cx="638212" cy="341220"/>
              </a:xfrm>
              <a:prstGeom prst="rect">
                <a:avLst/>
              </a:prstGeom>
              <a:noFill/>
              <a:ln w="9525">
                <a:noFill/>
                <a:miter lim="800000"/>
                <a:headEnd/>
                <a:tailEnd/>
              </a:ln>
            </p:spPr>
            <p:txBody>
              <a:bodyPr wrap="square">
                <a:sp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Lato"/>
                    <a:ea typeface="+mn-ea"/>
                    <a:cs typeface="+mn-cs"/>
                  </a:rPr>
                  <a:t>Low</a:t>
                </a:r>
              </a:p>
            </p:txBody>
          </p:sp>
          <p:sp>
            <p:nvSpPr>
              <p:cNvPr id="44" name="Text Box 44">
                <a:extLst>
                  <a:ext uri="{FF2B5EF4-FFF2-40B4-BE49-F238E27FC236}">
                    <a16:creationId xmlns:a16="http://schemas.microsoft.com/office/drawing/2014/main" id="{286EC35A-82CA-4770-935F-8B8D94945C34}"/>
                  </a:ext>
                </a:extLst>
              </p:cNvPr>
              <p:cNvSpPr txBox="1">
                <a:spLocks noChangeArrowheads="1"/>
              </p:cNvSpPr>
              <p:nvPr/>
            </p:nvSpPr>
            <p:spPr bwMode="auto">
              <a:xfrm>
                <a:off x="379561" y="5658958"/>
                <a:ext cx="638212" cy="341220"/>
              </a:xfrm>
              <a:prstGeom prst="rect">
                <a:avLst/>
              </a:prstGeom>
              <a:noFill/>
              <a:ln w="9525">
                <a:noFill/>
                <a:miter lim="800000"/>
                <a:headEnd/>
                <a:tailEnd/>
              </a:ln>
            </p:spPr>
            <p:txBody>
              <a:bodyPr wrap="square">
                <a:sp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Lato"/>
                    <a:ea typeface="+mn-ea"/>
                    <a:cs typeface="+mn-cs"/>
                  </a:rPr>
                  <a:t>High</a:t>
                </a:r>
              </a:p>
            </p:txBody>
          </p:sp>
        </p:grpSp>
        <p:sp>
          <p:nvSpPr>
            <p:cNvPr id="23" name="AutoShape 15">
              <a:extLst>
                <a:ext uri="{FF2B5EF4-FFF2-40B4-BE49-F238E27FC236}">
                  <a16:creationId xmlns:a16="http://schemas.microsoft.com/office/drawing/2014/main" id="{F40B0F99-5CB4-4A8E-AA33-BBE16958DD21}"/>
                </a:ext>
              </a:extLst>
            </p:cNvPr>
            <p:cNvSpPr>
              <a:spLocks noChangeArrowheads="1"/>
            </p:cNvSpPr>
            <p:nvPr/>
          </p:nvSpPr>
          <p:spPr bwMode="auto">
            <a:xfrm rot="10800000">
              <a:off x="3829837" y="3740594"/>
              <a:ext cx="377373" cy="1120547"/>
            </a:xfrm>
            <a:prstGeom prst="upArrow">
              <a:avLst>
                <a:gd name="adj1" fmla="val 50000"/>
                <a:gd name="adj2" fmla="val 129125"/>
              </a:avLst>
            </a:prstGeom>
            <a:solidFill>
              <a:srgbClr val="FA7A1A"/>
            </a:solidFill>
            <a:ln>
              <a:noFill/>
              <a:headEnd/>
              <a:tailEnd/>
            </a:ln>
            <a:effectLst>
              <a:outerShdw blurRad="57150" dist="19050" dir="5400000" algn="ctr" rotWithShape="0">
                <a:srgbClr val="000000">
                  <a:alpha val="63000"/>
                </a:srgbClr>
              </a:outerShdw>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sp>
          <p:nvSpPr>
            <p:cNvPr id="27" name="Rectangle 26">
              <a:extLst>
                <a:ext uri="{FF2B5EF4-FFF2-40B4-BE49-F238E27FC236}">
                  <a16:creationId xmlns:a16="http://schemas.microsoft.com/office/drawing/2014/main" id="{57A3CD78-30B8-4B74-8CB1-F4B2238B2C68}"/>
                </a:ext>
              </a:extLst>
            </p:cNvPr>
            <p:cNvSpPr/>
            <p:nvPr/>
          </p:nvSpPr>
          <p:spPr>
            <a:xfrm>
              <a:off x="6918852" y="5512003"/>
              <a:ext cx="184731" cy="30602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Lato"/>
                <a:ea typeface="+mn-ea"/>
                <a:cs typeface="+mn-cs"/>
              </a:endParaRPr>
            </a:p>
          </p:txBody>
        </p:sp>
        <p:sp>
          <p:nvSpPr>
            <p:cNvPr id="31" name="AutoShape 9">
              <a:extLst>
                <a:ext uri="{FF2B5EF4-FFF2-40B4-BE49-F238E27FC236}">
                  <a16:creationId xmlns:a16="http://schemas.microsoft.com/office/drawing/2014/main" id="{FFEE8547-71F1-4F40-A906-FA405172733A}"/>
                </a:ext>
              </a:extLst>
            </p:cNvPr>
            <p:cNvSpPr>
              <a:spLocks noChangeArrowheads="1"/>
            </p:cNvSpPr>
            <p:nvPr/>
          </p:nvSpPr>
          <p:spPr bwMode="auto">
            <a:xfrm>
              <a:off x="5715944" y="2015130"/>
              <a:ext cx="379295" cy="1227790"/>
            </a:xfrm>
            <a:prstGeom prst="upArrow">
              <a:avLst>
                <a:gd name="adj1" fmla="val 50000"/>
                <a:gd name="adj2" fmla="val 85875"/>
              </a:avLst>
            </a:prstGeom>
            <a:solidFill>
              <a:srgbClr val="E8C921"/>
            </a:solidFill>
            <a:ln>
              <a:noFill/>
              <a:headEnd/>
              <a:tailEnd/>
            </a:ln>
            <a:effectLst>
              <a:outerShdw blurRad="57150" dist="19050" dir="5400000" algn="ctr" rotWithShape="0">
                <a:srgbClr val="000000">
                  <a:alpha val="63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grpSp>
      <p:sp>
        <p:nvSpPr>
          <p:cNvPr id="8" name="Rectangle 7">
            <a:extLst>
              <a:ext uri="{FF2B5EF4-FFF2-40B4-BE49-F238E27FC236}">
                <a16:creationId xmlns:a16="http://schemas.microsoft.com/office/drawing/2014/main" id="{BF323062-50A0-446E-B3BD-848DD90CE149}"/>
              </a:ext>
            </a:extLst>
          </p:cNvPr>
          <p:cNvSpPr/>
          <p:nvPr/>
        </p:nvSpPr>
        <p:spPr>
          <a:xfrm>
            <a:off x="120933" y="399502"/>
            <a:ext cx="5923160" cy="4924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600" b="1" i="0" u="none" strike="noStrike" kern="1200" cap="none" spc="0" normalizeH="0" baseline="0" noProof="0" dirty="0">
                <a:ln>
                  <a:noFill/>
                </a:ln>
                <a:solidFill>
                  <a:prstClr val="white"/>
                </a:solidFill>
                <a:effectLst/>
                <a:uLnTx/>
                <a:uFillTx/>
                <a:latin typeface="Lato Black" panose="020F0502020204030203"/>
                <a:ea typeface="+mn-ea"/>
                <a:cs typeface="+mn-cs"/>
              </a:rPr>
              <a:t>MARKET DRIVERS AND RESTRAINTS</a:t>
            </a:r>
          </a:p>
        </p:txBody>
      </p:sp>
      <p:sp>
        <p:nvSpPr>
          <p:cNvPr id="9" name="Rectangle 8">
            <a:extLst>
              <a:ext uri="{FF2B5EF4-FFF2-40B4-BE49-F238E27FC236}">
                <a16:creationId xmlns:a16="http://schemas.microsoft.com/office/drawing/2014/main" id="{04EDF2C8-6091-42E1-A950-326318AE8E6E}"/>
              </a:ext>
            </a:extLst>
          </p:cNvPr>
          <p:cNvSpPr/>
          <p:nvPr/>
        </p:nvSpPr>
        <p:spPr>
          <a:xfrm>
            <a:off x="2371053" y="1836694"/>
            <a:ext cx="2686058" cy="611899"/>
          </a:xfrm>
          <a:prstGeom prst="rect">
            <a:avLst/>
          </a:prstGeom>
        </p:spPr>
        <p:txBody>
          <a:bodyPr wrap="square">
            <a:spAutoFit/>
          </a:bodyPr>
          <a:lstStyle/>
          <a:p>
            <a:pPr lvl="0" algn="ctr">
              <a:lnSpc>
                <a:spcPct val="150000"/>
              </a:lnSpc>
              <a:defRPr/>
            </a:pPr>
            <a:r>
              <a:rPr lang="en-US" sz="1200" dirty="0"/>
              <a:t>DIGITAL PRINTING TECHNOLOGICAL AND INNOVATIONS</a:t>
            </a:r>
          </a:p>
        </p:txBody>
      </p:sp>
      <p:sp>
        <p:nvSpPr>
          <p:cNvPr id="10" name="Rectangle 9">
            <a:extLst>
              <a:ext uri="{FF2B5EF4-FFF2-40B4-BE49-F238E27FC236}">
                <a16:creationId xmlns:a16="http://schemas.microsoft.com/office/drawing/2014/main" id="{7CC18DD8-F2EA-42B1-AC1F-C0678164D106}"/>
              </a:ext>
            </a:extLst>
          </p:cNvPr>
          <p:cNvSpPr/>
          <p:nvPr/>
        </p:nvSpPr>
        <p:spPr>
          <a:xfrm>
            <a:off x="5078659" y="2001338"/>
            <a:ext cx="2255881" cy="611899"/>
          </a:xfrm>
          <a:prstGeom prst="rect">
            <a:avLst/>
          </a:prstGeom>
        </p:spPr>
        <p:txBody>
          <a:bodyPr wrap="square">
            <a:spAutoFit/>
          </a:bodyPr>
          <a:lstStyle/>
          <a:p>
            <a:pPr lvl="0" algn="ctr">
              <a:lnSpc>
                <a:spcPct val="150000"/>
              </a:lnSpc>
              <a:defRPr/>
            </a:pPr>
            <a:r>
              <a:rPr lang="en-US" sz="1200" dirty="0"/>
              <a:t>INCREASING INVESTMENT IN INFRASTRUCTURE </a:t>
            </a:r>
          </a:p>
        </p:txBody>
      </p:sp>
      <p:sp>
        <p:nvSpPr>
          <p:cNvPr id="13" name="Rectangle 12">
            <a:extLst>
              <a:ext uri="{FF2B5EF4-FFF2-40B4-BE49-F238E27FC236}">
                <a16:creationId xmlns:a16="http://schemas.microsoft.com/office/drawing/2014/main" id="{216BC18E-4845-424F-ACC4-AD7EB28BF0B5}"/>
              </a:ext>
            </a:extLst>
          </p:cNvPr>
          <p:cNvSpPr/>
          <p:nvPr/>
        </p:nvSpPr>
        <p:spPr>
          <a:xfrm>
            <a:off x="3393325" y="5274253"/>
            <a:ext cx="1846725" cy="334900"/>
          </a:xfrm>
          <a:prstGeom prst="rect">
            <a:avLst/>
          </a:prstGeom>
        </p:spPr>
        <p:txBody>
          <a:bodyPr wrap="square">
            <a:spAutoFit/>
          </a:bodyPr>
          <a:lstStyle/>
          <a:p>
            <a:pPr lvl="0" algn="ctr">
              <a:lnSpc>
                <a:spcPct val="150000"/>
              </a:lnSpc>
              <a:defRPr/>
            </a:pPr>
            <a:r>
              <a:rPr lang="en-US" sz="1200" dirty="0">
                <a:solidFill>
                  <a:srgbClr val="292827"/>
                </a:solidFill>
              </a:rPr>
              <a:t>DIFFICULT TO RECYCLE</a:t>
            </a:r>
          </a:p>
        </p:txBody>
      </p:sp>
      <p:sp>
        <p:nvSpPr>
          <p:cNvPr id="30" name="Text Placeholder 5">
            <a:extLst>
              <a:ext uri="{FF2B5EF4-FFF2-40B4-BE49-F238E27FC236}">
                <a16:creationId xmlns:a16="http://schemas.microsoft.com/office/drawing/2014/main" id="{B066E640-0DF1-45A9-BA95-541CAF27BC62}"/>
              </a:ext>
            </a:extLst>
          </p:cNvPr>
          <p:cNvSpPr txBox="1">
            <a:spLocks/>
          </p:cNvSpPr>
          <p:nvPr/>
        </p:nvSpPr>
        <p:spPr>
          <a:xfrm>
            <a:off x="267845" y="174347"/>
            <a:ext cx="10601790"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900" b="1" kern="1200" cap="all" baseline="0">
                <a:solidFill>
                  <a:schemeClr val="bg1"/>
                </a:solidFill>
                <a:latin typeface="Lato Black" panose="020F0502020204030203" pitchFamily="34" charset="0"/>
                <a:ea typeface="Lato Black" panose="020F0502020204030203" pitchFamily="34" charset="0"/>
                <a:cs typeface="Lato Black" panose="020F0502020204030203" pitchFamily="34" charset="0"/>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00B0D1"/>
              </a:buClr>
              <a:defRPr/>
            </a:pPr>
            <a:r>
              <a:rPr lang="en-US" dirty="0">
                <a:solidFill>
                  <a:prstClr val="white"/>
                </a:solidFill>
              </a:rPr>
              <a:t>4. MARKET INSIGHTS and dynamics</a:t>
            </a:r>
          </a:p>
        </p:txBody>
      </p:sp>
      <p:sp>
        <p:nvSpPr>
          <p:cNvPr id="28" name="AutoShape 15">
            <a:extLst>
              <a:ext uri="{FF2B5EF4-FFF2-40B4-BE49-F238E27FC236}">
                <a16:creationId xmlns:a16="http://schemas.microsoft.com/office/drawing/2014/main" id="{C4FBF12D-FC9B-476E-ACE3-7984B7DB8595}"/>
              </a:ext>
            </a:extLst>
          </p:cNvPr>
          <p:cNvSpPr>
            <a:spLocks noChangeArrowheads="1"/>
          </p:cNvSpPr>
          <p:nvPr/>
        </p:nvSpPr>
        <p:spPr bwMode="auto">
          <a:xfrm rot="10800000">
            <a:off x="7050525" y="4160374"/>
            <a:ext cx="377373" cy="1014262"/>
          </a:xfrm>
          <a:prstGeom prst="upArrow">
            <a:avLst>
              <a:gd name="adj1" fmla="val 50000"/>
              <a:gd name="adj2" fmla="val 129125"/>
            </a:avLst>
          </a:prstGeom>
          <a:solidFill>
            <a:srgbClr val="FA7A1A"/>
          </a:solidFill>
          <a:ln>
            <a:noFill/>
            <a:headEnd/>
            <a:tailEnd/>
          </a:ln>
          <a:effectLst>
            <a:outerShdw blurRad="57150" dist="19050" dir="5400000" algn="ctr" rotWithShape="0">
              <a:srgbClr val="000000">
                <a:alpha val="63000"/>
              </a:srgbClr>
            </a:outerShdw>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sp>
        <p:nvSpPr>
          <p:cNvPr id="29" name="Rectangle 28">
            <a:extLst>
              <a:ext uri="{FF2B5EF4-FFF2-40B4-BE49-F238E27FC236}">
                <a16:creationId xmlns:a16="http://schemas.microsoft.com/office/drawing/2014/main" id="{8F6569A1-25F2-478D-A6A1-B3C9E9C9A53C}"/>
              </a:ext>
            </a:extLst>
          </p:cNvPr>
          <p:cNvSpPr/>
          <p:nvPr/>
        </p:nvSpPr>
        <p:spPr>
          <a:xfrm>
            <a:off x="5834360" y="5134840"/>
            <a:ext cx="3545269" cy="334900"/>
          </a:xfrm>
          <a:prstGeom prst="rect">
            <a:avLst/>
          </a:prstGeom>
        </p:spPr>
        <p:txBody>
          <a:bodyPr wrap="square">
            <a:spAutoFit/>
          </a:bodyPr>
          <a:lstStyle/>
          <a:p>
            <a:pPr lvl="0" algn="ctr">
              <a:lnSpc>
                <a:spcPct val="150000"/>
              </a:lnSpc>
              <a:defRPr/>
            </a:pPr>
            <a:r>
              <a:rPr lang="en-US" sz="1200" dirty="0">
                <a:solidFill>
                  <a:srgbClr val="292827"/>
                </a:solidFill>
              </a:rPr>
              <a:t>XX</a:t>
            </a:r>
          </a:p>
        </p:txBody>
      </p:sp>
      <p:sp>
        <p:nvSpPr>
          <p:cNvPr id="45" name="AutoShape 9">
            <a:extLst>
              <a:ext uri="{FF2B5EF4-FFF2-40B4-BE49-F238E27FC236}">
                <a16:creationId xmlns:a16="http://schemas.microsoft.com/office/drawing/2014/main" id="{67E900D3-7629-456B-9323-818CA229C7C6}"/>
              </a:ext>
            </a:extLst>
          </p:cNvPr>
          <p:cNvSpPr>
            <a:spLocks noChangeArrowheads="1"/>
          </p:cNvSpPr>
          <p:nvPr/>
        </p:nvSpPr>
        <p:spPr bwMode="auto">
          <a:xfrm>
            <a:off x="8098355" y="2609246"/>
            <a:ext cx="379295" cy="1111333"/>
          </a:xfrm>
          <a:prstGeom prst="upArrow">
            <a:avLst>
              <a:gd name="adj1" fmla="val 50000"/>
              <a:gd name="adj2" fmla="val 85875"/>
            </a:avLst>
          </a:prstGeom>
          <a:solidFill>
            <a:srgbClr val="E8C921"/>
          </a:solidFill>
          <a:ln>
            <a:noFill/>
            <a:headEnd/>
            <a:tailEnd/>
          </a:ln>
          <a:effectLst>
            <a:outerShdw blurRad="57150" dist="19050" dir="5400000" algn="ctr" rotWithShape="0">
              <a:srgbClr val="000000">
                <a:alpha val="63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sp>
        <p:nvSpPr>
          <p:cNvPr id="46" name="AutoShape 9">
            <a:extLst>
              <a:ext uri="{FF2B5EF4-FFF2-40B4-BE49-F238E27FC236}">
                <a16:creationId xmlns:a16="http://schemas.microsoft.com/office/drawing/2014/main" id="{9B8964A9-CB70-4D3D-8B4F-B2C357C4AB34}"/>
              </a:ext>
            </a:extLst>
          </p:cNvPr>
          <p:cNvSpPr>
            <a:spLocks noChangeArrowheads="1"/>
          </p:cNvSpPr>
          <p:nvPr/>
        </p:nvSpPr>
        <p:spPr bwMode="auto">
          <a:xfrm>
            <a:off x="10091497" y="2619100"/>
            <a:ext cx="379295" cy="1111333"/>
          </a:xfrm>
          <a:prstGeom prst="upArrow">
            <a:avLst>
              <a:gd name="adj1" fmla="val 50000"/>
              <a:gd name="adj2" fmla="val 85875"/>
            </a:avLst>
          </a:prstGeom>
          <a:solidFill>
            <a:srgbClr val="E8C921"/>
          </a:solidFill>
          <a:ln>
            <a:noFill/>
            <a:headEnd/>
            <a:tailEnd/>
          </a:ln>
          <a:effectLst>
            <a:outerShdw blurRad="57150" dist="19050" dir="5400000" algn="ctr" rotWithShape="0">
              <a:srgbClr val="000000">
                <a:alpha val="63000"/>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Lato"/>
              <a:ea typeface="+mn-ea"/>
              <a:cs typeface="+mn-cs"/>
            </a:endParaRPr>
          </a:p>
        </p:txBody>
      </p:sp>
      <p:sp>
        <p:nvSpPr>
          <p:cNvPr id="3" name="Rectangle 2">
            <a:extLst>
              <a:ext uri="{FF2B5EF4-FFF2-40B4-BE49-F238E27FC236}">
                <a16:creationId xmlns:a16="http://schemas.microsoft.com/office/drawing/2014/main" id="{5F1106E0-B210-4993-9B93-2FBD5F4C5721}"/>
              </a:ext>
            </a:extLst>
          </p:cNvPr>
          <p:cNvSpPr/>
          <p:nvPr/>
        </p:nvSpPr>
        <p:spPr>
          <a:xfrm>
            <a:off x="8117115" y="2220678"/>
            <a:ext cx="367408" cy="276999"/>
          </a:xfrm>
          <a:prstGeom prst="rect">
            <a:avLst/>
          </a:prstGeom>
        </p:spPr>
        <p:txBody>
          <a:bodyPr wrap="none">
            <a:spAutoFit/>
          </a:bodyPr>
          <a:lstStyle/>
          <a:p>
            <a:r>
              <a:rPr lang="en-US" sz="1200" dirty="0"/>
              <a:t>XX</a:t>
            </a:r>
          </a:p>
        </p:txBody>
      </p:sp>
      <p:sp>
        <p:nvSpPr>
          <p:cNvPr id="47" name="Rectangle 46">
            <a:extLst>
              <a:ext uri="{FF2B5EF4-FFF2-40B4-BE49-F238E27FC236}">
                <a16:creationId xmlns:a16="http://schemas.microsoft.com/office/drawing/2014/main" id="{B9F526AF-1AE0-4D21-8111-090767C32FE8}"/>
              </a:ext>
            </a:extLst>
          </p:cNvPr>
          <p:cNvSpPr/>
          <p:nvPr/>
        </p:nvSpPr>
        <p:spPr>
          <a:xfrm>
            <a:off x="10103384" y="2307287"/>
            <a:ext cx="367408" cy="276999"/>
          </a:xfrm>
          <a:prstGeom prst="rect">
            <a:avLst/>
          </a:prstGeom>
        </p:spPr>
        <p:txBody>
          <a:bodyPr wrap="none">
            <a:spAutoFit/>
          </a:bodyPr>
          <a:lstStyle/>
          <a:p>
            <a:r>
              <a:rPr lang="en-US" sz="1200" dirty="0"/>
              <a:t>XX</a:t>
            </a:r>
          </a:p>
        </p:txBody>
      </p:sp>
      <p:sp>
        <p:nvSpPr>
          <p:cNvPr id="48" name="Text Placeholder 11">
            <a:extLst>
              <a:ext uri="{FF2B5EF4-FFF2-40B4-BE49-F238E27FC236}">
                <a16:creationId xmlns:a16="http://schemas.microsoft.com/office/drawing/2014/main" id="{A77440E0-83B7-4FB7-9BF8-5D48DC028573}"/>
              </a:ext>
            </a:extLst>
          </p:cNvPr>
          <p:cNvSpPr txBox="1">
            <a:spLocks/>
          </p:cNvSpPr>
          <p:nvPr/>
        </p:nvSpPr>
        <p:spPr>
          <a:xfrm>
            <a:off x="3249557" y="6035485"/>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0"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51599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7F4FD4-790F-4180-A79F-415D268C3406}"/>
              </a:ext>
            </a:extLst>
          </p:cNvPr>
          <p:cNvSpPr>
            <a:spLocks noGrp="1"/>
          </p:cNvSpPr>
          <p:nvPr>
            <p:ph type="body" sz="quarter" idx="53"/>
          </p:nvPr>
        </p:nvSpPr>
        <p:spPr/>
        <p:txBody>
          <a:bodyPr/>
          <a:lstStyle/>
          <a:p>
            <a:r>
              <a:rPr lang="en-US" sz="1200" dirty="0"/>
              <a:t>XX</a:t>
            </a:r>
          </a:p>
        </p:txBody>
      </p:sp>
      <p:sp>
        <p:nvSpPr>
          <p:cNvPr id="3" name="Text Placeholder 2">
            <a:extLst>
              <a:ext uri="{FF2B5EF4-FFF2-40B4-BE49-F238E27FC236}">
                <a16:creationId xmlns:a16="http://schemas.microsoft.com/office/drawing/2014/main" id="{2150B85C-1809-4366-9BBE-94FA28F843BD}"/>
              </a:ext>
            </a:extLst>
          </p:cNvPr>
          <p:cNvSpPr>
            <a:spLocks noGrp="1"/>
          </p:cNvSpPr>
          <p:nvPr>
            <p:ph type="body" sz="quarter" idx="54"/>
          </p:nvPr>
        </p:nvSpPr>
        <p:spPr/>
        <p:txBody>
          <a:bodyPr/>
          <a:lstStyle/>
          <a:p>
            <a:r>
              <a:rPr lang="en-US" sz="1200" dirty="0"/>
              <a:t>XX</a:t>
            </a:r>
          </a:p>
        </p:txBody>
      </p:sp>
      <p:sp>
        <p:nvSpPr>
          <p:cNvPr id="4" name="Text Placeholder 3">
            <a:extLst>
              <a:ext uri="{FF2B5EF4-FFF2-40B4-BE49-F238E27FC236}">
                <a16:creationId xmlns:a16="http://schemas.microsoft.com/office/drawing/2014/main" id="{6901A982-08BB-43CA-BA60-62FF9C0DD731}"/>
              </a:ext>
            </a:extLst>
          </p:cNvPr>
          <p:cNvSpPr>
            <a:spLocks noGrp="1"/>
          </p:cNvSpPr>
          <p:nvPr>
            <p:ph type="body" sz="quarter" idx="52"/>
          </p:nvPr>
        </p:nvSpPr>
        <p:spPr/>
        <p:txBody>
          <a:bodyPr/>
          <a:lstStyle/>
          <a:p>
            <a:r>
              <a:rPr lang="en-US" sz="1200" dirty="0"/>
              <a:t>XX</a:t>
            </a:r>
          </a:p>
        </p:txBody>
      </p:sp>
      <p:sp>
        <p:nvSpPr>
          <p:cNvPr id="5" name="Text Placeholder 4">
            <a:extLst>
              <a:ext uri="{FF2B5EF4-FFF2-40B4-BE49-F238E27FC236}">
                <a16:creationId xmlns:a16="http://schemas.microsoft.com/office/drawing/2014/main" id="{A6216C19-9EE3-4FCE-8BE8-0A1A7B5DA51D}"/>
              </a:ext>
            </a:extLst>
          </p:cNvPr>
          <p:cNvSpPr>
            <a:spLocks noGrp="1"/>
          </p:cNvSpPr>
          <p:nvPr>
            <p:ph type="body" sz="quarter" idx="51"/>
          </p:nvPr>
        </p:nvSpPr>
        <p:spPr/>
        <p:txBody>
          <a:bodyPr/>
          <a:lstStyle/>
          <a:p>
            <a:r>
              <a:rPr lang="en-US" sz="1200" dirty="0"/>
              <a:t>XX</a:t>
            </a:r>
          </a:p>
        </p:txBody>
      </p:sp>
      <p:sp>
        <p:nvSpPr>
          <p:cNvPr id="6" name="Title 5">
            <a:extLst>
              <a:ext uri="{FF2B5EF4-FFF2-40B4-BE49-F238E27FC236}">
                <a16:creationId xmlns:a16="http://schemas.microsoft.com/office/drawing/2014/main" id="{B9D6A7FB-AC92-4D4E-AAC4-396BB311D134}"/>
              </a:ext>
            </a:extLst>
          </p:cNvPr>
          <p:cNvSpPr>
            <a:spLocks noGrp="1"/>
          </p:cNvSpPr>
          <p:nvPr>
            <p:ph type="title"/>
          </p:nvPr>
        </p:nvSpPr>
        <p:spPr>
          <a:xfrm>
            <a:off x="335490" y="386899"/>
            <a:ext cx="11284424" cy="400110"/>
          </a:xfrm>
        </p:spPr>
        <p:txBody>
          <a:bodyPr/>
          <a:lstStyle/>
          <a:p>
            <a:r>
              <a:rPr lang="en-US" dirty="0"/>
              <a:t>4.5 Porter’s FIVE Forces Analysis</a:t>
            </a:r>
          </a:p>
        </p:txBody>
      </p:sp>
      <p:sp>
        <p:nvSpPr>
          <p:cNvPr id="7" name="Text Placeholder 6">
            <a:extLst>
              <a:ext uri="{FF2B5EF4-FFF2-40B4-BE49-F238E27FC236}">
                <a16:creationId xmlns:a16="http://schemas.microsoft.com/office/drawing/2014/main" id="{B6631CF8-54DD-4D92-B3C6-821411C38B9C}"/>
              </a:ext>
            </a:extLst>
          </p:cNvPr>
          <p:cNvSpPr>
            <a:spLocks noGrp="1"/>
          </p:cNvSpPr>
          <p:nvPr>
            <p:ph type="body" sz="quarter" idx="41"/>
          </p:nvPr>
        </p:nvSpPr>
        <p:spPr>
          <a:xfrm>
            <a:off x="335490" y="174600"/>
            <a:ext cx="10601790" cy="138499"/>
          </a:xfrm>
        </p:spPr>
        <p:txBody>
          <a:bodyPr/>
          <a:lstStyle/>
          <a:p>
            <a:pPr lvl="0">
              <a:buClr>
                <a:srgbClr val="00B0D1"/>
              </a:buClr>
              <a:defRPr/>
            </a:pPr>
            <a:r>
              <a:rPr lang="en-US" dirty="0">
                <a:solidFill>
                  <a:prstClr val="white"/>
                </a:solidFill>
              </a:rPr>
              <a:t>4. MARKET INSIGHTS and dynamics</a:t>
            </a:r>
          </a:p>
        </p:txBody>
      </p:sp>
      <p:sp>
        <p:nvSpPr>
          <p:cNvPr id="8" name="Text Placeholder 7">
            <a:extLst>
              <a:ext uri="{FF2B5EF4-FFF2-40B4-BE49-F238E27FC236}">
                <a16:creationId xmlns:a16="http://schemas.microsoft.com/office/drawing/2014/main" id="{95C2DB5A-1EEE-490D-A6EB-51BA2D0627C4}"/>
              </a:ext>
            </a:extLst>
          </p:cNvPr>
          <p:cNvSpPr>
            <a:spLocks noGrp="1"/>
          </p:cNvSpPr>
          <p:nvPr>
            <p:ph type="body" sz="quarter" idx="44"/>
          </p:nvPr>
        </p:nvSpPr>
        <p:spPr>
          <a:xfrm>
            <a:off x="7899013" y="1476294"/>
            <a:ext cx="3322361" cy="4351384"/>
          </a:xfrm>
        </p:spPr>
        <p:txBody>
          <a:bodyPr/>
          <a:lstStyle/>
          <a:p>
            <a:pPr>
              <a:lnSpc>
                <a:spcPct val="150000"/>
              </a:lnSpc>
              <a:spcBef>
                <a:spcPts val="0"/>
              </a:spcBef>
              <a:spcAft>
                <a:spcPts val="600"/>
              </a:spcAft>
              <a:buFont typeface="Webdings" panose="05030102010509060703" pitchFamily="18" charset="2"/>
              <a:buChar char="&lt;"/>
            </a:pPr>
            <a:r>
              <a:rPr lang="en-US" dirty="0"/>
              <a:t>The Porter’s five forces model studies the five identified competitive forces that shape every industry and market, in order to determine the intensity of the competition, and thus, the profitability and attractiveness of the industry. </a:t>
            </a:r>
          </a:p>
          <a:p>
            <a:pPr>
              <a:lnSpc>
                <a:spcPct val="150000"/>
              </a:lnSpc>
              <a:spcBef>
                <a:spcPts val="0"/>
              </a:spcBef>
              <a:spcAft>
                <a:spcPts val="600"/>
              </a:spcAft>
              <a:buFont typeface="Webdings" panose="05030102010509060703" pitchFamily="18" charset="2"/>
              <a:buChar char="&lt;"/>
            </a:pPr>
            <a:r>
              <a:rPr lang="en-US" dirty="0"/>
              <a:t>The objective of the growth strategy should be to adapt to these competitive forces in a manner that may improve the position of the organization. </a:t>
            </a:r>
          </a:p>
          <a:p>
            <a:pPr>
              <a:lnSpc>
                <a:spcPct val="150000"/>
              </a:lnSpc>
              <a:spcBef>
                <a:spcPts val="0"/>
              </a:spcBef>
              <a:spcAft>
                <a:spcPts val="600"/>
              </a:spcAft>
              <a:buFont typeface="Webdings" panose="05030102010509060703" pitchFamily="18" charset="2"/>
              <a:buChar char="&lt;"/>
            </a:pPr>
            <a:r>
              <a:rPr lang="en-US" dirty="0"/>
              <a:t>In the study, Porter’s five forces are analyzed considering the factors influencing each force and quantifying the factors through primaries and quantitative analysis. </a:t>
            </a:r>
          </a:p>
          <a:p>
            <a:pPr>
              <a:lnSpc>
                <a:spcPct val="150000"/>
              </a:lnSpc>
              <a:spcBef>
                <a:spcPts val="0"/>
              </a:spcBef>
              <a:spcAft>
                <a:spcPts val="600"/>
              </a:spcAft>
              <a:buFont typeface="Webdings" panose="05030102010509060703" pitchFamily="18" charset="2"/>
              <a:buChar char="&lt;"/>
            </a:pPr>
            <a:r>
              <a:rPr lang="en-US" dirty="0"/>
              <a:t>The quantified factors are further mapped out to derive the impact of each force on the competitive dynamics.</a:t>
            </a:r>
          </a:p>
        </p:txBody>
      </p:sp>
      <p:sp>
        <p:nvSpPr>
          <p:cNvPr id="9" name="Text Placeholder 8">
            <a:extLst>
              <a:ext uri="{FF2B5EF4-FFF2-40B4-BE49-F238E27FC236}">
                <a16:creationId xmlns:a16="http://schemas.microsoft.com/office/drawing/2014/main" id="{15C73601-71BE-4401-B459-6F691158FC46}"/>
              </a:ext>
            </a:extLst>
          </p:cNvPr>
          <p:cNvSpPr>
            <a:spLocks noGrp="1"/>
          </p:cNvSpPr>
          <p:nvPr>
            <p:ph type="body" sz="quarter" idx="47"/>
          </p:nvPr>
        </p:nvSpPr>
        <p:spPr>
          <a:xfrm>
            <a:off x="632119" y="1446950"/>
            <a:ext cx="2855661" cy="187167"/>
          </a:xfrm>
        </p:spPr>
        <p:txBody>
          <a:bodyPr/>
          <a:lstStyle/>
          <a:p>
            <a:r>
              <a:rPr lang="en-US" dirty="0"/>
              <a:t>THREAT OF NEW ENTRANTS</a:t>
            </a:r>
          </a:p>
        </p:txBody>
      </p:sp>
      <p:sp>
        <p:nvSpPr>
          <p:cNvPr id="10" name="Text Placeholder 9">
            <a:extLst>
              <a:ext uri="{FF2B5EF4-FFF2-40B4-BE49-F238E27FC236}">
                <a16:creationId xmlns:a16="http://schemas.microsoft.com/office/drawing/2014/main" id="{E71BA62F-E96D-4BFC-867F-C37EBDFBBDF5}"/>
              </a:ext>
            </a:extLst>
          </p:cNvPr>
          <p:cNvSpPr>
            <a:spLocks noGrp="1"/>
          </p:cNvSpPr>
          <p:nvPr>
            <p:ph type="body" sz="quarter" idx="48"/>
          </p:nvPr>
        </p:nvSpPr>
        <p:spPr>
          <a:xfrm>
            <a:off x="3816979" y="1446950"/>
            <a:ext cx="2855661" cy="187167"/>
          </a:xfrm>
        </p:spPr>
        <p:txBody>
          <a:bodyPr/>
          <a:lstStyle/>
          <a:p>
            <a:r>
              <a:rPr lang="en-US" dirty="0"/>
              <a:t>THREAT OF SUBSTITUTES</a:t>
            </a:r>
          </a:p>
        </p:txBody>
      </p:sp>
      <p:sp>
        <p:nvSpPr>
          <p:cNvPr id="11" name="Text Placeholder 10">
            <a:extLst>
              <a:ext uri="{FF2B5EF4-FFF2-40B4-BE49-F238E27FC236}">
                <a16:creationId xmlns:a16="http://schemas.microsoft.com/office/drawing/2014/main" id="{54D3C134-EE09-4BB4-890A-6E819A77551E}"/>
              </a:ext>
            </a:extLst>
          </p:cNvPr>
          <p:cNvSpPr>
            <a:spLocks noGrp="1"/>
          </p:cNvSpPr>
          <p:nvPr>
            <p:ph type="body" sz="quarter" idx="49"/>
          </p:nvPr>
        </p:nvSpPr>
        <p:spPr>
          <a:xfrm>
            <a:off x="632119" y="5827678"/>
            <a:ext cx="2855661" cy="187167"/>
          </a:xfrm>
        </p:spPr>
        <p:txBody>
          <a:bodyPr/>
          <a:lstStyle/>
          <a:p>
            <a:r>
              <a:rPr lang="en-US" dirty="0"/>
              <a:t>BARGAINING POWER OF BUYERS</a:t>
            </a:r>
          </a:p>
        </p:txBody>
      </p:sp>
      <p:sp>
        <p:nvSpPr>
          <p:cNvPr id="12" name="Text Placeholder 11">
            <a:extLst>
              <a:ext uri="{FF2B5EF4-FFF2-40B4-BE49-F238E27FC236}">
                <a16:creationId xmlns:a16="http://schemas.microsoft.com/office/drawing/2014/main" id="{689E07B7-ED2F-4437-8936-400D0E5BF6EA}"/>
              </a:ext>
            </a:extLst>
          </p:cNvPr>
          <p:cNvSpPr>
            <a:spLocks noGrp="1"/>
          </p:cNvSpPr>
          <p:nvPr>
            <p:ph type="body" sz="quarter" idx="50"/>
          </p:nvPr>
        </p:nvSpPr>
        <p:spPr>
          <a:xfrm>
            <a:off x="3816979" y="5827678"/>
            <a:ext cx="2855661" cy="187167"/>
          </a:xfrm>
        </p:spPr>
        <p:txBody>
          <a:bodyPr/>
          <a:lstStyle/>
          <a:p>
            <a:r>
              <a:rPr lang="en-US" dirty="0"/>
              <a:t>BARGAINING POWER OF SUPPLIERS</a:t>
            </a:r>
          </a:p>
        </p:txBody>
      </p:sp>
      <p:sp>
        <p:nvSpPr>
          <p:cNvPr id="13" name="Text Placeholder 12">
            <a:extLst>
              <a:ext uri="{FF2B5EF4-FFF2-40B4-BE49-F238E27FC236}">
                <a16:creationId xmlns:a16="http://schemas.microsoft.com/office/drawing/2014/main" id="{B1AB7D4A-EC7D-46BA-AFC0-877EB5CFE67B}"/>
              </a:ext>
            </a:extLst>
          </p:cNvPr>
          <p:cNvSpPr>
            <a:spLocks noGrp="1"/>
          </p:cNvSpPr>
          <p:nvPr>
            <p:ph type="body" sz="quarter" idx="55"/>
          </p:nvPr>
        </p:nvSpPr>
        <p:spPr>
          <a:xfrm>
            <a:off x="2752640" y="2697264"/>
            <a:ext cx="1799480" cy="1795795"/>
          </a:xfrm>
        </p:spPr>
        <p:txBody>
          <a:bodyPr/>
          <a:lstStyle/>
          <a:p>
            <a:endParaRPr lang="en-US" sz="1200" dirty="0"/>
          </a:p>
        </p:txBody>
      </p:sp>
      <p:sp>
        <p:nvSpPr>
          <p:cNvPr id="15" name="Text Placeholder 14">
            <a:extLst>
              <a:ext uri="{FF2B5EF4-FFF2-40B4-BE49-F238E27FC236}">
                <a16:creationId xmlns:a16="http://schemas.microsoft.com/office/drawing/2014/main" id="{07F30394-15D2-4478-BDA1-F6860F640B31}"/>
              </a:ext>
            </a:extLst>
          </p:cNvPr>
          <p:cNvSpPr>
            <a:spLocks noGrp="1"/>
          </p:cNvSpPr>
          <p:nvPr>
            <p:ph type="body" sz="quarter" idx="46"/>
          </p:nvPr>
        </p:nvSpPr>
        <p:spPr>
          <a:xfrm>
            <a:off x="2889121" y="3669929"/>
            <a:ext cx="1526518" cy="166199"/>
          </a:xfrm>
        </p:spPr>
        <p:txBody>
          <a:bodyPr/>
          <a:lstStyle/>
          <a:p>
            <a:r>
              <a:rPr lang="en-US" sz="1200" dirty="0"/>
              <a:t>XX</a:t>
            </a:r>
          </a:p>
        </p:txBody>
      </p:sp>
      <p:sp>
        <p:nvSpPr>
          <p:cNvPr id="14" name="Text Placeholder 13">
            <a:extLst>
              <a:ext uri="{FF2B5EF4-FFF2-40B4-BE49-F238E27FC236}">
                <a16:creationId xmlns:a16="http://schemas.microsoft.com/office/drawing/2014/main" id="{F9DAE53C-A7F5-4E8F-93BA-C01698D02A2A}"/>
              </a:ext>
            </a:extLst>
          </p:cNvPr>
          <p:cNvSpPr>
            <a:spLocks noGrp="1"/>
          </p:cNvSpPr>
          <p:nvPr>
            <p:ph type="body" sz="quarter" idx="45"/>
          </p:nvPr>
        </p:nvSpPr>
        <p:spPr>
          <a:xfrm>
            <a:off x="3166975" y="3202269"/>
            <a:ext cx="1031220" cy="374205"/>
          </a:xfrm>
        </p:spPr>
        <p:txBody>
          <a:bodyPr/>
          <a:lstStyle/>
          <a:p>
            <a:r>
              <a:rPr lang="en-US" sz="1150" dirty="0"/>
              <a:t>COMPETITIVE RIVALRY</a:t>
            </a:r>
          </a:p>
        </p:txBody>
      </p:sp>
      <p:sp>
        <p:nvSpPr>
          <p:cNvPr id="17" name="TextBox 1">
            <a:extLst>
              <a:ext uri="{FF2B5EF4-FFF2-40B4-BE49-F238E27FC236}">
                <a16:creationId xmlns:a16="http://schemas.microsoft.com/office/drawing/2014/main" id="{C59A7609-2F80-40BA-A58E-6CA85535F62F}"/>
              </a:ext>
            </a:extLst>
          </p:cNvPr>
          <p:cNvSpPr txBox="1"/>
          <p:nvPr/>
        </p:nvSpPr>
        <p:spPr>
          <a:xfrm>
            <a:off x="7312293" y="6239964"/>
            <a:ext cx="4495800"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b="1" i="1" dirty="0"/>
              <a:t>Complete Analysis will be Provided in the Full Report</a:t>
            </a:r>
            <a:endParaRPr lang="en-US" sz="1200" b="1" i="1" dirty="0"/>
          </a:p>
        </p:txBody>
      </p:sp>
    </p:spTree>
    <p:extLst>
      <p:ext uri="{BB962C8B-B14F-4D97-AF65-F5344CB8AC3E}">
        <p14:creationId xmlns:p14="http://schemas.microsoft.com/office/powerpoint/2010/main" val="92676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4A51-290B-48C3-A78C-9A754E78FC42}"/>
              </a:ext>
            </a:extLst>
          </p:cNvPr>
          <p:cNvSpPr>
            <a:spLocks noGrp="1"/>
          </p:cNvSpPr>
          <p:nvPr>
            <p:ph type="title"/>
          </p:nvPr>
        </p:nvSpPr>
        <p:spPr>
          <a:xfrm>
            <a:off x="320754" y="313099"/>
            <a:ext cx="11777953" cy="525593"/>
          </a:xfrm>
        </p:spPr>
        <p:txBody>
          <a:bodyPr/>
          <a:lstStyle/>
          <a:p>
            <a:pPr marL="457200" indent="-457200" algn="just">
              <a:lnSpc>
                <a:spcPct val="150000"/>
              </a:lnSpc>
              <a:spcAft>
                <a:spcPts val="600"/>
              </a:spcAft>
            </a:pPr>
            <a:r>
              <a:rPr lang="en-US" dirty="0">
                <a:latin typeface="Lato Black" panose="020F0502020204030203"/>
              </a:rPr>
              <a:t>4.7 Impact of the COVID-19 on the Market</a:t>
            </a:r>
          </a:p>
        </p:txBody>
      </p:sp>
      <p:sp>
        <p:nvSpPr>
          <p:cNvPr id="3" name="Text Placeholder 2">
            <a:extLst>
              <a:ext uri="{FF2B5EF4-FFF2-40B4-BE49-F238E27FC236}">
                <a16:creationId xmlns:a16="http://schemas.microsoft.com/office/drawing/2014/main" id="{A0FF5BFB-C808-4774-B7CA-DC36D43BA748}"/>
              </a:ext>
            </a:extLst>
          </p:cNvPr>
          <p:cNvSpPr>
            <a:spLocks noGrp="1"/>
          </p:cNvSpPr>
          <p:nvPr>
            <p:ph type="body" sz="quarter" idx="41"/>
          </p:nvPr>
        </p:nvSpPr>
        <p:spPr/>
        <p:txBody>
          <a:bodyPr/>
          <a:lstStyle/>
          <a:p>
            <a:pPr lvl="0">
              <a:buClr>
                <a:srgbClr val="00B0D1"/>
              </a:buClr>
              <a:defRPr/>
            </a:pPr>
            <a:r>
              <a:rPr lang="en-US" dirty="0">
                <a:solidFill>
                  <a:prstClr val="white"/>
                </a:solidFill>
              </a:rPr>
              <a:t>4. MARKET INSIGHTS and dynamics</a:t>
            </a:r>
          </a:p>
        </p:txBody>
      </p:sp>
      <p:sp>
        <p:nvSpPr>
          <p:cNvPr id="7" name="TextBox 6">
            <a:extLst>
              <a:ext uri="{FF2B5EF4-FFF2-40B4-BE49-F238E27FC236}">
                <a16:creationId xmlns:a16="http://schemas.microsoft.com/office/drawing/2014/main" id="{F25E19E7-30E9-4A0D-A50E-A21E432BBEA0}"/>
              </a:ext>
            </a:extLst>
          </p:cNvPr>
          <p:cNvSpPr txBox="1"/>
          <p:nvPr/>
        </p:nvSpPr>
        <p:spPr>
          <a:xfrm>
            <a:off x="335490" y="1310840"/>
            <a:ext cx="8744653" cy="2351221"/>
          </a:xfrm>
          <a:prstGeom prst="rect">
            <a:avLst/>
          </a:prstGeom>
          <a:noFill/>
        </p:spPr>
        <p:txBody>
          <a:bodyPr wrap="square" lIns="91440" tIns="45720" rIns="91440" bIns="45720" rtlCol="0" anchor="t">
            <a:spAutoFit/>
          </a:bodyPr>
          <a:lstStyle/>
          <a:p>
            <a:pPr marL="248285" marR="0" lvl="0" indent="-248285" algn="just" defTabSz="914400" rtl="0" eaLnBrk="1" fontAlgn="auto" latinLnBrk="0" hangingPunct="1">
              <a:lnSpc>
                <a:spcPct val="150000"/>
              </a:lnSpc>
              <a:spcBef>
                <a:spcPts val="0"/>
              </a:spcBef>
              <a:spcAft>
                <a:spcPts val="600"/>
              </a:spcAft>
              <a:buClr>
                <a:srgbClr val="54B8BD"/>
              </a:buClr>
              <a:buSzPct val="125000"/>
              <a:buFont typeface="Wingdings" panose="05000000000000000000" pitchFamily="2" charset="2"/>
              <a:buChar char="n"/>
              <a:tabLst/>
              <a:defRPr/>
            </a:pPr>
            <a:r>
              <a:rPr kumimoji="0" lang="en-US" sz="1200" b="0" i="0" u="none" strike="noStrike" kern="1200" cap="none" spc="0" normalizeH="0" baseline="0" noProof="0" dirty="0">
                <a:ln>
                  <a:noFill/>
                </a:ln>
                <a:solidFill>
                  <a:srgbClr val="292827"/>
                </a:solidFill>
                <a:effectLst/>
                <a:uLnTx/>
                <a:uFillTx/>
                <a:latin typeface="Lato"/>
                <a:ea typeface="+mn-ea"/>
                <a:cs typeface="+mn-cs"/>
              </a:rPr>
              <a:t>The COVID-19 outbreak disrupted the global business environment, and the outbreak led to the imposition of lockdowns in many countries across the world.</a:t>
            </a:r>
          </a:p>
          <a:p>
            <a:pPr marL="248285" marR="0" lvl="0" indent="-248285" algn="just" defTabSz="914400" rtl="0" eaLnBrk="1" fontAlgn="auto" latinLnBrk="0" hangingPunct="1">
              <a:lnSpc>
                <a:spcPct val="150000"/>
              </a:lnSpc>
              <a:spcBef>
                <a:spcPts val="0"/>
              </a:spcBef>
              <a:spcAft>
                <a:spcPts val="600"/>
              </a:spcAft>
              <a:buClr>
                <a:srgbClr val="54B8BD"/>
              </a:buClr>
              <a:buSzPct val="125000"/>
              <a:buFont typeface="Wingdings" panose="05000000000000000000" pitchFamily="2" charset="2"/>
              <a:buChar char="n"/>
              <a:tabLst/>
              <a:defRPr/>
            </a:pPr>
            <a:r>
              <a:rPr lang="en-US" sz="1200" b="0" i="0" dirty="0">
                <a:solidFill>
                  <a:srgbClr val="13293D"/>
                </a:solidFill>
                <a:effectLst/>
                <a:latin typeface="regular_medium"/>
              </a:rPr>
              <a:t>COVID-19 has shaken ASEAN economies and changed market scenario. It has negatively impacted the ASEAN Luxury Vinyl Tile (LVT) Market. Accordingly, this segment has took take the greatest hit in 2020. There was some concern that transactions would be halted due to manufacturing industries shutting down due to Coronavirus, restricted the construction of housing and building projects and the lockdown restrictions have limited the new purchases of LVT flooring and the outbreak is expected to continue to have a negative impact on businesses throughout 2020 and into 2021.</a:t>
            </a:r>
            <a:endParaRPr kumimoji="0" lang="en-US" sz="1200" b="0" i="0" u="none" strike="noStrike" kern="1200" cap="none" spc="0" normalizeH="0" baseline="0" noProof="0" dirty="0">
              <a:ln>
                <a:noFill/>
              </a:ln>
              <a:solidFill>
                <a:srgbClr val="292827"/>
              </a:solidFill>
              <a:effectLst/>
              <a:uLnTx/>
              <a:uFillTx/>
              <a:latin typeface="Lato"/>
              <a:ea typeface="+mn-ea"/>
              <a:cs typeface="+mn-cs"/>
            </a:endParaRPr>
          </a:p>
        </p:txBody>
      </p:sp>
      <p:pic>
        <p:nvPicPr>
          <p:cNvPr id="5" name="Picture 2" descr="Impact Of Covid-19 On Shipping And Logistics">
            <a:extLst>
              <a:ext uri="{FF2B5EF4-FFF2-40B4-BE49-F238E27FC236}">
                <a16:creationId xmlns:a16="http://schemas.microsoft.com/office/drawing/2014/main" id="{9F80E4A4-D9BA-47FF-89EF-1A4515ECA3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2442" y="1001218"/>
            <a:ext cx="2421869" cy="242778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1">
            <a:extLst>
              <a:ext uri="{FF2B5EF4-FFF2-40B4-BE49-F238E27FC236}">
                <a16:creationId xmlns:a16="http://schemas.microsoft.com/office/drawing/2014/main" id="{F77DD018-38D6-4F06-A443-BA14000F32ED}"/>
              </a:ext>
            </a:extLst>
          </p:cNvPr>
          <p:cNvSpPr txBox="1"/>
          <p:nvPr/>
        </p:nvSpPr>
        <p:spPr>
          <a:xfrm>
            <a:off x="3848100" y="5864202"/>
            <a:ext cx="4495800" cy="27699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b="1" i="1" dirty="0"/>
              <a:t>Complete Analysis will be Provided in the Full Report</a:t>
            </a:r>
            <a:endParaRPr lang="en-US" sz="1200" b="1" i="1" dirty="0"/>
          </a:p>
        </p:txBody>
      </p:sp>
    </p:spTree>
    <p:extLst>
      <p:ext uri="{BB962C8B-B14F-4D97-AF65-F5344CB8AC3E}">
        <p14:creationId xmlns:p14="http://schemas.microsoft.com/office/powerpoint/2010/main" val="2057907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D2F1FA-202E-4A08-AC5E-EB5EF6330F98}"/>
              </a:ext>
            </a:extLst>
          </p:cNvPr>
          <p:cNvSpPr/>
          <p:nvPr/>
        </p:nvSpPr>
        <p:spPr>
          <a:xfrm>
            <a:off x="0" y="2373972"/>
            <a:ext cx="3398800" cy="1245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205316" y="2261581"/>
            <a:ext cx="3244776" cy="861774"/>
          </a:xfrm>
        </p:spPr>
        <p:txBody>
          <a:bodyPr vert="horz" wrap="square" lIns="0" tIns="0" rIns="0" bIns="0" rtlCol="0" anchor="b" anchorCtr="0">
            <a:spAutoFit/>
          </a:bodyPr>
          <a:lstStyle/>
          <a:p>
            <a:r>
              <a:rPr lang="en-US" sz="2800" dirty="0"/>
              <a:t>5. MARKET SEGMENTATION</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TextBox 9">
            <a:extLst>
              <a:ext uri="{FF2B5EF4-FFF2-40B4-BE49-F238E27FC236}">
                <a16:creationId xmlns:a16="http://schemas.microsoft.com/office/drawing/2014/main" id="{EDC09B58-D428-4719-87B0-9E0F4F55BDCD}"/>
              </a:ext>
            </a:extLst>
          </p:cNvPr>
          <p:cNvSpPr txBox="1"/>
          <p:nvPr/>
        </p:nvSpPr>
        <p:spPr>
          <a:xfrm>
            <a:off x="154024" y="3264843"/>
            <a:ext cx="3545058" cy="2427781"/>
          </a:xfrm>
          <a:prstGeom prst="rect">
            <a:avLst/>
          </a:prstGeom>
          <a:noFill/>
        </p:spPr>
        <p:txBody>
          <a:bodyPr wrap="square">
            <a:spAutoFit/>
          </a:bodyPr>
          <a:lstStyle/>
          <a:p>
            <a:pPr marL="0" indent="0">
              <a:lnSpc>
                <a:spcPct val="150000"/>
              </a:lnSpc>
              <a:spcBef>
                <a:spcPts val="0"/>
              </a:spcBef>
              <a:spcAft>
                <a:spcPts val="300"/>
              </a:spcAft>
              <a:buNone/>
            </a:pPr>
            <a:r>
              <a:rPr lang="en-US" sz="1200" b="1" cap="none" dirty="0">
                <a:solidFill>
                  <a:schemeClr val="bg1"/>
                </a:solidFill>
              </a:rPr>
              <a:t>5.1 By Product Type</a:t>
            </a:r>
          </a:p>
          <a:p>
            <a:pPr lvl="1">
              <a:lnSpc>
                <a:spcPct val="150000"/>
              </a:lnSpc>
              <a:spcAft>
                <a:spcPts val="300"/>
              </a:spcAft>
            </a:pPr>
            <a:r>
              <a:rPr lang="en-US" sz="1200" b="1" cap="none" dirty="0">
                <a:solidFill>
                  <a:schemeClr val="bg1"/>
                </a:solidFill>
              </a:rPr>
              <a:t>5.1.1 </a:t>
            </a:r>
            <a:r>
              <a:rPr lang="en-US" sz="1200" b="1" dirty="0">
                <a:solidFill>
                  <a:schemeClr val="bg1"/>
                </a:solidFill>
              </a:rPr>
              <a:t>Rigid</a:t>
            </a:r>
            <a:endParaRPr lang="en-US" sz="1200" b="1" cap="none" dirty="0">
              <a:solidFill>
                <a:schemeClr val="bg1"/>
              </a:solidFill>
            </a:endParaRPr>
          </a:p>
          <a:p>
            <a:pPr lvl="1">
              <a:lnSpc>
                <a:spcPct val="150000"/>
              </a:lnSpc>
              <a:spcAft>
                <a:spcPts val="300"/>
              </a:spcAft>
            </a:pPr>
            <a:r>
              <a:rPr lang="en-US" sz="1200" b="1" cap="none" dirty="0">
                <a:solidFill>
                  <a:schemeClr val="bg1"/>
                </a:solidFill>
              </a:rPr>
              <a:t>5.1.2 Flexible</a:t>
            </a:r>
          </a:p>
          <a:p>
            <a:pPr>
              <a:lnSpc>
                <a:spcPct val="150000"/>
              </a:lnSpc>
            </a:pPr>
            <a:r>
              <a:rPr lang="en-US" sz="1200" b="1" dirty="0">
                <a:solidFill>
                  <a:schemeClr val="bg1"/>
                </a:solidFill>
              </a:rPr>
              <a:t>5.2 By End User</a:t>
            </a:r>
          </a:p>
          <a:p>
            <a:pPr lvl="1">
              <a:lnSpc>
                <a:spcPct val="150000"/>
              </a:lnSpc>
            </a:pPr>
            <a:r>
              <a:rPr lang="en-US" sz="1200" b="1" dirty="0">
                <a:solidFill>
                  <a:schemeClr val="bg1"/>
                </a:solidFill>
              </a:rPr>
              <a:t>5.2.1 Residential</a:t>
            </a:r>
          </a:p>
          <a:p>
            <a:pPr lvl="1">
              <a:lnSpc>
                <a:spcPct val="150000"/>
              </a:lnSpc>
            </a:pPr>
            <a:r>
              <a:rPr lang="en-US" sz="1200" b="1" dirty="0">
                <a:solidFill>
                  <a:schemeClr val="bg1"/>
                </a:solidFill>
              </a:rPr>
              <a:t>5.2.2 Commercial</a:t>
            </a:r>
          </a:p>
          <a:p>
            <a:pPr marL="0" indent="0">
              <a:lnSpc>
                <a:spcPct val="150000"/>
              </a:lnSpc>
              <a:spcBef>
                <a:spcPts val="0"/>
              </a:spcBef>
              <a:spcAft>
                <a:spcPts val="300"/>
              </a:spcAft>
              <a:buNone/>
            </a:pPr>
            <a:endParaRPr lang="en-US" sz="1200" b="1" cap="none" dirty="0">
              <a:solidFill>
                <a:schemeClr val="bg1"/>
              </a:solidFill>
            </a:endParaRPr>
          </a:p>
          <a:p>
            <a:pPr lvl="1">
              <a:lnSpc>
                <a:spcPct val="150000"/>
              </a:lnSpc>
              <a:spcAft>
                <a:spcPts val="300"/>
              </a:spcAft>
            </a:pPr>
            <a:endParaRPr lang="en-US" sz="1200" b="1" cap="none" dirty="0">
              <a:solidFill>
                <a:schemeClr val="bg1"/>
              </a:solidFill>
            </a:endParaRPr>
          </a:p>
        </p:txBody>
      </p:sp>
    </p:spTree>
    <p:extLst>
      <p:ext uri="{BB962C8B-B14F-4D97-AF65-F5344CB8AC3E}">
        <p14:creationId xmlns:p14="http://schemas.microsoft.com/office/powerpoint/2010/main" val="3069116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D2F1FA-202E-4A08-AC5E-EB5EF6330F98}"/>
              </a:ext>
            </a:extLst>
          </p:cNvPr>
          <p:cNvSpPr/>
          <p:nvPr/>
        </p:nvSpPr>
        <p:spPr>
          <a:xfrm>
            <a:off x="0" y="2373972"/>
            <a:ext cx="3398800" cy="1245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205316" y="2261581"/>
            <a:ext cx="3244776" cy="861774"/>
          </a:xfrm>
        </p:spPr>
        <p:txBody>
          <a:bodyPr vert="horz" wrap="square" lIns="0" tIns="0" rIns="0" bIns="0" rtlCol="0" anchor="b" anchorCtr="0">
            <a:spAutoFit/>
          </a:bodyPr>
          <a:lstStyle/>
          <a:p>
            <a:r>
              <a:rPr lang="en-US" sz="2800" dirty="0"/>
              <a:t>5. MARKET SEGMENTATION</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TextBox 9">
            <a:extLst>
              <a:ext uri="{FF2B5EF4-FFF2-40B4-BE49-F238E27FC236}">
                <a16:creationId xmlns:a16="http://schemas.microsoft.com/office/drawing/2014/main" id="{EDC09B58-D428-4719-87B0-9E0F4F55BDCD}"/>
              </a:ext>
            </a:extLst>
          </p:cNvPr>
          <p:cNvSpPr txBox="1"/>
          <p:nvPr/>
        </p:nvSpPr>
        <p:spPr>
          <a:xfrm>
            <a:off x="154024" y="3264843"/>
            <a:ext cx="3545058" cy="2530693"/>
          </a:xfrm>
          <a:prstGeom prst="rect">
            <a:avLst/>
          </a:prstGeom>
          <a:noFill/>
        </p:spPr>
        <p:txBody>
          <a:bodyPr wrap="square">
            <a:spAutoFit/>
          </a:bodyPr>
          <a:lstStyle/>
          <a:p>
            <a:pPr>
              <a:lnSpc>
                <a:spcPct val="150000"/>
              </a:lnSpc>
            </a:pPr>
            <a:r>
              <a:rPr lang="en-US" sz="1200" b="1" dirty="0">
                <a:solidFill>
                  <a:schemeClr val="bg1"/>
                </a:solidFill>
              </a:rPr>
              <a:t>5.3 By Distribution Channel</a:t>
            </a:r>
          </a:p>
          <a:p>
            <a:pPr lvl="1">
              <a:lnSpc>
                <a:spcPct val="150000"/>
              </a:lnSpc>
            </a:pPr>
            <a:r>
              <a:rPr lang="en-US" sz="1200" b="1" dirty="0">
                <a:solidFill>
                  <a:schemeClr val="bg1"/>
                </a:solidFill>
              </a:rPr>
              <a:t>5.3.1 Manufacturer Owned Stores</a:t>
            </a:r>
          </a:p>
          <a:p>
            <a:pPr lvl="1">
              <a:lnSpc>
                <a:spcPct val="150000"/>
              </a:lnSpc>
            </a:pPr>
            <a:r>
              <a:rPr lang="en-US" sz="1200" b="1" dirty="0">
                <a:solidFill>
                  <a:schemeClr val="bg1"/>
                </a:solidFill>
              </a:rPr>
              <a:t>5.3.2 Specialty Stores</a:t>
            </a:r>
          </a:p>
          <a:p>
            <a:pPr lvl="1">
              <a:lnSpc>
                <a:spcPct val="150000"/>
              </a:lnSpc>
            </a:pPr>
            <a:r>
              <a:rPr lang="en-US" sz="1200" b="1" dirty="0">
                <a:solidFill>
                  <a:schemeClr val="bg1"/>
                </a:solidFill>
              </a:rPr>
              <a:t>5.3.3 Online Stores</a:t>
            </a:r>
          </a:p>
          <a:p>
            <a:pPr lvl="1">
              <a:lnSpc>
                <a:spcPct val="150000"/>
              </a:lnSpc>
            </a:pPr>
            <a:r>
              <a:rPr lang="en-US" sz="1200" b="1" dirty="0">
                <a:solidFill>
                  <a:schemeClr val="bg1"/>
                </a:solidFill>
              </a:rPr>
              <a:t>5.3.4 Other Distribution Channels</a:t>
            </a:r>
          </a:p>
          <a:p>
            <a:pPr lvl="1">
              <a:lnSpc>
                <a:spcPct val="150000"/>
              </a:lnSpc>
            </a:pPr>
            <a:endParaRPr lang="en-US" sz="1200" b="1" dirty="0">
              <a:solidFill>
                <a:schemeClr val="bg1"/>
              </a:solidFill>
            </a:endParaRPr>
          </a:p>
          <a:p>
            <a:pPr lvl="1">
              <a:lnSpc>
                <a:spcPct val="150000"/>
              </a:lnSpc>
            </a:pPr>
            <a:endParaRPr lang="en-US" sz="1200" b="1" dirty="0">
              <a:solidFill>
                <a:schemeClr val="bg1"/>
              </a:solidFill>
            </a:endParaRPr>
          </a:p>
          <a:p>
            <a:pPr lvl="1">
              <a:lnSpc>
                <a:spcPct val="150000"/>
              </a:lnSpc>
            </a:pPr>
            <a:endParaRPr lang="en-US" sz="1200" dirty="0"/>
          </a:p>
          <a:p>
            <a:pPr marL="0" indent="0">
              <a:lnSpc>
                <a:spcPct val="150000"/>
              </a:lnSpc>
              <a:spcBef>
                <a:spcPts val="0"/>
              </a:spcBef>
              <a:spcAft>
                <a:spcPts val="300"/>
              </a:spcAft>
              <a:buNone/>
            </a:pPr>
            <a:r>
              <a:rPr lang="en-US" sz="1100" b="0" cap="none" dirty="0">
                <a:solidFill>
                  <a:schemeClr val="bg1"/>
                </a:solidFill>
              </a:rPr>
              <a:t> </a:t>
            </a:r>
          </a:p>
        </p:txBody>
      </p:sp>
    </p:spTree>
    <p:extLst>
      <p:ext uri="{BB962C8B-B14F-4D97-AF65-F5344CB8AC3E}">
        <p14:creationId xmlns:p14="http://schemas.microsoft.com/office/powerpoint/2010/main" val="1045376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D2F1FA-202E-4A08-AC5E-EB5EF6330F98}"/>
              </a:ext>
            </a:extLst>
          </p:cNvPr>
          <p:cNvSpPr/>
          <p:nvPr/>
        </p:nvSpPr>
        <p:spPr>
          <a:xfrm>
            <a:off x="0" y="2373972"/>
            <a:ext cx="3398800" cy="1245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205316" y="2261581"/>
            <a:ext cx="3244776" cy="861774"/>
          </a:xfrm>
        </p:spPr>
        <p:txBody>
          <a:bodyPr vert="horz" wrap="square" lIns="0" tIns="0" rIns="0" bIns="0" rtlCol="0" anchor="b" anchorCtr="0">
            <a:spAutoFit/>
          </a:bodyPr>
          <a:lstStyle/>
          <a:p>
            <a:r>
              <a:rPr lang="en-US" sz="2800" dirty="0"/>
              <a:t>5. MARKET SEGMENTATION</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TextBox 9">
            <a:extLst>
              <a:ext uri="{FF2B5EF4-FFF2-40B4-BE49-F238E27FC236}">
                <a16:creationId xmlns:a16="http://schemas.microsoft.com/office/drawing/2014/main" id="{EDC09B58-D428-4719-87B0-9E0F4F55BDCD}"/>
              </a:ext>
            </a:extLst>
          </p:cNvPr>
          <p:cNvSpPr txBox="1"/>
          <p:nvPr/>
        </p:nvSpPr>
        <p:spPr>
          <a:xfrm>
            <a:off x="154024" y="3264843"/>
            <a:ext cx="3545058" cy="3084691"/>
          </a:xfrm>
          <a:prstGeom prst="rect">
            <a:avLst/>
          </a:prstGeom>
          <a:noFill/>
        </p:spPr>
        <p:txBody>
          <a:bodyPr wrap="square">
            <a:spAutoFit/>
          </a:bodyPr>
          <a:lstStyle/>
          <a:p>
            <a:pPr>
              <a:lnSpc>
                <a:spcPct val="150000"/>
              </a:lnSpc>
            </a:pPr>
            <a:r>
              <a:rPr lang="en-US" sz="1200" b="1" dirty="0">
                <a:solidFill>
                  <a:schemeClr val="bg1"/>
                </a:solidFill>
              </a:rPr>
              <a:t>5.4 By Geography</a:t>
            </a:r>
          </a:p>
          <a:p>
            <a:pPr lvl="1">
              <a:lnSpc>
                <a:spcPct val="150000"/>
              </a:lnSpc>
            </a:pPr>
            <a:r>
              <a:rPr lang="en-US" sz="1200" b="1" dirty="0">
                <a:solidFill>
                  <a:schemeClr val="bg1"/>
                </a:solidFill>
              </a:rPr>
              <a:t>5.4.1 Indonesia</a:t>
            </a:r>
          </a:p>
          <a:p>
            <a:pPr lvl="1">
              <a:lnSpc>
                <a:spcPct val="150000"/>
              </a:lnSpc>
            </a:pPr>
            <a:r>
              <a:rPr lang="en-US" sz="1200" b="1" dirty="0">
                <a:solidFill>
                  <a:schemeClr val="bg1"/>
                </a:solidFill>
              </a:rPr>
              <a:t>5.4.2 Malaysia</a:t>
            </a:r>
          </a:p>
          <a:p>
            <a:pPr lvl="1">
              <a:lnSpc>
                <a:spcPct val="150000"/>
              </a:lnSpc>
            </a:pPr>
            <a:r>
              <a:rPr lang="en-US" sz="1200" b="1" dirty="0">
                <a:solidFill>
                  <a:schemeClr val="bg1"/>
                </a:solidFill>
              </a:rPr>
              <a:t>5.4.3 Philippines</a:t>
            </a:r>
          </a:p>
          <a:p>
            <a:pPr lvl="1">
              <a:lnSpc>
                <a:spcPct val="150000"/>
              </a:lnSpc>
            </a:pPr>
            <a:r>
              <a:rPr lang="en-US" sz="1200" b="1" dirty="0">
                <a:solidFill>
                  <a:schemeClr val="bg1"/>
                </a:solidFill>
              </a:rPr>
              <a:t>5.4.4 Singapore</a:t>
            </a:r>
          </a:p>
          <a:p>
            <a:pPr lvl="1">
              <a:lnSpc>
                <a:spcPct val="150000"/>
              </a:lnSpc>
            </a:pPr>
            <a:r>
              <a:rPr lang="en-US" sz="1200" b="1" dirty="0">
                <a:solidFill>
                  <a:schemeClr val="bg1"/>
                </a:solidFill>
              </a:rPr>
              <a:t>5.4.5 Thailand</a:t>
            </a:r>
          </a:p>
          <a:p>
            <a:pPr lvl="1">
              <a:lnSpc>
                <a:spcPct val="150000"/>
              </a:lnSpc>
            </a:pPr>
            <a:r>
              <a:rPr lang="en-US" sz="1200" b="1" dirty="0">
                <a:solidFill>
                  <a:schemeClr val="bg1"/>
                </a:solidFill>
              </a:rPr>
              <a:t>5.4.6 Vietnam</a:t>
            </a:r>
          </a:p>
          <a:p>
            <a:pPr lvl="1">
              <a:lnSpc>
                <a:spcPct val="150000"/>
              </a:lnSpc>
            </a:pPr>
            <a:r>
              <a:rPr lang="en-US" sz="1200" b="1" dirty="0">
                <a:solidFill>
                  <a:schemeClr val="bg1"/>
                </a:solidFill>
              </a:rPr>
              <a:t>5.4.7 Other Countries</a:t>
            </a:r>
          </a:p>
          <a:p>
            <a:pPr lvl="1">
              <a:lnSpc>
                <a:spcPct val="150000"/>
              </a:lnSpc>
            </a:pPr>
            <a:endParaRPr lang="en-US" sz="1200" b="1" dirty="0">
              <a:solidFill>
                <a:schemeClr val="bg1"/>
              </a:solidFill>
            </a:endParaRPr>
          </a:p>
          <a:p>
            <a:pPr lvl="1">
              <a:lnSpc>
                <a:spcPct val="150000"/>
              </a:lnSpc>
            </a:pPr>
            <a:endParaRPr lang="en-US" sz="1200" dirty="0"/>
          </a:p>
          <a:p>
            <a:pPr marL="0" indent="0">
              <a:lnSpc>
                <a:spcPct val="150000"/>
              </a:lnSpc>
              <a:spcBef>
                <a:spcPts val="0"/>
              </a:spcBef>
              <a:spcAft>
                <a:spcPts val="300"/>
              </a:spcAft>
              <a:buNone/>
            </a:pPr>
            <a:r>
              <a:rPr lang="en-US" sz="1100" b="0" cap="none" dirty="0">
                <a:solidFill>
                  <a:schemeClr val="bg1"/>
                </a:solidFill>
              </a:rPr>
              <a:t> </a:t>
            </a:r>
          </a:p>
        </p:txBody>
      </p:sp>
    </p:spTree>
    <p:extLst>
      <p:ext uri="{BB962C8B-B14F-4D97-AF65-F5344CB8AC3E}">
        <p14:creationId xmlns:p14="http://schemas.microsoft.com/office/powerpoint/2010/main" val="32838518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BB2E2C9-EDC4-4179-BAE5-342D5088F7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id="{7BB2E2C9-EDC4-4179-BAE5-342D5088F7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6AD77C-6F68-4A45-93D3-3A82528CF8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 name="Title 1">
            <a:extLst>
              <a:ext uri="{FF2B5EF4-FFF2-40B4-BE49-F238E27FC236}">
                <a16:creationId xmlns:a16="http://schemas.microsoft.com/office/drawing/2014/main" id="{C9114A51-290B-48C3-A78C-9A754E78FC42}"/>
              </a:ext>
            </a:extLst>
          </p:cNvPr>
          <p:cNvSpPr>
            <a:spLocks noGrp="1"/>
          </p:cNvSpPr>
          <p:nvPr>
            <p:ph type="title"/>
          </p:nvPr>
        </p:nvSpPr>
        <p:spPr>
          <a:xfrm>
            <a:off x="335490" y="396616"/>
            <a:ext cx="10601790" cy="400110"/>
          </a:xfrm>
        </p:spPr>
        <p:txBody>
          <a:bodyPr/>
          <a:lstStyle/>
          <a:p>
            <a:r>
              <a:rPr lang="en-US" dirty="0">
                <a:latin typeface="+mj-lt"/>
              </a:rPr>
              <a:t>5.1 BY PRODUCT Type</a:t>
            </a:r>
          </a:p>
        </p:txBody>
      </p:sp>
      <p:sp>
        <p:nvSpPr>
          <p:cNvPr id="32" name="Text Placeholder 31">
            <a:extLst>
              <a:ext uri="{FF2B5EF4-FFF2-40B4-BE49-F238E27FC236}">
                <a16:creationId xmlns:a16="http://schemas.microsoft.com/office/drawing/2014/main" id="{11B74CC2-88D3-4021-968D-81723DC74941}"/>
              </a:ext>
            </a:extLst>
          </p:cNvPr>
          <p:cNvSpPr>
            <a:spLocks noGrp="1"/>
          </p:cNvSpPr>
          <p:nvPr>
            <p:ph type="body" sz="quarter" idx="62"/>
          </p:nvPr>
        </p:nvSpPr>
        <p:spPr>
          <a:xfrm>
            <a:off x="8826548" y="1395573"/>
            <a:ext cx="2960869" cy="153888"/>
          </a:xfrm>
        </p:spPr>
        <p:txBody>
          <a:bodyPr/>
          <a:lstStyle/>
          <a:p>
            <a:r>
              <a:rPr lang="en-US" dirty="0"/>
              <a:t>Revenue (%), by Product Type, ASEAN, 2020</a:t>
            </a:r>
          </a:p>
        </p:txBody>
      </p:sp>
      <p:sp>
        <p:nvSpPr>
          <p:cNvPr id="34" name="Text Placeholder 33">
            <a:extLst>
              <a:ext uri="{FF2B5EF4-FFF2-40B4-BE49-F238E27FC236}">
                <a16:creationId xmlns:a16="http://schemas.microsoft.com/office/drawing/2014/main" id="{1606329B-6B6A-413E-A767-679F91E900C7}"/>
              </a:ext>
            </a:extLst>
          </p:cNvPr>
          <p:cNvSpPr>
            <a:spLocks noGrp="1"/>
          </p:cNvSpPr>
          <p:nvPr>
            <p:ph type="body" sz="quarter" idx="54"/>
          </p:nvPr>
        </p:nvSpPr>
        <p:spPr>
          <a:xfrm>
            <a:off x="8826554" y="1161673"/>
            <a:ext cx="3268862" cy="153888"/>
          </a:xfrm>
        </p:spPr>
        <p:txBody>
          <a:bodyPr/>
          <a:lstStyle/>
          <a:p>
            <a:pPr>
              <a:spcAft>
                <a:spcPts val="500"/>
              </a:spcAft>
            </a:pPr>
            <a:r>
              <a:rPr lang="en-US" sz="1000" dirty="0"/>
              <a:t>ASEAN LVT Market</a:t>
            </a:r>
          </a:p>
        </p:txBody>
      </p:sp>
      <p:graphicFrame>
        <p:nvGraphicFramePr>
          <p:cNvPr id="37" name="Chart Placeholder 36">
            <a:extLst>
              <a:ext uri="{FF2B5EF4-FFF2-40B4-BE49-F238E27FC236}">
                <a16:creationId xmlns:a16="http://schemas.microsoft.com/office/drawing/2014/main" id="{1927A434-D984-47A8-9EEC-0CB700D69A94}"/>
              </a:ext>
            </a:extLst>
          </p:cNvPr>
          <p:cNvGraphicFramePr>
            <a:graphicFrameLocks noGrp="1"/>
          </p:cNvGraphicFramePr>
          <p:nvPr>
            <p:ph type="chart" sz="quarter" idx="56"/>
            <p:extLst>
              <p:ext uri="{D42A27DB-BD31-4B8C-83A1-F6EECF244321}">
                <p14:modId xmlns:p14="http://schemas.microsoft.com/office/powerpoint/2010/main" val="2956648972"/>
              </p:ext>
            </p:extLst>
          </p:nvPr>
        </p:nvGraphicFramePr>
        <p:xfrm>
          <a:off x="8589963" y="1846263"/>
          <a:ext cx="3268662" cy="38052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Content Placeholder 22">
            <a:extLst>
              <a:ext uri="{FF2B5EF4-FFF2-40B4-BE49-F238E27FC236}">
                <a16:creationId xmlns:a16="http://schemas.microsoft.com/office/drawing/2014/main" id="{C474A6AC-F9A9-4B0A-928E-9A2773AF378E}"/>
              </a:ext>
            </a:extLst>
          </p:cNvPr>
          <p:cNvGraphicFramePr>
            <a:graphicFrameLocks/>
          </p:cNvGraphicFramePr>
          <p:nvPr>
            <p:extLst>
              <p:ext uri="{D42A27DB-BD31-4B8C-83A1-F6EECF244321}">
                <p14:modId xmlns:p14="http://schemas.microsoft.com/office/powerpoint/2010/main" val="891341893"/>
              </p:ext>
            </p:extLst>
          </p:nvPr>
        </p:nvGraphicFramePr>
        <p:xfrm>
          <a:off x="293924" y="1884806"/>
          <a:ext cx="8255058" cy="2778666"/>
        </p:xfrm>
        <a:graphic>
          <a:graphicData uri="http://schemas.openxmlformats.org/drawingml/2006/table">
            <a:tbl>
              <a:tblPr firstRow="1" bandRow="1">
                <a:tableStyleId>{5C22544A-7EE6-4342-B048-85BDC9FD1C3A}</a:tableStyleId>
              </a:tblPr>
              <a:tblGrid>
                <a:gridCol w="1118966">
                  <a:extLst>
                    <a:ext uri="{9D8B030D-6E8A-4147-A177-3AD203B41FA5}">
                      <a16:colId xmlns:a16="http://schemas.microsoft.com/office/drawing/2014/main" val="4171594264"/>
                    </a:ext>
                  </a:extLst>
                </a:gridCol>
                <a:gridCol w="664909">
                  <a:extLst>
                    <a:ext uri="{9D8B030D-6E8A-4147-A177-3AD203B41FA5}">
                      <a16:colId xmlns:a16="http://schemas.microsoft.com/office/drawing/2014/main" val="508009927"/>
                    </a:ext>
                  </a:extLst>
                </a:gridCol>
                <a:gridCol w="607363">
                  <a:extLst>
                    <a:ext uri="{9D8B030D-6E8A-4147-A177-3AD203B41FA5}">
                      <a16:colId xmlns:a16="http://schemas.microsoft.com/office/drawing/2014/main" val="184378190"/>
                    </a:ext>
                  </a:extLst>
                </a:gridCol>
                <a:gridCol w="651535">
                  <a:extLst>
                    <a:ext uri="{9D8B030D-6E8A-4147-A177-3AD203B41FA5}">
                      <a16:colId xmlns:a16="http://schemas.microsoft.com/office/drawing/2014/main" val="1646064905"/>
                    </a:ext>
                  </a:extLst>
                </a:gridCol>
                <a:gridCol w="651535">
                  <a:extLst>
                    <a:ext uri="{9D8B030D-6E8A-4147-A177-3AD203B41FA5}">
                      <a16:colId xmlns:a16="http://schemas.microsoft.com/office/drawing/2014/main" val="2193380829"/>
                    </a:ext>
                  </a:extLst>
                </a:gridCol>
                <a:gridCol w="651535">
                  <a:extLst>
                    <a:ext uri="{9D8B030D-6E8A-4147-A177-3AD203B41FA5}">
                      <a16:colId xmlns:a16="http://schemas.microsoft.com/office/drawing/2014/main" val="848662265"/>
                    </a:ext>
                  </a:extLst>
                </a:gridCol>
                <a:gridCol w="651535">
                  <a:extLst>
                    <a:ext uri="{9D8B030D-6E8A-4147-A177-3AD203B41FA5}">
                      <a16:colId xmlns:a16="http://schemas.microsoft.com/office/drawing/2014/main" val="20006"/>
                    </a:ext>
                  </a:extLst>
                </a:gridCol>
                <a:gridCol w="651535">
                  <a:extLst>
                    <a:ext uri="{9D8B030D-6E8A-4147-A177-3AD203B41FA5}">
                      <a16:colId xmlns:a16="http://schemas.microsoft.com/office/drawing/2014/main" val="20007"/>
                    </a:ext>
                  </a:extLst>
                </a:gridCol>
                <a:gridCol w="651535">
                  <a:extLst>
                    <a:ext uri="{9D8B030D-6E8A-4147-A177-3AD203B41FA5}">
                      <a16:colId xmlns:a16="http://schemas.microsoft.com/office/drawing/2014/main" val="20008"/>
                    </a:ext>
                  </a:extLst>
                </a:gridCol>
                <a:gridCol w="500665">
                  <a:extLst>
                    <a:ext uri="{9D8B030D-6E8A-4147-A177-3AD203B41FA5}">
                      <a16:colId xmlns:a16="http://schemas.microsoft.com/office/drawing/2014/main" val="20009"/>
                    </a:ext>
                  </a:extLst>
                </a:gridCol>
                <a:gridCol w="557416">
                  <a:extLst>
                    <a:ext uri="{9D8B030D-6E8A-4147-A177-3AD203B41FA5}">
                      <a16:colId xmlns:a16="http://schemas.microsoft.com/office/drawing/2014/main" val="1182920110"/>
                    </a:ext>
                  </a:extLst>
                </a:gridCol>
                <a:gridCol w="896529">
                  <a:extLst>
                    <a:ext uri="{9D8B030D-6E8A-4147-A177-3AD203B41FA5}">
                      <a16:colId xmlns:a16="http://schemas.microsoft.com/office/drawing/2014/main" val="154954166"/>
                    </a:ext>
                  </a:extLst>
                </a:gridCol>
              </a:tblGrid>
              <a:tr h="678688">
                <a:tc>
                  <a:txBody>
                    <a:bodyPr/>
                    <a:lstStyle/>
                    <a:p>
                      <a:pPr algn="ctr">
                        <a:lnSpc>
                          <a:spcPct val="100000"/>
                        </a:lnSpc>
                      </a:pPr>
                      <a:r>
                        <a:rPr lang="en-US" sz="1100" b="1" dirty="0">
                          <a:solidFill>
                            <a:schemeClr val="accent1"/>
                          </a:solidFill>
                          <a:latin typeface="+mn-lt"/>
                        </a:rPr>
                        <a:t>Type</a:t>
                      </a:r>
                    </a:p>
                  </a:txBody>
                  <a:tcPr marL="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7</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8</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9</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0</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1</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2</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3</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4</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5</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6</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CAGR (%)</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00300721"/>
                  </a:ext>
                </a:extLst>
              </a:tr>
              <a:tr h="766979">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Rigid</a:t>
                      </a:r>
                    </a:p>
                  </a:txBody>
                  <a:tcPr marL="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4194651080"/>
                  </a:ext>
                </a:extLst>
              </a:tr>
              <a:tr h="717383">
                <a:tc>
                  <a:txBody>
                    <a:bodyPr/>
                    <a:lstStyle/>
                    <a:p>
                      <a:pPr marL="0" marR="0" algn="l">
                        <a:lnSpc>
                          <a:spcPct val="150000"/>
                        </a:lnSpc>
                        <a:spcBef>
                          <a:spcPts val="0"/>
                        </a:spcBef>
                        <a:spcAft>
                          <a:spcPts val="800"/>
                        </a:spcAft>
                      </a:pPr>
                      <a:r>
                        <a:rPr lang="en-US" sz="1100" b="1" dirty="0">
                          <a:solidFill>
                            <a:schemeClr val="tx1"/>
                          </a:solidFill>
                          <a:latin typeface="+mn-lt"/>
                          <a:ea typeface="Calibri" panose="020F0502020204030204" pitchFamily="34" charset="0"/>
                          <a:cs typeface="Times New Roman" panose="02020603050405020304" pitchFamily="18" charset="0"/>
                        </a:rPr>
                        <a:t>Flexible</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726231322"/>
                  </a:ext>
                </a:extLst>
              </a:tr>
              <a:tr h="615616">
                <a:tc>
                  <a:txBody>
                    <a:bodyPr/>
                    <a:lstStyle/>
                    <a:p>
                      <a:pPr algn="l" fontAlgn="b"/>
                      <a:r>
                        <a:rPr lang="en-US" sz="1100" b="1" i="0" u="none" strike="noStrike" dirty="0">
                          <a:solidFill>
                            <a:schemeClr val="tx1"/>
                          </a:solidFill>
                          <a:effectLst/>
                          <a:latin typeface="+mn-lt"/>
                        </a:rPr>
                        <a:t>Total</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3955466337"/>
                  </a:ext>
                </a:extLst>
              </a:tr>
            </a:tbl>
          </a:graphicData>
        </a:graphic>
      </p:graphicFrame>
      <p:sp>
        <p:nvSpPr>
          <p:cNvPr id="54" name="Text Placeholder 4">
            <a:extLst>
              <a:ext uri="{FF2B5EF4-FFF2-40B4-BE49-F238E27FC236}">
                <a16:creationId xmlns:a16="http://schemas.microsoft.com/office/drawing/2014/main" id="{6259AEAF-80FE-4FCA-9E93-0E9D85F8B6F5}"/>
              </a:ext>
            </a:extLst>
          </p:cNvPr>
          <p:cNvSpPr txBox="1">
            <a:spLocks/>
          </p:cNvSpPr>
          <p:nvPr/>
        </p:nvSpPr>
        <p:spPr>
          <a:xfrm>
            <a:off x="275529" y="1152562"/>
            <a:ext cx="4878361" cy="184666"/>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lang="en-US" sz="1200" b="1" kern="1200" cap="all" baseline="0" dirty="0">
                <a:solidFill>
                  <a:schemeClr val="accent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dirty="0"/>
              <a:t>ASEAN LVT Market</a:t>
            </a:r>
            <a:endParaRPr lang="en-US" dirty="0">
              <a:latin typeface="+mj-lt"/>
            </a:endParaRPr>
          </a:p>
        </p:txBody>
      </p:sp>
      <p:sp>
        <p:nvSpPr>
          <p:cNvPr id="55" name="Text Placeholder 4">
            <a:extLst>
              <a:ext uri="{FF2B5EF4-FFF2-40B4-BE49-F238E27FC236}">
                <a16:creationId xmlns:a16="http://schemas.microsoft.com/office/drawing/2014/main" id="{87967FF1-4F5C-4DEC-9A40-A5A3FB878033}"/>
              </a:ext>
            </a:extLst>
          </p:cNvPr>
          <p:cNvSpPr txBox="1">
            <a:spLocks/>
          </p:cNvSpPr>
          <p:nvPr/>
        </p:nvSpPr>
        <p:spPr>
          <a:xfrm>
            <a:off x="275528" y="1377946"/>
            <a:ext cx="4671970" cy="153888"/>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500"/>
              </a:spcAft>
              <a:buClr>
                <a:schemeClr val="accent2"/>
              </a:buClr>
              <a:buFont typeface="Arial" panose="020B0604020202020204" pitchFamily="34" charset="0"/>
              <a:buNone/>
              <a:defRPr lang="en-US" sz="1000" b="0" kern="1200" cap="none" baseline="0" dirty="0">
                <a:solidFill>
                  <a:schemeClr val="bg1">
                    <a:lumMod val="50000"/>
                  </a:schemeClr>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venue in USD million, by Product Type, ASEAN, 2017-2026</a:t>
            </a:r>
          </a:p>
        </p:txBody>
      </p:sp>
      <p:sp>
        <p:nvSpPr>
          <p:cNvPr id="57" name="Text Placeholder 10">
            <a:extLst>
              <a:ext uri="{FF2B5EF4-FFF2-40B4-BE49-F238E27FC236}">
                <a16:creationId xmlns:a16="http://schemas.microsoft.com/office/drawing/2014/main" id="{50301D9A-E02C-4E4F-B8AF-32395685BAFF}"/>
              </a:ext>
            </a:extLst>
          </p:cNvPr>
          <p:cNvSpPr txBox="1">
            <a:spLocks/>
          </p:cNvSpPr>
          <p:nvPr/>
        </p:nvSpPr>
        <p:spPr>
          <a:xfrm>
            <a:off x="275528" y="5854950"/>
            <a:ext cx="5807313" cy="156005"/>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58" name="Text Placeholder 10">
            <a:extLst>
              <a:ext uri="{FF2B5EF4-FFF2-40B4-BE49-F238E27FC236}">
                <a16:creationId xmlns:a16="http://schemas.microsoft.com/office/drawing/2014/main" id="{244338FA-5A02-4A93-962C-31D0C51BAA53}"/>
              </a:ext>
            </a:extLst>
          </p:cNvPr>
          <p:cNvSpPr txBox="1">
            <a:spLocks/>
          </p:cNvSpPr>
          <p:nvPr/>
        </p:nvSpPr>
        <p:spPr>
          <a:xfrm>
            <a:off x="8798418" y="5918622"/>
            <a:ext cx="3518299" cy="18466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60" name="Text Placeholder 35">
            <a:extLst>
              <a:ext uri="{FF2B5EF4-FFF2-40B4-BE49-F238E27FC236}">
                <a16:creationId xmlns:a16="http://schemas.microsoft.com/office/drawing/2014/main" id="{1CA3D240-E925-4286-B23F-69384DEC41ED}"/>
              </a:ext>
            </a:extLst>
          </p:cNvPr>
          <p:cNvSpPr txBox="1">
            <a:spLocks/>
          </p:cNvSpPr>
          <p:nvPr/>
        </p:nvSpPr>
        <p:spPr>
          <a:xfrm>
            <a:off x="275530" y="84660"/>
            <a:ext cx="10601790" cy="199052"/>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dirty="0">
                <a:solidFill>
                  <a:schemeClr val="bg1"/>
                </a:solidFill>
                <a:latin typeface="+mj-lt"/>
              </a:rPr>
              <a:t>5. MARKET SEGMENTATION </a:t>
            </a:r>
          </a:p>
        </p:txBody>
      </p:sp>
      <p:sp>
        <p:nvSpPr>
          <p:cNvPr id="16" name="Rectangle: Rounded Corners 15">
            <a:extLst>
              <a:ext uri="{FF2B5EF4-FFF2-40B4-BE49-F238E27FC236}">
                <a16:creationId xmlns:a16="http://schemas.microsoft.com/office/drawing/2014/main" id="{8701A2A7-5040-49DE-9062-EB80BDC8F7AC}"/>
              </a:ext>
            </a:extLst>
          </p:cNvPr>
          <p:cNvSpPr/>
          <p:nvPr/>
        </p:nvSpPr>
        <p:spPr>
          <a:xfrm>
            <a:off x="9470327" y="3014446"/>
            <a:ext cx="1466953" cy="3743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SAMPLE FIGURE</a:t>
            </a:r>
          </a:p>
        </p:txBody>
      </p:sp>
      <p:sp>
        <p:nvSpPr>
          <p:cNvPr id="15" name="Text Placeholder 11">
            <a:extLst>
              <a:ext uri="{FF2B5EF4-FFF2-40B4-BE49-F238E27FC236}">
                <a16:creationId xmlns:a16="http://schemas.microsoft.com/office/drawing/2014/main" id="{CAF51670-3522-44C0-A49F-2FCE3733BCFC}"/>
              </a:ext>
            </a:extLst>
          </p:cNvPr>
          <p:cNvSpPr txBox="1">
            <a:spLocks/>
          </p:cNvSpPr>
          <p:nvPr/>
        </p:nvSpPr>
        <p:spPr>
          <a:xfrm>
            <a:off x="3566467" y="6289259"/>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36504371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815AA7D5-365B-40B0-ABDD-CFAB22693F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4" name="Object 23" hidden="1">
                        <a:extLst>
                          <a:ext uri="{FF2B5EF4-FFF2-40B4-BE49-F238E27FC236}">
                            <a16:creationId xmlns:a16="http://schemas.microsoft.com/office/drawing/2014/main" id="{815AA7D5-365B-40B0-ABDD-CFAB22693F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DDE8D6B5-25EC-4709-81A5-D9331CF603A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43" name="Title 42">
            <a:extLst>
              <a:ext uri="{FF2B5EF4-FFF2-40B4-BE49-F238E27FC236}">
                <a16:creationId xmlns:a16="http://schemas.microsoft.com/office/drawing/2014/main" id="{7B36906C-2EC7-441C-97E1-CC0831185929}"/>
              </a:ext>
            </a:extLst>
          </p:cNvPr>
          <p:cNvSpPr>
            <a:spLocks noGrp="1"/>
          </p:cNvSpPr>
          <p:nvPr>
            <p:ph type="title"/>
          </p:nvPr>
        </p:nvSpPr>
        <p:spPr/>
        <p:txBody>
          <a:bodyPr/>
          <a:lstStyle/>
          <a:p>
            <a:r>
              <a:rPr lang="en-US" dirty="0"/>
              <a:t>5.1.2 Flexible</a:t>
            </a:r>
          </a:p>
        </p:txBody>
      </p:sp>
      <p:sp>
        <p:nvSpPr>
          <p:cNvPr id="45" name="Text Placeholder 44">
            <a:extLst>
              <a:ext uri="{FF2B5EF4-FFF2-40B4-BE49-F238E27FC236}">
                <a16:creationId xmlns:a16="http://schemas.microsoft.com/office/drawing/2014/main" id="{4BA4DD4A-8172-422D-843B-72EFA46DB1CB}"/>
              </a:ext>
            </a:extLst>
          </p:cNvPr>
          <p:cNvSpPr>
            <a:spLocks noGrp="1"/>
          </p:cNvSpPr>
          <p:nvPr>
            <p:ph type="body" sz="quarter" idx="33"/>
          </p:nvPr>
        </p:nvSpPr>
        <p:spPr>
          <a:xfrm>
            <a:off x="6452825" y="1695348"/>
            <a:ext cx="5221511" cy="3566554"/>
          </a:xfrm>
        </p:spPr>
        <p:txBody>
          <a:bodyPr/>
          <a:lstStyle/>
          <a:p>
            <a:pPr marL="171450" indent="-171450" algn="just">
              <a:lnSpc>
                <a:spcPct val="150000"/>
              </a:lnSpc>
              <a:buSzPct val="140000"/>
              <a:buFont typeface="Wingdings" panose="05000000000000000000" pitchFamily="2" charset="2"/>
              <a:buChar char="§"/>
            </a:pPr>
            <a:r>
              <a:rPr lang="en-US" dirty="0"/>
              <a:t>The ASEAN Flexible LVT market was valued at USD XX billion in 2020, and it is expected to reach USD XX billion by 2026, registering a CAGR of XX%, during the period, 2020-2026.</a:t>
            </a:r>
            <a:r>
              <a:rPr lang="en-US" b="0" i="0" dirty="0">
                <a:solidFill>
                  <a:srgbClr val="13293D"/>
                </a:solidFill>
                <a:effectLst/>
                <a:latin typeface="regular_medium"/>
              </a:rPr>
              <a:t> </a:t>
            </a:r>
          </a:p>
          <a:p>
            <a:pPr marL="171450" indent="-171450" algn="just">
              <a:lnSpc>
                <a:spcPct val="150000"/>
              </a:lnSpc>
              <a:buSzPct val="140000"/>
              <a:buFont typeface="Wingdings" panose="05000000000000000000" pitchFamily="2" charset="2"/>
              <a:buChar char="§"/>
            </a:pPr>
            <a:r>
              <a:rPr lang="en-US" dirty="0"/>
              <a:t>The flexible segment is in huge demand in the luxury vinyl tiles flooring market as it is affordable and is installed in regions that have extreme weather conditions. </a:t>
            </a:r>
          </a:p>
          <a:p>
            <a:pPr marL="171450" indent="-171450" algn="just">
              <a:lnSpc>
                <a:spcPct val="150000"/>
              </a:lnSpc>
              <a:buSzPct val="140000"/>
              <a:buFont typeface="Wingdings" panose="05000000000000000000" pitchFamily="2" charset="2"/>
              <a:buChar char="§"/>
            </a:pPr>
            <a:r>
              <a:rPr lang="en-US" dirty="0"/>
              <a:t>The growth of the flexible segment remains high due to its properties, which makes it a preferred luxury vinyl tile flooring solution for the residential as well as commercial application.</a:t>
            </a:r>
          </a:p>
          <a:p>
            <a:pPr marL="171450" indent="-171450" algn="just">
              <a:lnSpc>
                <a:spcPct val="150000"/>
              </a:lnSpc>
              <a:buSzPct val="140000"/>
              <a:buFont typeface="Wingdings" panose="05000000000000000000" pitchFamily="2" charset="2"/>
              <a:buChar char="§"/>
            </a:pPr>
            <a:r>
              <a:rPr lang="en-US" dirty="0"/>
              <a:t>It is a traditional glue-down flooring material and has several properties such as durability, flexibility, ease of installation, and is budget-friendly, which is projected to drive the growth of this segment.</a:t>
            </a:r>
          </a:p>
          <a:p>
            <a:pPr marL="171450" indent="-171450" algn="just">
              <a:lnSpc>
                <a:spcPct val="150000"/>
              </a:lnSpc>
              <a:buSzPct val="140000"/>
              <a:buFont typeface="Wingdings" panose="05000000000000000000" pitchFamily="2" charset="2"/>
              <a:buChar char="§"/>
            </a:pPr>
            <a:endParaRPr lang="en-US" dirty="0"/>
          </a:p>
        </p:txBody>
      </p:sp>
      <p:sp>
        <p:nvSpPr>
          <p:cNvPr id="55" name="Text Placeholder 54">
            <a:extLst>
              <a:ext uri="{FF2B5EF4-FFF2-40B4-BE49-F238E27FC236}">
                <a16:creationId xmlns:a16="http://schemas.microsoft.com/office/drawing/2014/main" id="{2399C618-4277-4B7B-A6BB-D682A507CFB7}"/>
              </a:ext>
            </a:extLst>
          </p:cNvPr>
          <p:cNvSpPr>
            <a:spLocks noGrp="1"/>
          </p:cNvSpPr>
          <p:nvPr>
            <p:ph type="body" sz="quarter" idx="43"/>
          </p:nvPr>
        </p:nvSpPr>
        <p:spPr>
          <a:xfrm>
            <a:off x="289561" y="6153423"/>
            <a:ext cx="10193470" cy="156005"/>
          </a:xfrm>
        </p:spPr>
        <p:txBody>
          <a:bodyPr/>
          <a:lstStyle/>
          <a:p>
            <a:r>
              <a:rPr lang="en-US" dirty="0"/>
              <a:t>SOURCE: Mordor Intelligence</a:t>
            </a:r>
          </a:p>
        </p:txBody>
      </p:sp>
      <p:sp>
        <p:nvSpPr>
          <p:cNvPr id="56" name="Text Placeholder 55">
            <a:extLst>
              <a:ext uri="{FF2B5EF4-FFF2-40B4-BE49-F238E27FC236}">
                <a16:creationId xmlns:a16="http://schemas.microsoft.com/office/drawing/2014/main" id="{C991C728-E2B1-47A1-9CD7-C5DF6248FA93}"/>
              </a:ext>
            </a:extLst>
          </p:cNvPr>
          <p:cNvSpPr>
            <a:spLocks noGrp="1"/>
          </p:cNvSpPr>
          <p:nvPr>
            <p:ph type="body" sz="quarter" idx="44"/>
          </p:nvPr>
        </p:nvSpPr>
        <p:spPr>
          <a:xfrm>
            <a:off x="419010" y="1425008"/>
            <a:ext cx="5604163" cy="184666"/>
          </a:xfrm>
        </p:spPr>
        <p:txBody>
          <a:bodyPr/>
          <a:lstStyle/>
          <a:p>
            <a:r>
              <a:rPr lang="en-US" dirty="0"/>
              <a:t> </a:t>
            </a:r>
            <a:r>
              <a:rPr lang="en-US" dirty="0" err="1"/>
              <a:t>Asean</a:t>
            </a:r>
            <a:r>
              <a:rPr lang="en-US" dirty="0"/>
              <a:t> Flexible LVT market</a:t>
            </a:r>
          </a:p>
        </p:txBody>
      </p:sp>
      <p:graphicFrame>
        <p:nvGraphicFramePr>
          <p:cNvPr id="62" name="Chart Placeholder 61">
            <a:extLst>
              <a:ext uri="{FF2B5EF4-FFF2-40B4-BE49-F238E27FC236}">
                <a16:creationId xmlns:a16="http://schemas.microsoft.com/office/drawing/2014/main" id="{987E9E27-786E-4EBD-B30E-6F3F0869CE40}"/>
              </a:ext>
            </a:extLst>
          </p:cNvPr>
          <p:cNvGraphicFramePr>
            <a:graphicFrameLocks noGrp="1"/>
          </p:cNvGraphicFramePr>
          <p:nvPr>
            <p:ph type="chart" sz="quarter" idx="45"/>
          </p:nvPr>
        </p:nvGraphicFramePr>
        <p:xfrm>
          <a:off x="419100" y="2896905"/>
          <a:ext cx="5603875" cy="3032895"/>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54025605-DB3F-465C-8225-52FFFB7173BB}"/>
              </a:ext>
            </a:extLst>
          </p:cNvPr>
          <p:cNvSpPr>
            <a:spLocks noGrp="1"/>
          </p:cNvSpPr>
          <p:nvPr>
            <p:ph type="body" sz="quarter" idx="46"/>
          </p:nvPr>
        </p:nvSpPr>
        <p:spPr>
          <a:xfrm>
            <a:off x="419010" y="1665138"/>
            <a:ext cx="5604163" cy="184666"/>
          </a:xfrm>
        </p:spPr>
        <p:txBody>
          <a:bodyPr/>
          <a:lstStyle/>
          <a:p>
            <a:r>
              <a:rPr lang="en-US" dirty="0"/>
              <a:t>Value in USD billion, Flexible LVT, ASEAN, 2017-2026</a:t>
            </a:r>
          </a:p>
        </p:txBody>
      </p:sp>
      <p:sp>
        <p:nvSpPr>
          <p:cNvPr id="78" name="Freeform: Shape 77">
            <a:extLst>
              <a:ext uri="{FF2B5EF4-FFF2-40B4-BE49-F238E27FC236}">
                <a16:creationId xmlns:a16="http://schemas.microsoft.com/office/drawing/2014/main" id="{1F7D7241-6A7F-4551-87D2-CA54718363E7}"/>
              </a:ext>
            </a:extLst>
          </p:cNvPr>
          <p:cNvSpPr/>
          <p:nvPr/>
        </p:nvSpPr>
        <p:spPr>
          <a:xfrm>
            <a:off x="3151163" y="2506459"/>
            <a:ext cx="2588014" cy="1026842"/>
          </a:xfrm>
          <a:custGeom>
            <a:avLst/>
            <a:gdLst>
              <a:gd name="connsiteX0" fmla="*/ 0 w 4542971"/>
              <a:gd name="connsiteY0" fmla="*/ 899885 h 899885"/>
              <a:gd name="connsiteX1" fmla="*/ 0 w 4542971"/>
              <a:gd name="connsiteY1" fmla="*/ 0 h 899885"/>
              <a:gd name="connsiteX2" fmla="*/ 4542971 w 4542971"/>
              <a:gd name="connsiteY2" fmla="*/ 0 h 899885"/>
              <a:gd name="connsiteX3" fmla="*/ 4542971 w 4542971"/>
              <a:gd name="connsiteY3" fmla="*/ 145142 h 899885"/>
              <a:gd name="connsiteX0" fmla="*/ 0 w 4542971"/>
              <a:gd name="connsiteY0" fmla="*/ 899885 h 899885"/>
              <a:gd name="connsiteX1" fmla="*/ 0 w 4542971"/>
              <a:gd name="connsiteY1" fmla="*/ 0 h 899885"/>
              <a:gd name="connsiteX2" fmla="*/ 4542971 w 4542971"/>
              <a:gd name="connsiteY2" fmla="*/ 0 h 899885"/>
              <a:gd name="connsiteX3" fmla="*/ 4538391 w 4542971"/>
              <a:gd name="connsiteY3" fmla="*/ 458167 h 899885"/>
            </a:gdLst>
            <a:ahLst/>
            <a:cxnLst>
              <a:cxn ang="0">
                <a:pos x="connsiteX0" y="connsiteY0"/>
              </a:cxn>
              <a:cxn ang="0">
                <a:pos x="connsiteX1" y="connsiteY1"/>
              </a:cxn>
              <a:cxn ang="0">
                <a:pos x="connsiteX2" y="connsiteY2"/>
              </a:cxn>
              <a:cxn ang="0">
                <a:pos x="connsiteX3" y="connsiteY3"/>
              </a:cxn>
            </a:cxnLst>
            <a:rect l="l" t="t" r="r" b="b"/>
            <a:pathLst>
              <a:path w="4542971" h="899885">
                <a:moveTo>
                  <a:pt x="0" y="899885"/>
                </a:moveTo>
                <a:lnTo>
                  <a:pt x="0" y="0"/>
                </a:lnTo>
                <a:lnTo>
                  <a:pt x="4542971" y="0"/>
                </a:lnTo>
                <a:cubicBezTo>
                  <a:pt x="4542971" y="48381"/>
                  <a:pt x="4538391" y="409786"/>
                  <a:pt x="4538391" y="458167"/>
                </a:cubicBezTo>
              </a:path>
            </a:pathLst>
          </a:custGeom>
          <a:noFill/>
          <a:ln>
            <a:solidFill>
              <a:schemeClr val="accent6"/>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 name="Group 78">
            <a:extLst>
              <a:ext uri="{FF2B5EF4-FFF2-40B4-BE49-F238E27FC236}">
                <a16:creationId xmlns:a16="http://schemas.microsoft.com/office/drawing/2014/main" id="{73D06599-9A33-4C9F-98F3-9843D19BB8E0}"/>
              </a:ext>
            </a:extLst>
          </p:cNvPr>
          <p:cNvGrpSpPr/>
          <p:nvPr/>
        </p:nvGrpSpPr>
        <p:grpSpPr>
          <a:xfrm>
            <a:off x="4107362" y="2087139"/>
            <a:ext cx="914400" cy="914400"/>
            <a:chOff x="2525485" y="1897334"/>
            <a:chExt cx="914400" cy="914400"/>
          </a:xfrm>
        </p:grpSpPr>
        <p:sp>
          <p:nvSpPr>
            <p:cNvPr id="80" name="Oval 79">
              <a:extLst>
                <a:ext uri="{FF2B5EF4-FFF2-40B4-BE49-F238E27FC236}">
                  <a16:creationId xmlns:a16="http://schemas.microsoft.com/office/drawing/2014/main" id="{3A850584-73EC-4E45-8C7E-E9B19A100069}"/>
                </a:ext>
              </a:extLst>
            </p:cNvPr>
            <p:cNvSpPr/>
            <p:nvPr/>
          </p:nvSpPr>
          <p:spPr>
            <a:xfrm>
              <a:off x="2525485" y="1897334"/>
              <a:ext cx="914400" cy="914400"/>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81">
              <a:extLst>
                <a:ext uri="{FF2B5EF4-FFF2-40B4-BE49-F238E27FC236}">
                  <a16:creationId xmlns:a16="http://schemas.microsoft.com/office/drawing/2014/main" id="{7D6B112E-4555-4BFA-B347-4CF129124F70}"/>
                </a:ext>
              </a:extLst>
            </p:cNvPr>
            <p:cNvSpPr/>
            <p:nvPr/>
          </p:nvSpPr>
          <p:spPr>
            <a:xfrm>
              <a:off x="2743791" y="2436155"/>
              <a:ext cx="477788" cy="184666"/>
            </a:xfrm>
            <a:prstGeom prst="rect">
              <a:avLst/>
            </a:prstGeom>
            <a:solidFill>
              <a:schemeClr val="bg1"/>
            </a:solidFill>
          </p:spPr>
          <p:txBody>
            <a:bodyPr wrap="square" lIns="0" tIns="0" rIns="0" bIns="0" anchor="ctr">
              <a:spAutoFit/>
            </a:bodyPr>
            <a:lstStyle/>
            <a:p>
              <a:pPr algn="ctr">
                <a:spcAft>
                  <a:spcPts val="500"/>
                </a:spcAft>
              </a:pPr>
              <a:r>
                <a:rPr lang="en-US" sz="1200" dirty="0"/>
                <a:t>CAGR</a:t>
              </a:r>
            </a:p>
          </p:txBody>
        </p:sp>
        <p:sp>
          <p:nvSpPr>
            <p:cNvPr id="83" name="Rectangle 82">
              <a:extLst>
                <a:ext uri="{FF2B5EF4-FFF2-40B4-BE49-F238E27FC236}">
                  <a16:creationId xmlns:a16="http://schemas.microsoft.com/office/drawing/2014/main" id="{A5D0C289-6C83-47C4-A9AA-6496916E114B}"/>
                </a:ext>
              </a:extLst>
            </p:cNvPr>
            <p:cNvSpPr/>
            <p:nvPr/>
          </p:nvSpPr>
          <p:spPr>
            <a:xfrm>
              <a:off x="2664717" y="2109806"/>
              <a:ext cx="635936" cy="307777"/>
            </a:xfrm>
            <a:prstGeom prst="rect">
              <a:avLst/>
            </a:prstGeom>
            <a:noFill/>
          </p:spPr>
          <p:txBody>
            <a:bodyPr wrap="square" lIns="0" tIns="0" rIns="0" bIns="0" anchor="ctr">
              <a:spAutoFit/>
            </a:bodyPr>
            <a:lstStyle/>
            <a:p>
              <a:pPr algn="ctr">
                <a:spcAft>
                  <a:spcPts val="500"/>
                </a:spcAft>
              </a:pPr>
              <a:r>
                <a:rPr lang="en-US" sz="2000" b="1" dirty="0">
                  <a:solidFill>
                    <a:schemeClr val="accent6"/>
                  </a:solidFill>
                </a:rPr>
                <a:t>XX%</a:t>
              </a:r>
            </a:p>
          </p:txBody>
        </p:sp>
      </p:grpSp>
      <p:sp>
        <p:nvSpPr>
          <p:cNvPr id="25" name="Rectangle: Rounded Corners 24">
            <a:extLst>
              <a:ext uri="{FF2B5EF4-FFF2-40B4-BE49-F238E27FC236}">
                <a16:creationId xmlns:a16="http://schemas.microsoft.com/office/drawing/2014/main" id="{7D590A39-00A6-4A88-94A9-F8EFD1CA3437}"/>
              </a:ext>
            </a:extLst>
          </p:cNvPr>
          <p:cNvSpPr/>
          <p:nvPr/>
        </p:nvSpPr>
        <p:spPr>
          <a:xfrm>
            <a:off x="2826146" y="4404578"/>
            <a:ext cx="1466953" cy="3743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SAMPLE FIGURE</a:t>
            </a:r>
          </a:p>
        </p:txBody>
      </p:sp>
      <p:sp>
        <p:nvSpPr>
          <p:cNvPr id="16" name="Text Placeholder 35">
            <a:extLst>
              <a:ext uri="{FF2B5EF4-FFF2-40B4-BE49-F238E27FC236}">
                <a16:creationId xmlns:a16="http://schemas.microsoft.com/office/drawing/2014/main" id="{1CA3D240-E925-4286-B23F-69384DEC41ED}"/>
              </a:ext>
            </a:extLst>
          </p:cNvPr>
          <p:cNvSpPr txBox="1">
            <a:spLocks/>
          </p:cNvSpPr>
          <p:nvPr/>
        </p:nvSpPr>
        <p:spPr>
          <a:xfrm>
            <a:off x="275530" y="84660"/>
            <a:ext cx="10601790" cy="199052"/>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dirty="0">
                <a:solidFill>
                  <a:schemeClr val="bg1"/>
                </a:solidFill>
                <a:latin typeface="+mj-lt"/>
              </a:rPr>
              <a:t>5. MARKET SEGMENTATION </a:t>
            </a:r>
          </a:p>
        </p:txBody>
      </p:sp>
    </p:spTree>
    <p:extLst>
      <p:ext uri="{BB962C8B-B14F-4D97-AF65-F5344CB8AC3E}">
        <p14:creationId xmlns:p14="http://schemas.microsoft.com/office/powerpoint/2010/main" val="1089680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BB2E2C9-EDC4-4179-BAE5-342D5088F7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id="{7BB2E2C9-EDC4-4179-BAE5-342D5088F7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6AD77C-6F68-4A45-93D3-3A82528CF8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 name="Title 1">
            <a:extLst>
              <a:ext uri="{FF2B5EF4-FFF2-40B4-BE49-F238E27FC236}">
                <a16:creationId xmlns:a16="http://schemas.microsoft.com/office/drawing/2014/main" id="{C9114A51-290B-48C3-A78C-9A754E78FC42}"/>
              </a:ext>
            </a:extLst>
          </p:cNvPr>
          <p:cNvSpPr>
            <a:spLocks noGrp="1"/>
          </p:cNvSpPr>
          <p:nvPr>
            <p:ph type="title"/>
          </p:nvPr>
        </p:nvSpPr>
        <p:spPr>
          <a:xfrm>
            <a:off x="335490" y="396616"/>
            <a:ext cx="10601790" cy="400110"/>
          </a:xfrm>
        </p:spPr>
        <p:txBody>
          <a:bodyPr/>
          <a:lstStyle/>
          <a:p>
            <a:r>
              <a:rPr lang="en-US" dirty="0">
                <a:latin typeface="+mj-lt"/>
              </a:rPr>
              <a:t> 5.2 By End User</a:t>
            </a:r>
          </a:p>
        </p:txBody>
      </p:sp>
      <p:sp>
        <p:nvSpPr>
          <p:cNvPr id="32" name="Text Placeholder 31">
            <a:extLst>
              <a:ext uri="{FF2B5EF4-FFF2-40B4-BE49-F238E27FC236}">
                <a16:creationId xmlns:a16="http://schemas.microsoft.com/office/drawing/2014/main" id="{11B74CC2-88D3-4021-968D-81723DC74941}"/>
              </a:ext>
            </a:extLst>
          </p:cNvPr>
          <p:cNvSpPr>
            <a:spLocks noGrp="1"/>
          </p:cNvSpPr>
          <p:nvPr>
            <p:ph type="body" sz="quarter" idx="62"/>
          </p:nvPr>
        </p:nvSpPr>
        <p:spPr>
          <a:xfrm>
            <a:off x="8955603" y="1425253"/>
            <a:ext cx="2960869" cy="153888"/>
          </a:xfrm>
        </p:spPr>
        <p:txBody>
          <a:bodyPr/>
          <a:lstStyle/>
          <a:p>
            <a:r>
              <a:rPr lang="en-US" dirty="0"/>
              <a:t>Revenue (%), by </a:t>
            </a:r>
            <a:r>
              <a:rPr lang="en-US" sz="800" dirty="0"/>
              <a:t>End User</a:t>
            </a:r>
            <a:r>
              <a:rPr lang="en-US" dirty="0"/>
              <a:t>, ASEAN, 2020</a:t>
            </a:r>
          </a:p>
        </p:txBody>
      </p:sp>
      <p:sp>
        <p:nvSpPr>
          <p:cNvPr id="34" name="Text Placeholder 33">
            <a:extLst>
              <a:ext uri="{FF2B5EF4-FFF2-40B4-BE49-F238E27FC236}">
                <a16:creationId xmlns:a16="http://schemas.microsoft.com/office/drawing/2014/main" id="{1606329B-6B6A-413E-A767-679F91E900C7}"/>
              </a:ext>
            </a:extLst>
          </p:cNvPr>
          <p:cNvSpPr>
            <a:spLocks noGrp="1"/>
          </p:cNvSpPr>
          <p:nvPr>
            <p:ph type="body" sz="quarter" idx="54"/>
          </p:nvPr>
        </p:nvSpPr>
        <p:spPr>
          <a:xfrm>
            <a:off x="8923136" y="1179361"/>
            <a:ext cx="3268862" cy="153888"/>
          </a:xfrm>
        </p:spPr>
        <p:txBody>
          <a:bodyPr/>
          <a:lstStyle/>
          <a:p>
            <a:pPr>
              <a:spcAft>
                <a:spcPts val="500"/>
              </a:spcAft>
            </a:pPr>
            <a:r>
              <a:rPr lang="en-US" sz="1000" dirty="0"/>
              <a:t>CASEAN LVT Market</a:t>
            </a:r>
          </a:p>
        </p:txBody>
      </p:sp>
      <p:graphicFrame>
        <p:nvGraphicFramePr>
          <p:cNvPr id="37" name="Chart Placeholder 36">
            <a:extLst>
              <a:ext uri="{FF2B5EF4-FFF2-40B4-BE49-F238E27FC236}">
                <a16:creationId xmlns:a16="http://schemas.microsoft.com/office/drawing/2014/main" id="{1927A434-D984-47A8-9EEC-0CB700D69A94}"/>
              </a:ext>
            </a:extLst>
          </p:cNvPr>
          <p:cNvGraphicFramePr>
            <a:graphicFrameLocks noGrp="1"/>
          </p:cNvGraphicFramePr>
          <p:nvPr>
            <p:ph type="chart" sz="quarter" idx="56"/>
            <p:extLst>
              <p:ext uri="{D42A27DB-BD31-4B8C-83A1-F6EECF244321}">
                <p14:modId xmlns:p14="http://schemas.microsoft.com/office/powerpoint/2010/main" val="3051595149"/>
              </p:ext>
            </p:extLst>
          </p:nvPr>
        </p:nvGraphicFramePr>
        <p:xfrm>
          <a:off x="8589963" y="1846263"/>
          <a:ext cx="3268662" cy="38052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Content Placeholder 22">
            <a:extLst>
              <a:ext uri="{FF2B5EF4-FFF2-40B4-BE49-F238E27FC236}">
                <a16:creationId xmlns:a16="http://schemas.microsoft.com/office/drawing/2014/main" id="{C474A6AC-F9A9-4B0A-928E-9A2773AF378E}"/>
              </a:ext>
            </a:extLst>
          </p:cNvPr>
          <p:cNvGraphicFramePr>
            <a:graphicFrameLocks/>
          </p:cNvGraphicFramePr>
          <p:nvPr>
            <p:extLst>
              <p:ext uri="{D42A27DB-BD31-4B8C-83A1-F6EECF244321}">
                <p14:modId xmlns:p14="http://schemas.microsoft.com/office/powerpoint/2010/main" val="1013303682"/>
              </p:ext>
            </p:extLst>
          </p:nvPr>
        </p:nvGraphicFramePr>
        <p:xfrm>
          <a:off x="333375" y="1788162"/>
          <a:ext cx="7783990" cy="3046438"/>
        </p:xfrm>
        <a:graphic>
          <a:graphicData uri="http://schemas.openxmlformats.org/drawingml/2006/table">
            <a:tbl>
              <a:tblPr firstRow="1" bandRow="1">
                <a:tableStyleId>{5C22544A-7EE6-4342-B048-85BDC9FD1C3A}</a:tableStyleId>
              </a:tblPr>
              <a:tblGrid>
                <a:gridCol w="1253392">
                  <a:extLst>
                    <a:ext uri="{9D8B030D-6E8A-4147-A177-3AD203B41FA5}">
                      <a16:colId xmlns:a16="http://schemas.microsoft.com/office/drawing/2014/main" val="4171594264"/>
                    </a:ext>
                  </a:extLst>
                </a:gridCol>
                <a:gridCol w="608492">
                  <a:extLst>
                    <a:ext uri="{9D8B030D-6E8A-4147-A177-3AD203B41FA5}">
                      <a16:colId xmlns:a16="http://schemas.microsoft.com/office/drawing/2014/main" val="508009927"/>
                    </a:ext>
                  </a:extLst>
                </a:gridCol>
                <a:gridCol w="555828">
                  <a:extLst>
                    <a:ext uri="{9D8B030D-6E8A-4147-A177-3AD203B41FA5}">
                      <a16:colId xmlns:a16="http://schemas.microsoft.com/office/drawing/2014/main" val="184378190"/>
                    </a:ext>
                  </a:extLst>
                </a:gridCol>
                <a:gridCol w="596253">
                  <a:extLst>
                    <a:ext uri="{9D8B030D-6E8A-4147-A177-3AD203B41FA5}">
                      <a16:colId xmlns:a16="http://schemas.microsoft.com/office/drawing/2014/main" val="1646064905"/>
                    </a:ext>
                  </a:extLst>
                </a:gridCol>
                <a:gridCol w="596253">
                  <a:extLst>
                    <a:ext uri="{9D8B030D-6E8A-4147-A177-3AD203B41FA5}">
                      <a16:colId xmlns:a16="http://schemas.microsoft.com/office/drawing/2014/main" val="2193380829"/>
                    </a:ext>
                  </a:extLst>
                </a:gridCol>
                <a:gridCol w="596253">
                  <a:extLst>
                    <a:ext uri="{9D8B030D-6E8A-4147-A177-3AD203B41FA5}">
                      <a16:colId xmlns:a16="http://schemas.microsoft.com/office/drawing/2014/main" val="848662265"/>
                    </a:ext>
                  </a:extLst>
                </a:gridCol>
                <a:gridCol w="596253">
                  <a:extLst>
                    <a:ext uri="{9D8B030D-6E8A-4147-A177-3AD203B41FA5}">
                      <a16:colId xmlns:a16="http://schemas.microsoft.com/office/drawing/2014/main" val="20006"/>
                    </a:ext>
                  </a:extLst>
                </a:gridCol>
                <a:gridCol w="596253">
                  <a:extLst>
                    <a:ext uri="{9D8B030D-6E8A-4147-A177-3AD203B41FA5}">
                      <a16:colId xmlns:a16="http://schemas.microsoft.com/office/drawing/2014/main" val="20007"/>
                    </a:ext>
                  </a:extLst>
                </a:gridCol>
                <a:gridCol w="596253">
                  <a:extLst>
                    <a:ext uri="{9D8B030D-6E8A-4147-A177-3AD203B41FA5}">
                      <a16:colId xmlns:a16="http://schemas.microsoft.com/office/drawing/2014/main" val="20008"/>
                    </a:ext>
                  </a:extLst>
                </a:gridCol>
                <a:gridCol w="458183">
                  <a:extLst>
                    <a:ext uri="{9D8B030D-6E8A-4147-A177-3AD203B41FA5}">
                      <a16:colId xmlns:a16="http://schemas.microsoft.com/office/drawing/2014/main" val="20009"/>
                    </a:ext>
                  </a:extLst>
                </a:gridCol>
                <a:gridCol w="510119">
                  <a:extLst>
                    <a:ext uri="{9D8B030D-6E8A-4147-A177-3AD203B41FA5}">
                      <a16:colId xmlns:a16="http://schemas.microsoft.com/office/drawing/2014/main" val="1182920110"/>
                    </a:ext>
                  </a:extLst>
                </a:gridCol>
                <a:gridCol w="820458">
                  <a:extLst>
                    <a:ext uri="{9D8B030D-6E8A-4147-A177-3AD203B41FA5}">
                      <a16:colId xmlns:a16="http://schemas.microsoft.com/office/drawing/2014/main" val="154954166"/>
                    </a:ext>
                  </a:extLst>
                </a:gridCol>
              </a:tblGrid>
              <a:tr h="917884">
                <a:tc>
                  <a:txBody>
                    <a:bodyPr/>
                    <a:lstStyle/>
                    <a:p>
                      <a:pPr algn="ctr">
                        <a:lnSpc>
                          <a:spcPct val="100000"/>
                        </a:lnSpc>
                      </a:pPr>
                      <a:r>
                        <a:rPr lang="en-US" sz="1100" b="1" dirty="0">
                          <a:solidFill>
                            <a:schemeClr val="accent1"/>
                          </a:solidFill>
                          <a:latin typeface="+mn-lt"/>
                        </a:rPr>
                        <a:t>End User</a:t>
                      </a:r>
                    </a:p>
                  </a:txBody>
                  <a:tcPr marL="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7</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8</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9</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0</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1</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2</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3</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4</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5</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6</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CAGR (%)</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00300721"/>
                  </a:ext>
                </a:extLst>
              </a:tr>
              <a:tr h="1099837">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Residential</a:t>
                      </a:r>
                    </a:p>
                  </a:txBody>
                  <a:tcPr marL="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4194651080"/>
                  </a:ext>
                </a:extLst>
              </a:tr>
              <a:tr h="1028717">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Commercial</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726231322"/>
                  </a:ext>
                </a:extLst>
              </a:tr>
            </a:tbl>
          </a:graphicData>
        </a:graphic>
      </p:graphicFrame>
      <p:sp>
        <p:nvSpPr>
          <p:cNvPr id="54" name="Text Placeholder 4">
            <a:extLst>
              <a:ext uri="{FF2B5EF4-FFF2-40B4-BE49-F238E27FC236}">
                <a16:creationId xmlns:a16="http://schemas.microsoft.com/office/drawing/2014/main" id="{6259AEAF-80FE-4FCA-9E93-0E9D85F8B6F5}"/>
              </a:ext>
            </a:extLst>
          </p:cNvPr>
          <p:cNvSpPr txBox="1">
            <a:spLocks/>
          </p:cNvSpPr>
          <p:nvPr/>
        </p:nvSpPr>
        <p:spPr>
          <a:xfrm>
            <a:off x="275529" y="1152562"/>
            <a:ext cx="4878361" cy="184666"/>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lang="en-US" sz="1200" b="1" kern="1200" cap="all" baseline="0" dirty="0">
                <a:solidFill>
                  <a:schemeClr val="accent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dirty="0"/>
              <a:t>SEAN LVT Market</a:t>
            </a:r>
            <a:endParaRPr lang="en-US" dirty="0">
              <a:latin typeface="+mj-lt"/>
            </a:endParaRPr>
          </a:p>
        </p:txBody>
      </p:sp>
      <p:sp>
        <p:nvSpPr>
          <p:cNvPr id="55" name="Text Placeholder 4">
            <a:extLst>
              <a:ext uri="{FF2B5EF4-FFF2-40B4-BE49-F238E27FC236}">
                <a16:creationId xmlns:a16="http://schemas.microsoft.com/office/drawing/2014/main" id="{87967FF1-4F5C-4DEC-9A40-A5A3FB878033}"/>
              </a:ext>
            </a:extLst>
          </p:cNvPr>
          <p:cNvSpPr txBox="1">
            <a:spLocks/>
          </p:cNvSpPr>
          <p:nvPr/>
        </p:nvSpPr>
        <p:spPr>
          <a:xfrm>
            <a:off x="275528" y="1377946"/>
            <a:ext cx="4671970" cy="153888"/>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500"/>
              </a:spcAft>
              <a:buClr>
                <a:schemeClr val="accent2"/>
              </a:buClr>
              <a:buFont typeface="Arial" panose="020B0604020202020204" pitchFamily="34" charset="0"/>
              <a:buNone/>
              <a:defRPr lang="en-US" sz="1000" b="0" kern="1200" cap="none" baseline="0" dirty="0">
                <a:solidFill>
                  <a:schemeClr val="bg1">
                    <a:lumMod val="50000"/>
                  </a:schemeClr>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venue in USD million, by </a:t>
            </a:r>
            <a:r>
              <a:rPr lang="en-US" sz="800" dirty="0"/>
              <a:t>End User</a:t>
            </a:r>
            <a:r>
              <a:rPr lang="en-US" dirty="0">
                <a:latin typeface="+mj-lt"/>
              </a:rPr>
              <a:t>, ASEAN, 2017-2026</a:t>
            </a:r>
          </a:p>
        </p:txBody>
      </p:sp>
      <p:sp>
        <p:nvSpPr>
          <p:cNvPr id="57" name="Text Placeholder 10">
            <a:extLst>
              <a:ext uri="{FF2B5EF4-FFF2-40B4-BE49-F238E27FC236}">
                <a16:creationId xmlns:a16="http://schemas.microsoft.com/office/drawing/2014/main" id="{50301D9A-E02C-4E4F-B8AF-32395685BAFF}"/>
              </a:ext>
            </a:extLst>
          </p:cNvPr>
          <p:cNvSpPr txBox="1">
            <a:spLocks/>
          </p:cNvSpPr>
          <p:nvPr/>
        </p:nvSpPr>
        <p:spPr>
          <a:xfrm>
            <a:off x="275528" y="5851238"/>
            <a:ext cx="5807313" cy="156005"/>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58" name="Text Placeholder 10">
            <a:extLst>
              <a:ext uri="{FF2B5EF4-FFF2-40B4-BE49-F238E27FC236}">
                <a16:creationId xmlns:a16="http://schemas.microsoft.com/office/drawing/2014/main" id="{244338FA-5A02-4A93-962C-31D0C51BAA53}"/>
              </a:ext>
            </a:extLst>
          </p:cNvPr>
          <p:cNvSpPr txBox="1">
            <a:spLocks/>
          </p:cNvSpPr>
          <p:nvPr/>
        </p:nvSpPr>
        <p:spPr>
          <a:xfrm>
            <a:off x="8798418" y="5918622"/>
            <a:ext cx="3518299" cy="18466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60" name="Text Placeholder 35">
            <a:extLst>
              <a:ext uri="{FF2B5EF4-FFF2-40B4-BE49-F238E27FC236}">
                <a16:creationId xmlns:a16="http://schemas.microsoft.com/office/drawing/2014/main" id="{1CA3D240-E925-4286-B23F-69384DEC41ED}"/>
              </a:ext>
            </a:extLst>
          </p:cNvPr>
          <p:cNvSpPr txBox="1">
            <a:spLocks/>
          </p:cNvSpPr>
          <p:nvPr/>
        </p:nvSpPr>
        <p:spPr>
          <a:xfrm>
            <a:off x="275530" y="84660"/>
            <a:ext cx="10601790" cy="199052"/>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dirty="0">
                <a:solidFill>
                  <a:schemeClr val="bg1"/>
                </a:solidFill>
                <a:latin typeface="+mj-lt"/>
              </a:rPr>
              <a:t>5. MARKET SEGMENTATION </a:t>
            </a:r>
          </a:p>
        </p:txBody>
      </p:sp>
      <p:sp>
        <p:nvSpPr>
          <p:cNvPr id="16" name="Rectangle: Rounded Corners 15">
            <a:extLst>
              <a:ext uri="{FF2B5EF4-FFF2-40B4-BE49-F238E27FC236}">
                <a16:creationId xmlns:a16="http://schemas.microsoft.com/office/drawing/2014/main" id="{8701A2A7-5040-49DE-9062-EB80BDC8F7AC}"/>
              </a:ext>
            </a:extLst>
          </p:cNvPr>
          <p:cNvSpPr/>
          <p:nvPr/>
        </p:nvSpPr>
        <p:spPr>
          <a:xfrm>
            <a:off x="9470327" y="3014446"/>
            <a:ext cx="1466953" cy="3743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SAMPLE FIGURE</a:t>
            </a:r>
          </a:p>
        </p:txBody>
      </p:sp>
      <p:sp>
        <p:nvSpPr>
          <p:cNvPr id="15" name="Text Placeholder 11">
            <a:extLst>
              <a:ext uri="{FF2B5EF4-FFF2-40B4-BE49-F238E27FC236}">
                <a16:creationId xmlns:a16="http://schemas.microsoft.com/office/drawing/2014/main" id="{CAF51670-3522-44C0-A49F-2FCE3733BCFC}"/>
              </a:ext>
            </a:extLst>
          </p:cNvPr>
          <p:cNvSpPr txBox="1">
            <a:spLocks/>
          </p:cNvSpPr>
          <p:nvPr/>
        </p:nvSpPr>
        <p:spPr>
          <a:xfrm>
            <a:off x="3580535" y="6295185"/>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8047809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7BB2E2C9-EDC4-4179-BAE5-342D5088F7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8" name="Object 27" hidden="1">
                        <a:extLst>
                          <a:ext uri="{FF2B5EF4-FFF2-40B4-BE49-F238E27FC236}">
                            <a16:creationId xmlns:a16="http://schemas.microsoft.com/office/drawing/2014/main" id="{7BB2E2C9-EDC4-4179-BAE5-342D5088F7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6AD77C-6F68-4A45-93D3-3A82528CF8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 name="Title 1">
            <a:extLst>
              <a:ext uri="{FF2B5EF4-FFF2-40B4-BE49-F238E27FC236}">
                <a16:creationId xmlns:a16="http://schemas.microsoft.com/office/drawing/2014/main" id="{C9114A51-290B-48C3-A78C-9A754E78FC42}"/>
              </a:ext>
            </a:extLst>
          </p:cNvPr>
          <p:cNvSpPr>
            <a:spLocks noGrp="1"/>
          </p:cNvSpPr>
          <p:nvPr>
            <p:ph type="title"/>
          </p:nvPr>
        </p:nvSpPr>
        <p:spPr>
          <a:xfrm>
            <a:off x="335490" y="396616"/>
            <a:ext cx="10601790" cy="400110"/>
          </a:xfrm>
        </p:spPr>
        <p:txBody>
          <a:bodyPr/>
          <a:lstStyle/>
          <a:p>
            <a:r>
              <a:rPr lang="en-US" dirty="0">
                <a:latin typeface="+mj-lt"/>
              </a:rPr>
              <a:t> 5.3 By Distribution Channel</a:t>
            </a:r>
          </a:p>
        </p:txBody>
      </p:sp>
      <p:sp>
        <p:nvSpPr>
          <p:cNvPr id="32" name="Text Placeholder 31">
            <a:extLst>
              <a:ext uri="{FF2B5EF4-FFF2-40B4-BE49-F238E27FC236}">
                <a16:creationId xmlns:a16="http://schemas.microsoft.com/office/drawing/2014/main" id="{11B74CC2-88D3-4021-968D-81723DC74941}"/>
              </a:ext>
            </a:extLst>
          </p:cNvPr>
          <p:cNvSpPr>
            <a:spLocks noGrp="1"/>
          </p:cNvSpPr>
          <p:nvPr>
            <p:ph type="body" sz="quarter" idx="62"/>
          </p:nvPr>
        </p:nvSpPr>
        <p:spPr>
          <a:xfrm>
            <a:off x="8897756" y="1400040"/>
            <a:ext cx="2960869" cy="153888"/>
          </a:xfrm>
        </p:spPr>
        <p:txBody>
          <a:bodyPr/>
          <a:lstStyle/>
          <a:p>
            <a:r>
              <a:rPr lang="en-US" dirty="0"/>
              <a:t>Revenue (%), by </a:t>
            </a:r>
            <a:r>
              <a:rPr lang="en-US" sz="800" dirty="0"/>
              <a:t>Distribution Channel, </a:t>
            </a:r>
            <a:r>
              <a:rPr lang="en-US" dirty="0"/>
              <a:t>Japan, 2020</a:t>
            </a:r>
          </a:p>
        </p:txBody>
      </p:sp>
      <p:sp>
        <p:nvSpPr>
          <p:cNvPr id="34" name="Text Placeholder 33">
            <a:extLst>
              <a:ext uri="{FF2B5EF4-FFF2-40B4-BE49-F238E27FC236}">
                <a16:creationId xmlns:a16="http://schemas.microsoft.com/office/drawing/2014/main" id="{1606329B-6B6A-413E-A767-679F91E900C7}"/>
              </a:ext>
            </a:extLst>
          </p:cNvPr>
          <p:cNvSpPr>
            <a:spLocks noGrp="1"/>
          </p:cNvSpPr>
          <p:nvPr>
            <p:ph type="body" sz="quarter" idx="54"/>
          </p:nvPr>
        </p:nvSpPr>
        <p:spPr>
          <a:xfrm>
            <a:off x="8896894" y="1167606"/>
            <a:ext cx="3268862" cy="153888"/>
          </a:xfrm>
        </p:spPr>
        <p:txBody>
          <a:bodyPr/>
          <a:lstStyle/>
          <a:p>
            <a:pPr>
              <a:spcAft>
                <a:spcPts val="500"/>
              </a:spcAft>
            </a:pPr>
            <a:r>
              <a:rPr lang="en-US" sz="1000" dirty="0"/>
              <a:t>ASEAN LVT Market</a:t>
            </a:r>
          </a:p>
        </p:txBody>
      </p:sp>
      <p:graphicFrame>
        <p:nvGraphicFramePr>
          <p:cNvPr id="37" name="Chart Placeholder 36">
            <a:extLst>
              <a:ext uri="{FF2B5EF4-FFF2-40B4-BE49-F238E27FC236}">
                <a16:creationId xmlns:a16="http://schemas.microsoft.com/office/drawing/2014/main" id="{1927A434-D984-47A8-9EEC-0CB700D69A94}"/>
              </a:ext>
            </a:extLst>
          </p:cNvPr>
          <p:cNvGraphicFramePr>
            <a:graphicFrameLocks noGrp="1"/>
          </p:cNvGraphicFramePr>
          <p:nvPr>
            <p:ph type="chart" sz="quarter" idx="56"/>
            <p:extLst>
              <p:ext uri="{D42A27DB-BD31-4B8C-83A1-F6EECF244321}">
                <p14:modId xmlns:p14="http://schemas.microsoft.com/office/powerpoint/2010/main" val="3666982409"/>
              </p:ext>
            </p:extLst>
          </p:nvPr>
        </p:nvGraphicFramePr>
        <p:xfrm>
          <a:off x="8589963" y="1846263"/>
          <a:ext cx="3268662" cy="398725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Content Placeholder 22">
            <a:extLst>
              <a:ext uri="{FF2B5EF4-FFF2-40B4-BE49-F238E27FC236}">
                <a16:creationId xmlns:a16="http://schemas.microsoft.com/office/drawing/2014/main" id="{C474A6AC-F9A9-4B0A-928E-9A2773AF378E}"/>
              </a:ext>
            </a:extLst>
          </p:cNvPr>
          <p:cNvGraphicFramePr>
            <a:graphicFrameLocks/>
          </p:cNvGraphicFramePr>
          <p:nvPr>
            <p:extLst>
              <p:ext uri="{D42A27DB-BD31-4B8C-83A1-F6EECF244321}">
                <p14:modId xmlns:p14="http://schemas.microsoft.com/office/powerpoint/2010/main" val="4173886961"/>
              </p:ext>
            </p:extLst>
          </p:nvPr>
        </p:nvGraphicFramePr>
        <p:xfrm>
          <a:off x="333375" y="1750562"/>
          <a:ext cx="8256588" cy="3805235"/>
        </p:xfrm>
        <a:graphic>
          <a:graphicData uri="http://schemas.openxmlformats.org/drawingml/2006/table">
            <a:tbl>
              <a:tblPr firstRow="1" bandRow="1">
                <a:tableStyleId>{5C22544A-7EE6-4342-B048-85BDC9FD1C3A}</a:tableStyleId>
              </a:tblPr>
              <a:tblGrid>
                <a:gridCol w="1329491">
                  <a:extLst>
                    <a:ext uri="{9D8B030D-6E8A-4147-A177-3AD203B41FA5}">
                      <a16:colId xmlns:a16="http://schemas.microsoft.com/office/drawing/2014/main" val="4171594264"/>
                    </a:ext>
                  </a:extLst>
                </a:gridCol>
                <a:gridCol w="645436">
                  <a:extLst>
                    <a:ext uri="{9D8B030D-6E8A-4147-A177-3AD203B41FA5}">
                      <a16:colId xmlns:a16="http://schemas.microsoft.com/office/drawing/2014/main" val="508009927"/>
                    </a:ext>
                  </a:extLst>
                </a:gridCol>
                <a:gridCol w="589575">
                  <a:extLst>
                    <a:ext uri="{9D8B030D-6E8A-4147-A177-3AD203B41FA5}">
                      <a16:colId xmlns:a16="http://schemas.microsoft.com/office/drawing/2014/main" val="184378190"/>
                    </a:ext>
                  </a:extLst>
                </a:gridCol>
                <a:gridCol w="632454">
                  <a:extLst>
                    <a:ext uri="{9D8B030D-6E8A-4147-A177-3AD203B41FA5}">
                      <a16:colId xmlns:a16="http://schemas.microsoft.com/office/drawing/2014/main" val="1646064905"/>
                    </a:ext>
                  </a:extLst>
                </a:gridCol>
                <a:gridCol w="632454">
                  <a:extLst>
                    <a:ext uri="{9D8B030D-6E8A-4147-A177-3AD203B41FA5}">
                      <a16:colId xmlns:a16="http://schemas.microsoft.com/office/drawing/2014/main" val="2193380829"/>
                    </a:ext>
                  </a:extLst>
                </a:gridCol>
                <a:gridCol w="632454">
                  <a:extLst>
                    <a:ext uri="{9D8B030D-6E8A-4147-A177-3AD203B41FA5}">
                      <a16:colId xmlns:a16="http://schemas.microsoft.com/office/drawing/2014/main" val="848662265"/>
                    </a:ext>
                  </a:extLst>
                </a:gridCol>
                <a:gridCol w="632454">
                  <a:extLst>
                    <a:ext uri="{9D8B030D-6E8A-4147-A177-3AD203B41FA5}">
                      <a16:colId xmlns:a16="http://schemas.microsoft.com/office/drawing/2014/main" val="20006"/>
                    </a:ext>
                  </a:extLst>
                </a:gridCol>
                <a:gridCol w="632454">
                  <a:extLst>
                    <a:ext uri="{9D8B030D-6E8A-4147-A177-3AD203B41FA5}">
                      <a16:colId xmlns:a16="http://schemas.microsoft.com/office/drawing/2014/main" val="20007"/>
                    </a:ext>
                  </a:extLst>
                </a:gridCol>
                <a:gridCol w="632454">
                  <a:extLst>
                    <a:ext uri="{9D8B030D-6E8A-4147-A177-3AD203B41FA5}">
                      <a16:colId xmlns:a16="http://schemas.microsoft.com/office/drawing/2014/main" val="20008"/>
                    </a:ext>
                  </a:extLst>
                </a:gridCol>
                <a:gridCol w="486001">
                  <a:extLst>
                    <a:ext uri="{9D8B030D-6E8A-4147-A177-3AD203B41FA5}">
                      <a16:colId xmlns:a16="http://schemas.microsoft.com/office/drawing/2014/main" val="20009"/>
                    </a:ext>
                  </a:extLst>
                </a:gridCol>
                <a:gridCol w="541090">
                  <a:extLst>
                    <a:ext uri="{9D8B030D-6E8A-4147-A177-3AD203B41FA5}">
                      <a16:colId xmlns:a16="http://schemas.microsoft.com/office/drawing/2014/main" val="1182920110"/>
                    </a:ext>
                  </a:extLst>
                </a:gridCol>
                <a:gridCol w="870271">
                  <a:extLst>
                    <a:ext uri="{9D8B030D-6E8A-4147-A177-3AD203B41FA5}">
                      <a16:colId xmlns:a16="http://schemas.microsoft.com/office/drawing/2014/main" val="154954166"/>
                    </a:ext>
                  </a:extLst>
                </a:gridCol>
              </a:tblGrid>
              <a:tr h="613997">
                <a:tc>
                  <a:txBody>
                    <a:bodyPr/>
                    <a:lstStyle/>
                    <a:p>
                      <a:pPr algn="ctr">
                        <a:lnSpc>
                          <a:spcPct val="100000"/>
                        </a:lnSpc>
                      </a:pPr>
                      <a:r>
                        <a:rPr lang="en-US" sz="1100" b="1" dirty="0">
                          <a:solidFill>
                            <a:schemeClr val="accent1"/>
                          </a:solidFill>
                          <a:latin typeface="+mn-lt"/>
                        </a:rPr>
                        <a:t>Distribution Channel</a:t>
                      </a:r>
                    </a:p>
                  </a:txBody>
                  <a:tcPr marL="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7</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8</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19</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0</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1</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2</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3</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4</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5</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2026</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pPr>
                      <a:r>
                        <a:rPr lang="en-US" sz="1100" b="1" dirty="0">
                          <a:solidFill>
                            <a:schemeClr val="accent1"/>
                          </a:solidFill>
                          <a:latin typeface="+mn-lt"/>
                        </a:rPr>
                        <a:t>CAGR (%)</a:t>
                      </a:r>
                    </a:p>
                  </a:txBody>
                  <a:tcPr marL="45720" marR="45720" marT="91440" marB="91440" anchor="ct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00300721"/>
                  </a:ext>
                </a:extLst>
              </a:tr>
              <a:tr h="735710">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Manufacturer Owned Stores</a:t>
                      </a:r>
                    </a:p>
                  </a:txBody>
                  <a:tcPr marL="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4194651080"/>
                  </a:ext>
                </a:extLst>
              </a:tr>
              <a:tr h="747679">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Specialty Stores</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726231322"/>
                  </a:ext>
                </a:extLst>
              </a:tr>
              <a:tr h="688136">
                <a:tc>
                  <a:txBody>
                    <a:bodyPr/>
                    <a:lstStyle/>
                    <a:p>
                      <a:pPr marL="0" marR="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Online Stores</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0003"/>
                  </a:ext>
                </a:extLst>
              </a:tr>
              <a:tr h="1019713">
                <a:tc>
                  <a:txBody>
                    <a:bodyPr/>
                    <a:lstStyle/>
                    <a:p>
                      <a:pPr marL="0" marR="0" lvl="0" indent="0" algn="l" defTabSz="913441" rtl="0" eaLnBrk="1" fontAlgn="auto" latinLnBrk="0" hangingPunct="1">
                        <a:lnSpc>
                          <a:spcPct val="150000"/>
                        </a:lnSpc>
                        <a:spcBef>
                          <a:spcPts val="0"/>
                        </a:spcBef>
                        <a:spcAft>
                          <a:spcPts val="800"/>
                        </a:spcAft>
                        <a:buClrTx/>
                        <a:buSzTx/>
                        <a:buFontTx/>
                        <a:buNone/>
                        <a:tabLst/>
                        <a:defRPr/>
                      </a:pPr>
                      <a:r>
                        <a:rPr lang="en-US" sz="1100" b="1" dirty="0">
                          <a:solidFill>
                            <a:schemeClr val="tx1"/>
                          </a:solidFill>
                          <a:latin typeface="+mn-lt"/>
                          <a:ea typeface="Calibri" panose="020F0502020204030204" pitchFamily="34" charset="0"/>
                          <a:cs typeface="Times New Roman" panose="02020603050405020304" pitchFamily="18" charset="0"/>
                        </a:rPr>
                        <a:t>Other Distribution Channels </a:t>
                      </a:r>
                    </a:p>
                  </a:txBody>
                  <a:tcPr marL="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9525" marR="9525" marT="9525" marB="0"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Lato"/>
                          <a:ea typeface="+mn-ea"/>
                          <a:cs typeface="+mn-cs"/>
                        </a:rPr>
                        <a:t>XX</a:t>
                      </a:r>
                    </a:p>
                  </a:txBody>
                  <a:tcPr marL="45720" marR="0" marT="109728" marB="109728" anchor="ct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54" name="Text Placeholder 4">
            <a:extLst>
              <a:ext uri="{FF2B5EF4-FFF2-40B4-BE49-F238E27FC236}">
                <a16:creationId xmlns:a16="http://schemas.microsoft.com/office/drawing/2014/main" id="{6259AEAF-80FE-4FCA-9E93-0E9D85F8B6F5}"/>
              </a:ext>
            </a:extLst>
          </p:cNvPr>
          <p:cNvSpPr txBox="1">
            <a:spLocks/>
          </p:cNvSpPr>
          <p:nvPr/>
        </p:nvSpPr>
        <p:spPr>
          <a:xfrm>
            <a:off x="275528" y="1126500"/>
            <a:ext cx="4878361" cy="184666"/>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lang="en-US" sz="1200" b="1" kern="1200" cap="all" baseline="0" dirty="0">
                <a:solidFill>
                  <a:schemeClr val="accent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US" dirty="0"/>
              <a:t>ASEAN LVT Market</a:t>
            </a:r>
            <a:endParaRPr lang="en-US" dirty="0">
              <a:latin typeface="+mj-lt"/>
            </a:endParaRPr>
          </a:p>
        </p:txBody>
      </p:sp>
      <p:sp>
        <p:nvSpPr>
          <p:cNvPr id="55" name="Text Placeholder 4">
            <a:extLst>
              <a:ext uri="{FF2B5EF4-FFF2-40B4-BE49-F238E27FC236}">
                <a16:creationId xmlns:a16="http://schemas.microsoft.com/office/drawing/2014/main" id="{87967FF1-4F5C-4DEC-9A40-A5A3FB878033}"/>
              </a:ext>
            </a:extLst>
          </p:cNvPr>
          <p:cNvSpPr txBox="1">
            <a:spLocks/>
          </p:cNvSpPr>
          <p:nvPr/>
        </p:nvSpPr>
        <p:spPr>
          <a:xfrm>
            <a:off x="275528" y="1456744"/>
            <a:ext cx="5383150" cy="153888"/>
          </a:xfrm>
          <a:prstGeom prst="rect">
            <a:avLst/>
          </a:prstGeom>
        </p:spPr>
        <p:txBody>
          <a:bodyPr vert="horz" wrap="square" lIns="0" tIns="0" rIns="0" bIns="0" rtlCol="0" anchor="b">
            <a:spAutoFit/>
          </a:bodyPr>
          <a:lstStyle>
            <a:lvl1pPr marL="0" indent="0" algn="l" defTabSz="914400" rtl="0" eaLnBrk="1" latinLnBrk="0" hangingPunct="1">
              <a:lnSpc>
                <a:spcPct val="100000"/>
              </a:lnSpc>
              <a:spcBef>
                <a:spcPts val="0"/>
              </a:spcBef>
              <a:spcAft>
                <a:spcPts val="500"/>
              </a:spcAft>
              <a:buClr>
                <a:schemeClr val="accent2"/>
              </a:buClr>
              <a:buFont typeface="Arial" panose="020B0604020202020204" pitchFamily="34" charset="0"/>
              <a:buNone/>
              <a:defRPr lang="en-US" sz="1000" b="0" kern="1200" cap="none" baseline="0" dirty="0">
                <a:solidFill>
                  <a:schemeClr val="bg1">
                    <a:lumMod val="50000"/>
                  </a:schemeClr>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venue in USD million, by </a:t>
            </a:r>
            <a:r>
              <a:rPr lang="en-US" sz="800" dirty="0"/>
              <a:t>Distribution Channel, </a:t>
            </a:r>
            <a:r>
              <a:rPr lang="en-US" sz="800" dirty="0">
                <a:latin typeface="+mj-lt"/>
              </a:rPr>
              <a:t>ASEAN</a:t>
            </a:r>
            <a:r>
              <a:rPr lang="en-US" dirty="0">
                <a:latin typeface="+mj-lt"/>
              </a:rPr>
              <a:t>, 2017-2026</a:t>
            </a:r>
          </a:p>
        </p:txBody>
      </p:sp>
      <p:sp>
        <p:nvSpPr>
          <p:cNvPr id="57" name="Text Placeholder 10">
            <a:extLst>
              <a:ext uri="{FF2B5EF4-FFF2-40B4-BE49-F238E27FC236}">
                <a16:creationId xmlns:a16="http://schemas.microsoft.com/office/drawing/2014/main" id="{50301D9A-E02C-4E4F-B8AF-32395685BAFF}"/>
              </a:ext>
            </a:extLst>
          </p:cNvPr>
          <p:cNvSpPr txBox="1">
            <a:spLocks/>
          </p:cNvSpPr>
          <p:nvPr/>
        </p:nvSpPr>
        <p:spPr>
          <a:xfrm>
            <a:off x="232574" y="5833516"/>
            <a:ext cx="5807313" cy="156005"/>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58" name="Text Placeholder 10">
            <a:extLst>
              <a:ext uri="{FF2B5EF4-FFF2-40B4-BE49-F238E27FC236}">
                <a16:creationId xmlns:a16="http://schemas.microsoft.com/office/drawing/2014/main" id="{244338FA-5A02-4A93-962C-31D0C51BAA53}"/>
              </a:ext>
            </a:extLst>
          </p:cNvPr>
          <p:cNvSpPr txBox="1">
            <a:spLocks/>
          </p:cNvSpPr>
          <p:nvPr/>
        </p:nvSpPr>
        <p:spPr>
          <a:xfrm>
            <a:off x="8798418" y="5918622"/>
            <a:ext cx="3518299" cy="184666"/>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latin typeface="+mj-lt"/>
              </a:rPr>
              <a:t>SOURCE: Mordor Intelligence Analysis</a:t>
            </a:r>
          </a:p>
        </p:txBody>
      </p:sp>
      <p:sp>
        <p:nvSpPr>
          <p:cNvPr id="60" name="Text Placeholder 35">
            <a:extLst>
              <a:ext uri="{FF2B5EF4-FFF2-40B4-BE49-F238E27FC236}">
                <a16:creationId xmlns:a16="http://schemas.microsoft.com/office/drawing/2014/main" id="{1CA3D240-E925-4286-B23F-69384DEC41ED}"/>
              </a:ext>
            </a:extLst>
          </p:cNvPr>
          <p:cNvSpPr txBox="1">
            <a:spLocks/>
          </p:cNvSpPr>
          <p:nvPr/>
        </p:nvSpPr>
        <p:spPr>
          <a:xfrm>
            <a:off x="275530" y="84660"/>
            <a:ext cx="10601790" cy="199052"/>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dirty="0">
                <a:solidFill>
                  <a:schemeClr val="bg1"/>
                </a:solidFill>
                <a:latin typeface="+mj-lt"/>
              </a:rPr>
              <a:t>5. MARKET SEGMENTATION </a:t>
            </a:r>
          </a:p>
        </p:txBody>
      </p:sp>
      <p:sp>
        <p:nvSpPr>
          <p:cNvPr id="16" name="Rectangle: Rounded Corners 15">
            <a:extLst>
              <a:ext uri="{FF2B5EF4-FFF2-40B4-BE49-F238E27FC236}">
                <a16:creationId xmlns:a16="http://schemas.microsoft.com/office/drawing/2014/main" id="{8701A2A7-5040-49DE-9062-EB80BDC8F7AC}"/>
              </a:ext>
            </a:extLst>
          </p:cNvPr>
          <p:cNvSpPr/>
          <p:nvPr/>
        </p:nvSpPr>
        <p:spPr>
          <a:xfrm>
            <a:off x="9529592" y="2908117"/>
            <a:ext cx="1710494" cy="4118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SAMPLE FIGURE</a:t>
            </a:r>
          </a:p>
        </p:txBody>
      </p:sp>
      <p:sp>
        <p:nvSpPr>
          <p:cNvPr id="15" name="Text Placeholder 11">
            <a:extLst>
              <a:ext uri="{FF2B5EF4-FFF2-40B4-BE49-F238E27FC236}">
                <a16:creationId xmlns:a16="http://schemas.microsoft.com/office/drawing/2014/main" id="{CAF51670-3522-44C0-A49F-2FCE3733BCFC}"/>
              </a:ext>
            </a:extLst>
          </p:cNvPr>
          <p:cNvSpPr txBox="1">
            <a:spLocks/>
          </p:cNvSpPr>
          <p:nvPr/>
        </p:nvSpPr>
        <p:spPr>
          <a:xfrm>
            <a:off x="3136230" y="6295185"/>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1636682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C7CE2-AA2B-4E5A-AA05-0EAB46CF70C4}"/>
              </a:ext>
            </a:extLst>
          </p:cNvPr>
          <p:cNvSpPr>
            <a:spLocks noGrp="1"/>
          </p:cNvSpPr>
          <p:nvPr>
            <p:ph type="title"/>
          </p:nvPr>
        </p:nvSpPr>
        <p:spPr/>
        <p:txBody>
          <a:bodyPr/>
          <a:lstStyle/>
          <a:p>
            <a:r>
              <a:rPr lang="en-US" dirty="0"/>
              <a:t>TABLE OF CONTENTS</a:t>
            </a:r>
          </a:p>
        </p:txBody>
      </p:sp>
      <p:sp>
        <p:nvSpPr>
          <p:cNvPr id="3" name="Content Placeholder 2">
            <a:extLst>
              <a:ext uri="{FF2B5EF4-FFF2-40B4-BE49-F238E27FC236}">
                <a16:creationId xmlns:a16="http://schemas.microsoft.com/office/drawing/2014/main" id="{4BDE7838-58D8-40AE-880A-AB2E25930AF4}"/>
              </a:ext>
            </a:extLst>
          </p:cNvPr>
          <p:cNvSpPr>
            <a:spLocks noGrp="1"/>
          </p:cNvSpPr>
          <p:nvPr>
            <p:ph idx="14"/>
          </p:nvPr>
        </p:nvSpPr>
        <p:spPr>
          <a:xfrm>
            <a:off x="3180360" y="842066"/>
            <a:ext cx="4154749" cy="5412959"/>
          </a:xfrm>
        </p:spPr>
        <p:txBody>
          <a:bodyPr anchor="t"/>
          <a:lstStyle/>
          <a:p>
            <a:pPr marL="246380" lvl="0" indent="-246380" algn="just">
              <a:lnSpc>
                <a:spcPct val="150000"/>
              </a:lnSpc>
              <a:spcBef>
                <a:spcPts val="0"/>
              </a:spcBef>
              <a:spcAft>
                <a:spcPts val="300"/>
              </a:spcAft>
              <a:buClrTx/>
              <a:defRPr/>
            </a:pPr>
            <a:r>
              <a:rPr lang="en-US" sz="1100" dirty="0">
                <a:solidFill>
                  <a:srgbClr val="54B8BD"/>
                </a:solidFill>
              </a:rPr>
              <a:t>1. INTRODUCTION</a:t>
            </a:r>
            <a:endParaRPr lang="en-US" dirty="0"/>
          </a:p>
          <a:p>
            <a:pPr marL="246380" indent="-246380" algn="just">
              <a:lnSpc>
                <a:spcPct val="150000"/>
              </a:lnSpc>
              <a:spcBef>
                <a:spcPts val="0"/>
              </a:spcBef>
              <a:spcAft>
                <a:spcPts val="300"/>
              </a:spcAft>
              <a:buClrTx/>
              <a:defRPr/>
            </a:pPr>
            <a:r>
              <a:rPr lang="en-US" sz="1100" b="0" cap="none" dirty="0">
                <a:solidFill>
                  <a:schemeClr val="tx1"/>
                </a:solidFill>
              </a:rPr>
              <a:t>1.1 Study Assumptions and Market Definition</a:t>
            </a:r>
          </a:p>
          <a:p>
            <a:pPr marL="246380" indent="-246380" algn="just">
              <a:lnSpc>
                <a:spcPct val="150000"/>
              </a:lnSpc>
              <a:spcBef>
                <a:spcPts val="0"/>
              </a:spcBef>
              <a:spcAft>
                <a:spcPts val="300"/>
              </a:spcAft>
              <a:buClrTx/>
              <a:defRPr/>
            </a:pPr>
            <a:r>
              <a:rPr lang="en-US" sz="1100" b="0" cap="none" dirty="0">
                <a:solidFill>
                  <a:schemeClr val="tx1"/>
                </a:solidFill>
              </a:rPr>
              <a:t>1.2 Scope of the Study</a:t>
            </a:r>
          </a:p>
          <a:p>
            <a:pPr marL="246380" lvl="0" indent="-246380" algn="just">
              <a:lnSpc>
                <a:spcPct val="150000"/>
              </a:lnSpc>
              <a:spcBef>
                <a:spcPts val="0"/>
              </a:spcBef>
              <a:spcAft>
                <a:spcPts val="300"/>
              </a:spcAft>
              <a:buClrTx/>
              <a:defRPr/>
            </a:pPr>
            <a:r>
              <a:rPr lang="en-US" sz="1100" dirty="0">
                <a:solidFill>
                  <a:srgbClr val="54B8BD"/>
                </a:solidFill>
              </a:rPr>
              <a:t>2. RESEARCH METHODOLOGY</a:t>
            </a:r>
          </a:p>
          <a:p>
            <a:pPr marL="246380" lvl="0" indent="-246380" algn="just">
              <a:lnSpc>
                <a:spcPct val="150000"/>
              </a:lnSpc>
              <a:spcBef>
                <a:spcPts val="0"/>
              </a:spcBef>
              <a:spcAft>
                <a:spcPts val="300"/>
              </a:spcAft>
              <a:buClrTx/>
              <a:defRPr/>
            </a:pPr>
            <a:r>
              <a:rPr lang="en-US" sz="1100" b="0" cap="none" dirty="0">
                <a:solidFill>
                  <a:schemeClr val="tx1"/>
                </a:solidFill>
              </a:rPr>
              <a:t>2.1 Research Methodology</a:t>
            </a:r>
          </a:p>
          <a:p>
            <a:pPr marL="246380" lvl="0" indent="-246380" algn="just">
              <a:lnSpc>
                <a:spcPct val="150000"/>
              </a:lnSpc>
              <a:spcBef>
                <a:spcPts val="0"/>
              </a:spcBef>
              <a:spcAft>
                <a:spcPts val="300"/>
              </a:spcAft>
              <a:buClrTx/>
              <a:defRPr/>
            </a:pPr>
            <a:r>
              <a:rPr lang="en-US" sz="1100" b="0" cap="none" dirty="0">
                <a:solidFill>
                  <a:schemeClr val="tx1"/>
                </a:solidFill>
              </a:rPr>
              <a:t>2.2 Research Phases</a:t>
            </a:r>
          </a:p>
          <a:p>
            <a:pPr marL="246380" lvl="0" indent="-246380" algn="just">
              <a:lnSpc>
                <a:spcPct val="150000"/>
              </a:lnSpc>
              <a:spcBef>
                <a:spcPts val="0"/>
              </a:spcBef>
              <a:spcAft>
                <a:spcPts val="300"/>
              </a:spcAft>
              <a:buClrTx/>
              <a:defRPr/>
            </a:pPr>
            <a:r>
              <a:rPr lang="en-US" sz="1100" dirty="0">
                <a:solidFill>
                  <a:srgbClr val="54B8BD"/>
                </a:solidFill>
              </a:rPr>
              <a:t>3. EXECUTIVE SUMMARY</a:t>
            </a:r>
          </a:p>
          <a:p>
            <a:pPr marL="246380" lvl="0" indent="-246380" algn="just">
              <a:lnSpc>
                <a:spcPct val="150000"/>
              </a:lnSpc>
              <a:spcBef>
                <a:spcPts val="0"/>
              </a:spcBef>
              <a:spcAft>
                <a:spcPts val="300"/>
              </a:spcAft>
              <a:buClrTx/>
              <a:defRPr/>
            </a:pPr>
            <a:r>
              <a:rPr lang="en-US" sz="1100" dirty="0">
                <a:solidFill>
                  <a:srgbClr val="54B8BD"/>
                </a:solidFill>
              </a:rPr>
              <a:t>4. MARKET INSIGHTS AND DYNAMICS</a:t>
            </a:r>
          </a:p>
          <a:p>
            <a:pPr marL="246380" lvl="0" indent="-246380" algn="just">
              <a:lnSpc>
                <a:spcPct val="150000"/>
              </a:lnSpc>
              <a:spcBef>
                <a:spcPts val="0"/>
              </a:spcBef>
              <a:spcAft>
                <a:spcPts val="300"/>
              </a:spcAft>
              <a:buClrTx/>
              <a:defRPr/>
            </a:pPr>
            <a:r>
              <a:rPr lang="en-US" sz="1100" b="0" cap="none" dirty="0">
                <a:solidFill>
                  <a:schemeClr val="tx1"/>
                </a:solidFill>
              </a:rPr>
              <a:t>4.1 Market Overview</a:t>
            </a:r>
          </a:p>
          <a:p>
            <a:pPr marL="246380" lvl="0" indent="-246380" algn="just">
              <a:lnSpc>
                <a:spcPct val="150000"/>
              </a:lnSpc>
              <a:spcBef>
                <a:spcPts val="0"/>
              </a:spcBef>
              <a:spcAft>
                <a:spcPts val="300"/>
              </a:spcAft>
              <a:buClrTx/>
              <a:defRPr/>
            </a:pPr>
            <a:r>
              <a:rPr lang="en-US" sz="1100" b="0" cap="none" dirty="0">
                <a:solidFill>
                  <a:schemeClr val="tx1"/>
                </a:solidFill>
              </a:rPr>
              <a:t>4.2 Market Drivers</a:t>
            </a:r>
          </a:p>
          <a:p>
            <a:pPr marL="246380" lvl="0" indent="-246380" algn="just">
              <a:lnSpc>
                <a:spcPct val="150000"/>
              </a:lnSpc>
              <a:spcBef>
                <a:spcPts val="0"/>
              </a:spcBef>
              <a:spcAft>
                <a:spcPts val="300"/>
              </a:spcAft>
              <a:buClrTx/>
              <a:defRPr/>
            </a:pPr>
            <a:r>
              <a:rPr lang="en-US" sz="1100" b="0" cap="none" dirty="0">
                <a:solidFill>
                  <a:schemeClr val="tx1"/>
                </a:solidFill>
              </a:rPr>
              <a:t>4.3 Market Restraints</a:t>
            </a:r>
          </a:p>
          <a:p>
            <a:pPr marL="246380" lvl="0" indent="-246380" algn="just">
              <a:lnSpc>
                <a:spcPct val="150000"/>
              </a:lnSpc>
              <a:spcBef>
                <a:spcPts val="0"/>
              </a:spcBef>
              <a:spcAft>
                <a:spcPts val="300"/>
              </a:spcAft>
              <a:buClrTx/>
              <a:defRPr/>
            </a:pPr>
            <a:r>
              <a:rPr lang="en-US" sz="1100" b="0" cap="none" dirty="0">
                <a:solidFill>
                  <a:schemeClr val="tx1"/>
                </a:solidFill>
              </a:rPr>
              <a:t>4..4 Value Chain / Supply Chain Analysis</a:t>
            </a:r>
          </a:p>
          <a:p>
            <a:pPr marL="246380" lvl="0" indent="-246380" algn="just">
              <a:lnSpc>
                <a:spcPct val="150000"/>
              </a:lnSpc>
              <a:spcBef>
                <a:spcPts val="0"/>
              </a:spcBef>
              <a:spcAft>
                <a:spcPts val="300"/>
              </a:spcAft>
              <a:buClrTx/>
              <a:defRPr/>
            </a:pPr>
            <a:r>
              <a:rPr lang="en-US" sz="1100" b="0" cap="none" dirty="0">
                <a:solidFill>
                  <a:schemeClr val="tx1"/>
                </a:solidFill>
              </a:rPr>
              <a:t>4.5 Porter's Five Forces Analysis</a:t>
            </a:r>
          </a:p>
          <a:p>
            <a:pPr marL="246380" lvl="0" indent="-246380" algn="just">
              <a:lnSpc>
                <a:spcPct val="150000"/>
              </a:lnSpc>
              <a:spcBef>
                <a:spcPts val="0"/>
              </a:spcBef>
              <a:spcAft>
                <a:spcPts val="300"/>
              </a:spcAft>
              <a:buClrTx/>
              <a:defRPr/>
            </a:pPr>
            <a:r>
              <a:rPr lang="en-US" sz="1100" b="0" cap="none" dirty="0">
                <a:solidFill>
                  <a:schemeClr val="tx1"/>
                </a:solidFill>
              </a:rPr>
              <a:t>4.6 Impact of COVID- 19 on the Market</a:t>
            </a:r>
          </a:p>
          <a:p>
            <a:pPr marL="246380" lvl="0" indent="-246380" algn="just">
              <a:lnSpc>
                <a:spcPct val="150000"/>
              </a:lnSpc>
              <a:spcBef>
                <a:spcPts val="0"/>
              </a:spcBef>
              <a:spcAft>
                <a:spcPts val="300"/>
              </a:spcAft>
              <a:buClrTx/>
              <a:defRPr/>
            </a:pPr>
            <a:r>
              <a:rPr lang="en-US" sz="1100" b="1" dirty="0">
                <a:solidFill>
                  <a:srgbClr val="54B8BD"/>
                </a:solidFill>
              </a:rPr>
              <a:t>5. MARKET SEGMENTATION (MARKET SIZE AND FORECAST, 2017-2026)</a:t>
            </a:r>
          </a:p>
          <a:p>
            <a:pPr marL="246380" indent="-246380" algn="just">
              <a:lnSpc>
                <a:spcPct val="150000"/>
              </a:lnSpc>
              <a:spcBef>
                <a:spcPts val="0"/>
              </a:spcBef>
              <a:spcAft>
                <a:spcPts val="300"/>
              </a:spcAft>
              <a:buClrTx/>
              <a:defRPr/>
            </a:pPr>
            <a:r>
              <a:rPr lang="en-US" sz="1100" cap="none" dirty="0"/>
              <a:t>5.1 By Product Type</a:t>
            </a:r>
          </a:p>
          <a:p>
            <a:pPr marL="463550" lvl="1" indent="0">
              <a:lnSpc>
                <a:spcPct val="150000"/>
              </a:lnSpc>
              <a:spcBef>
                <a:spcPts val="0"/>
              </a:spcBef>
              <a:spcAft>
                <a:spcPts val="300"/>
              </a:spcAft>
              <a:buNone/>
            </a:pPr>
            <a:r>
              <a:rPr lang="en-US" sz="1100" cap="none" dirty="0">
                <a:solidFill>
                  <a:srgbClr val="54B8BD"/>
                </a:solidFill>
                <a:ea typeface="+mn-lt"/>
                <a:cs typeface="+mn-lt"/>
              </a:rPr>
              <a:t> </a:t>
            </a:r>
            <a:r>
              <a:rPr lang="en-US" sz="1100" cap="none" dirty="0"/>
              <a:t>5.1.1 Rigid</a:t>
            </a:r>
          </a:p>
          <a:p>
            <a:pPr marL="463550" lvl="1" indent="0">
              <a:lnSpc>
                <a:spcPct val="150000"/>
              </a:lnSpc>
              <a:spcBef>
                <a:spcPts val="0"/>
              </a:spcBef>
              <a:spcAft>
                <a:spcPts val="300"/>
              </a:spcAft>
              <a:buNone/>
            </a:pPr>
            <a:r>
              <a:rPr lang="en-US" sz="1100" cap="none" dirty="0"/>
              <a:t> 5.1.2 Flexible</a:t>
            </a:r>
          </a:p>
          <a:p>
            <a:pPr marL="246380" lvl="0" indent="-246380" algn="just">
              <a:lnSpc>
                <a:spcPct val="150000"/>
              </a:lnSpc>
              <a:spcBef>
                <a:spcPts val="0"/>
              </a:spcBef>
              <a:spcAft>
                <a:spcPts val="300"/>
              </a:spcAft>
              <a:buClrTx/>
              <a:defRPr/>
            </a:pPr>
            <a:endParaRPr lang="en-US" sz="1100" b="0" cap="none" dirty="0">
              <a:solidFill>
                <a:schemeClr val="tx1"/>
              </a:solidFill>
              <a:ea typeface="+mn-lt"/>
              <a:cs typeface="+mn-lt"/>
            </a:endParaRPr>
          </a:p>
        </p:txBody>
      </p:sp>
      <p:sp>
        <p:nvSpPr>
          <p:cNvPr id="4" name="Content Placeholder 3">
            <a:extLst>
              <a:ext uri="{FF2B5EF4-FFF2-40B4-BE49-F238E27FC236}">
                <a16:creationId xmlns:a16="http://schemas.microsoft.com/office/drawing/2014/main" id="{1F5DCBF4-C561-4354-AF7F-A7AB12BE283D}"/>
              </a:ext>
            </a:extLst>
          </p:cNvPr>
          <p:cNvSpPr>
            <a:spLocks noGrp="1"/>
          </p:cNvSpPr>
          <p:nvPr>
            <p:ph idx="4294967295"/>
          </p:nvPr>
        </p:nvSpPr>
        <p:spPr>
          <a:xfrm>
            <a:off x="7515164" y="855319"/>
            <a:ext cx="4154749" cy="4608185"/>
          </a:xfrm>
        </p:spPr>
        <p:txBody>
          <a:bodyPr anchor="t"/>
          <a:lstStyle/>
          <a:p>
            <a:pPr marL="246380" indent="-246380" algn="just">
              <a:lnSpc>
                <a:spcPct val="150000"/>
              </a:lnSpc>
              <a:spcBef>
                <a:spcPts val="0"/>
              </a:spcBef>
              <a:spcAft>
                <a:spcPts val="300"/>
              </a:spcAft>
              <a:buClrTx/>
              <a:buNone/>
              <a:defRPr/>
            </a:pPr>
            <a:r>
              <a:rPr lang="en-US" sz="1100" b="1" dirty="0">
                <a:solidFill>
                  <a:schemeClr val="accent1"/>
                </a:solidFill>
              </a:rPr>
              <a:t>5.2 By End User Type</a:t>
            </a:r>
          </a:p>
          <a:p>
            <a:pPr marL="463550" lvl="1" indent="0">
              <a:lnSpc>
                <a:spcPct val="150000"/>
              </a:lnSpc>
              <a:spcBef>
                <a:spcPts val="0"/>
              </a:spcBef>
              <a:spcAft>
                <a:spcPts val="300"/>
              </a:spcAft>
              <a:buNone/>
            </a:pPr>
            <a:r>
              <a:rPr lang="en-US" sz="1100" cap="none" dirty="0"/>
              <a:t>5.2.1 Residential</a:t>
            </a:r>
          </a:p>
          <a:p>
            <a:pPr marL="463550" lvl="1" indent="0">
              <a:lnSpc>
                <a:spcPct val="150000"/>
              </a:lnSpc>
              <a:spcBef>
                <a:spcPts val="0"/>
              </a:spcBef>
              <a:spcAft>
                <a:spcPts val="300"/>
              </a:spcAft>
              <a:buNone/>
            </a:pPr>
            <a:r>
              <a:rPr lang="en-US" sz="1100" cap="none" dirty="0"/>
              <a:t>5.2.2 Commercial</a:t>
            </a:r>
          </a:p>
          <a:p>
            <a:pPr marL="0" indent="0">
              <a:lnSpc>
                <a:spcPct val="150000"/>
              </a:lnSpc>
              <a:spcBef>
                <a:spcPts val="0"/>
              </a:spcBef>
              <a:spcAft>
                <a:spcPts val="300"/>
              </a:spcAft>
              <a:buNone/>
            </a:pPr>
            <a:r>
              <a:rPr lang="en-US" sz="1100" b="1" dirty="0">
                <a:solidFill>
                  <a:schemeClr val="accent1"/>
                </a:solidFill>
              </a:rPr>
              <a:t>5.3 By Distribution Channel</a:t>
            </a:r>
          </a:p>
          <a:p>
            <a:pPr marL="463550" lvl="1" indent="0">
              <a:lnSpc>
                <a:spcPct val="150000"/>
              </a:lnSpc>
              <a:spcBef>
                <a:spcPts val="0"/>
              </a:spcBef>
              <a:spcAft>
                <a:spcPts val="300"/>
              </a:spcAft>
              <a:buNone/>
            </a:pPr>
            <a:r>
              <a:rPr lang="en-US" sz="1100" cap="none" dirty="0"/>
              <a:t>5.3.1 </a:t>
            </a:r>
            <a:r>
              <a:rPr lang="en-IN" sz="1100" dirty="0"/>
              <a:t>Manufacturer Owned Stores</a:t>
            </a:r>
            <a:endParaRPr lang="en-US" sz="1100" dirty="0"/>
          </a:p>
          <a:p>
            <a:pPr marL="463550" lvl="1" indent="0">
              <a:lnSpc>
                <a:spcPct val="150000"/>
              </a:lnSpc>
              <a:spcBef>
                <a:spcPts val="0"/>
              </a:spcBef>
              <a:spcAft>
                <a:spcPts val="300"/>
              </a:spcAft>
              <a:buNone/>
            </a:pPr>
            <a:r>
              <a:rPr lang="en-US" sz="1100" dirty="0"/>
              <a:t>5.3.2 </a:t>
            </a:r>
            <a:r>
              <a:rPr lang="en-IN" sz="1100" dirty="0"/>
              <a:t>Speciality Stores</a:t>
            </a:r>
          </a:p>
          <a:p>
            <a:pPr marL="463550" lvl="1" indent="0">
              <a:lnSpc>
                <a:spcPct val="150000"/>
              </a:lnSpc>
              <a:spcBef>
                <a:spcPts val="0"/>
              </a:spcBef>
              <a:spcAft>
                <a:spcPts val="300"/>
              </a:spcAft>
              <a:buNone/>
            </a:pPr>
            <a:r>
              <a:rPr lang="en-IN" sz="1100" dirty="0"/>
              <a:t>5.3.3 Online Stores</a:t>
            </a:r>
          </a:p>
          <a:p>
            <a:pPr marL="463550" lvl="1" indent="0">
              <a:lnSpc>
                <a:spcPct val="150000"/>
              </a:lnSpc>
              <a:spcBef>
                <a:spcPts val="0"/>
              </a:spcBef>
              <a:spcAft>
                <a:spcPts val="300"/>
              </a:spcAft>
              <a:buNone/>
            </a:pPr>
            <a:r>
              <a:rPr lang="en-IN" sz="1100" dirty="0"/>
              <a:t>5.3.4 Other Distribution Channels</a:t>
            </a:r>
            <a:endParaRPr lang="en-US" sz="1100" dirty="0"/>
          </a:p>
          <a:p>
            <a:pPr marL="0" indent="0">
              <a:lnSpc>
                <a:spcPct val="150000"/>
              </a:lnSpc>
              <a:spcBef>
                <a:spcPts val="0"/>
              </a:spcBef>
              <a:spcAft>
                <a:spcPts val="300"/>
              </a:spcAft>
              <a:buNone/>
            </a:pPr>
            <a:r>
              <a:rPr lang="en-US" sz="1100" b="1" dirty="0">
                <a:solidFill>
                  <a:schemeClr val="accent1"/>
                </a:solidFill>
              </a:rPr>
              <a:t>5.4 By Geography</a:t>
            </a:r>
          </a:p>
          <a:p>
            <a:pPr marL="0" indent="0">
              <a:lnSpc>
                <a:spcPct val="150000"/>
              </a:lnSpc>
              <a:spcBef>
                <a:spcPts val="0"/>
              </a:spcBef>
              <a:spcAft>
                <a:spcPts val="300"/>
              </a:spcAft>
              <a:buNone/>
            </a:pPr>
            <a:r>
              <a:rPr lang="en-US" sz="1100" dirty="0"/>
              <a:t>             5.4.1 Indonesia</a:t>
            </a:r>
          </a:p>
          <a:p>
            <a:pPr marL="0" indent="0">
              <a:lnSpc>
                <a:spcPct val="150000"/>
              </a:lnSpc>
              <a:spcBef>
                <a:spcPts val="0"/>
              </a:spcBef>
              <a:spcAft>
                <a:spcPts val="300"/>
              </a:spcAft>
              <a:buNone/>
            </a:pPr>
            <a:r>
              <a:rPr lang="en-US" sz="1100" cap="none" dirty="0"/>
              <a:t>             5.4.2 Malaysia</a:t>
            </a:r>
          </a:p>
          <a:p>
            <a:pPr marL="0" indent="0">
              <a:lnSpc>
                <a:spcPct val="150000"/>
              </a:lnSpc>
              <a:spcBef>
                <a:spcPts val="0"/>
              </a:spcBef>
              <a:spcAft>
                <a:spcPts val="300"/>
              </a:spcAft>
              <a:buNone/>
            </a:pPr>
            <a:r>
              <a:rPr lang="en-US" sz="1100" dirty="0"/>
              <a:t>             5.4.3 Philippines</a:t>
            </a:r>
          </a:p>
          <a:p>
            <a:pPr marL="0" indent="0">
              <a:lnSpc>
                <a:spcPct val="150000"/>
              </a:lnSpc>
              <a:spcBef>
                <a:spcPts val="0"/>
              </a:spcBef>
              <a:spcAft>
                <a:spcPts val="300"/>
              </a:spcAft>
              <a:buNone/>
            </a:pPr>
            <a:r>
              <a:rPr lang="en-US" sz="1100" cap="none" dirty="0"/>
              <a:t>             5.4.4 Singapore</a:t>
            </a:r>
          </a:p>
          <a:p>
            <a:pPr marL="0" indent="0">
              <a:lnSpc>
                <a:spcPct val="150000"/>
              </a:lnSpc>
              <a:spcBef>
                <a:spcPts val="0"/>
              </a:spcBef>
              <a:spcAft>
                <a:spcPts val="300"/>
              </a:spcAft>
              <a:buNone/>
            </a:pPr>
            <a:r>
              <a:rPr lang="en-US" sz="1100" dirty="0"/>
              <a:t>             5.4.5 </a:t>
            </a:r>
            <a:r>
              <a:rPr lang="en-US" sz="1100" cap="none" dirty="0"/>
              <a:t>Thailand</a:t>
            </a:r>
            <a:endParaRPr lang="en-US" sz="1100" dirty="0"/>
          </a:p>
          <a:p>
            <a:pPr marL="0" indent="0">
              <a:lnSpc>
                <a:spcPct val="150000"/>
              </a:lnSpc>
              <a:spcBef>
                <a:spcPts val="0"/>
              </a:spcBef>
              <a:spcAft>
                <a:spcPts val="300"/>
              </a:spcAft>
              <a:buNone/>
            </a:pPr>
            <a:r>
              <a:rPr lang="en-US" sz="1100" cap="none" dirty="0"/>
              <a:t>             5.4.6 </a:t>
            </a:r>
            <a:r>
              <a:rPr lang="en-US" sz="1100" dirty="0"/>
              <a:t>Vietnam </a:t>
            </a:r>
          </a:p>
          <a:p>
            <a:pPr marL="0" indent="0">
              <a:lnSpc>
                <a:spcPct val="150000"/>
              </a:lnSpc>
              <a:spcBef>
                <a:spcPts val="0"/>
              </a:spcBef>
              <a:spcAft>
                <a:spcPts val="300"/>
              </a:spcAft>
              <a:buNone/>
            </a:pPr>
            <a:r>
              <a:rPr lang="en-US" sz="1100" cap="none" dirty="0"/>
              <a:t>             5.4.7 Other </a:t>
            </a:r>
            <a:r>
              <a:rPr lang="en-US" sz="1100" dirty="0"/>
              <a:t>Countries</a:t>
            </a:r>
            <a:endParaRPr lang="en-US" sz="1100" cap="none" dirty="0"/>
          </a:p>
        </p:txBody>
      </p:sp>
    </p:spTree>
    <p:extLst>
      <p:ext uri="{BB962C8B-B14F-4D97-AF65-F5344CB8AC3E}">
        <p14:creationId xmlns:p14="http://schemas.microsoft.com/office/powerpoint/2010/main" val="17762951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D2F1FA-202E-4A08-AC5E-EB5EF6330F98}"/>
              </a:ext>
            </a:extLst>
          </p:cNvPr>
          <p:cNvSpPr/>
          <p:nvPr/>
        </p:nvSpPr>
        <p:spPr>
          <a:xfrm>
            <a:off x="0" y="2373972"/>
            <a:ext cx="3398800" cy="1245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205316" y="2261581"/>
            <a:ext cx="3244776" cy="861774"/>
          </a:xfrm>
        </p:spPr>
        <p:txBody>
          <a:bodyPr vert="horz" wrap="square" lIns="0" tIns="0" rIns="0" bIns="0" rtlCol="0" anchor="b" anchorCtr="0">
            <a:spAutoFit/>
          </a:bodyPr>
          <a:lstStyle/>
          <a:p>
            <a:pPr marL="246888" indent="-246888">
              <a:spcBef>
                <a:spcPts val="0"/>
              </a:spcBef>
              <a:spcAft>
                <a:spcPts val="300"/>
              </a:spcAft>
              <a:buNone/>
              <a:defRPr/>
            </a:pPr>
            <a:r>
              <a:rPr lang="en-US" sz="2800" dirty="0">
                <a:ea typeface="+mn-lt"/>
                <a:cs typeface="+mn-lt"/>
              </a:rPr>
              <a:t>6. </a:t>
            </a:r>
            <a:r>
              <a:rPr lang="en-US" sz="2800" dirty="0">
                <a:solidFill>
                  <a:schemeClr val="bg1"/>
                </a:solidFill>
                <a:ea typeface="+mn-lt"/>
                <a:cs typeface="+mn-lt"/>
              </a:rPr>
              <a:t>COMPETITIVE LANDSCAPE</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TextBox 9">
            <a:extLst>
              <a:ext uri="{FF2B5EF4-FFF2-40B4-BE49-F238E27FC236}">
                <a16:creationId xmlns:a16="http://schemas.microsoft.com/office/drawing/2014/main" id="{EDC09B58-D428-4719-87B0-9E0F4F55BDCD}"/>
              </a:ext>
            </a:extLst>
          </p:cNvPr>
          <p:cNvSpPr txBox="1"/>
          <p:nvPr/>
        </p:nvSpPr>
        <p:spPr>
          <a:xfrm>
            <a:off x="154024" y="3264843"/>
            <a:ext cx="3545058" cy="2543197"/>
          </a:xfrm>
          <a:prstGeom prst="rect">
            <a:avLst/>
          </a:prstGeom>
          <a:noFill/>
        </p:spPr>
        <p:txBody>
          <a:bodyPr wrap="square">
            <a:spAutoFit/>
          </a:bodyPr>
          <a:lstStyle/>
          <a:p>
            <a:pPr marL="246888" indent="-246888" algn="just">
              <a:lnSpc>
                <a:spcPct val="150000"/>
              </a:lnSpc>
              <a:spcBef>
                <a:spcPts val="0"/>
              </a:spcBef>
              <a:spcAft>
                <a:spcPts val="300"/>
              </a:spcAft>
              <a:defRPr/>
            </a:pPr>
            <a:r>
              <a:rPr lang="en-US" sz="1200" b="1" cap="none" dirty="0">
                <a:solidFill>
                  <a:schemeClr val="bg1"/>
                </a:solidFill>
                <a:ea typeface="+mn-lt"/>
                <a:cs typeface="+mn-lt"/>
              </a:rPr>
              <a:t>6.1 Market Concentration Overview</a:t>
            </a:r>
          </a:p>
          <a:p>
            <a:pPr marL="246888" indent="-246888" algn="just">
              <a:lnSpc>
                <a:spcPct val="150000"/>
              </a:lnSpc>
              <a:spcBef>
                <a:spcPts val="0"/>
              </a:spcBef>
              <a:spcAft>
                <a:spcPts val="300"/>
              </a:spcAft>
              <a:defRPr/>
            </a:pPr>
            <a:r>
              <a:rPr lang="en-US" sz="1200" b="1" cap="none" dirty="0">
                <a:solidFill>
                  <a:schemeClr val="bg1"/>
                </a:solidFill>
                <a:ea typeface="+mn-lt"/>
                <a:cs typeface="+mn-lt"/>
              </a:rPr>
              <a:t>6.2 Company Profiles</a:t>
            </a:r>
          </a:p>
          <a:p>
            <a:pPr marL="246888" indent="-246888" algn="just">
              <a:lnSpc>
                <a:spcPct val="150000"/>
              </a:lnSpc>
              <a:spcBef>
                <a:spcPts val="0"/>
              </a:spcBef>
              <a:spcAft>
                <a:spcPts val="300"/>
              </a:spcAft>
              <a:defRPr/>
            </a:pPr>
            <a:r>
              <a:rPr lang="en-US" sz="1200" b="1" cap="none" dirty="0">
                <a:solidFill>
                  <a:schemeClr val="bg1"/>
                </a:solidFill>
                <a:ea typeface="+mn-lt"/>
                <a:cs typeface="+mn-lt"/>
              </a:rPr>
              <a:t>	6.1.1 </a:t>
            </a:r>
            <a:r>
              <a:rPr lang="en-US" sz="1200" b="1" dirty="0" err="1">
                <a:solidFill>
                  <a:schemeClr val="bg1"/>
                </a:solidFill>
                <a:ea typeface="+mn-lt"/>
                <a:cs typeface="+mn-lt"/>
              </a:rPr>
              <a:t>Inovar</a:t>
            </a:r>
            <a:endParaRPr lang="en-US" sz="1200" b="1" dirty="0">
              <a:solidFill>
                <a:schemeClr val="bg1"/>
              </a:solidFill>
              <a:ea typeface="+mn-lt"/>
              <a:cs typeface="+mn-lt"/>
            </a:endParaRPr>
          </a:p>
          <a:p>
            <a:pPr marL="246888" indent="-246888" algn="just">
              <a:lnSpc>
                <a:spcPct val="150000"/>
              </a:lnSpc>
              <a:spcBef>
                <a:spcPts val="0"/>
              </a:spcBef>
              <a:spcAft>
                <a:spcPts val="300"/>
              </a:spcAft>
              <a:defRPr/>
            </a:pPr>
            <a:r>
              <a:rPr lang="en-US" sz="1200" b="1" cap="none" dirty="0">
                <a:solidFill>
                  <a:schemeClr val="bg1"/>
                </a:solidFill>
                <a:ea typeface="+mn-lt"/>
                <a:cs typeface="+mn-lt"/>
              </a:rPr>
              <a:t>	6.1.2 </a:t>
            </a:r>
            <a:r>
              <a:rPr lang="en-US" sz="1200" b="1" cap="none" dirty="0" err="1">
                <a:solidFill>
                  <a:schemeClr val="bg1"/>
                </a:solidFill>
                <a:ea typeface="+mn-lt"/>
                <a:cs typeface="+mn-lt"/>
              </a:rPr>
              <a:t>Rumah</a:t>
            </a:r>
            <a:r>
              <a:rPr lang="en-US" sz="1200" b="1" cap="none" dirty="0">
                <a:solidFill>
                  <a:schemeClr val="bg1"/>
                </a:solidFill>
                <a:ea typeface="+mn-lt"/>
                <a:cs typeface="+mn-lt"/>
              </a:rPr>
              <a:t> </a:t>
            </a:r>
            <a:r>
              <a:rPr lang="en-US" sz="1200" b="1" cap="none" dirty="0" err="1">
                <a:solidFill>
                  <a:schemeClr val="bg1"/>
                </a:solidFill>
                <a:ea typeface="+mn-lt"/>
                <a:cs typeface="+mn-lt"/>
              </a:rPr>
              <a:t>Lantai</a:t>
            </a:r>
            <a:r>
              <a:rPr lang="en-US" sz="1200" b="1" cap="none" dirty="0">
                <a:solidFill>
                  <a:schemeClr val="bg1"/>
                </a:solidFill>
                <a:ea typeface="+mn-lt"/>
                <a:cs typeface="+mn-lt"/>
              </a:rPr>
              <a:t> Indonesia</a:t>
            </a:r>
          </a:p>
          <a:p>
            <a:pPr marL="246888" indent="-246888" algn="just">
              <a:lnSpc>
                <a:spcPct val="150000"/>
              </a:lnSpc>
              <a:spcBef>
                <a:spcPts val="0"/>
              </a:spcBef>
              <a:spcAft>
                <a:spcPts val="300"/>
              </a:spcAft>
              <a:defRPr/>
            </a:pPr>
            <a:r>
              <a:rPr lang="en-US" sz="1200" b="1" cap="none" dirty="0">
                <a:solidFill>
                  <a:schemeClr val="bg1"/>
                </a:solidFill>
                <a:ea typeface="+mn-lt"/>
                <a:cs typeface="+mn-lt"/>
              </a:rPr>
              <a:t>	6.1.3 </a:t>
            </a:r>
            <a:r>
              <a:rPr lang="en-US" sz="1200" b="1" cap="none" dirty="0" err="1">
                <a:solidFill>
                  <a:schemeClr val="bg1"/>
                </a:solidFill>
                <a:ea typeface="+mn-lt"/>
                <a:cs typeface="+mn-lt"/>
              </a:rPr>
              <a:t>Polyflor</a:t>
            </a:r>
            <a:endParaRPr lang="en-US" sz="1200" b="1" cap="none" dirty="0">
              <a:solidFill>
                <a:schemeClr val="bg1"/>
              </a:solidFill>
              <a:ea typeface="+mn-lt"/>
              <a:cs typeface="+mn-lt"/>
            </a:endParaRPr>
          </a:p>
          <a:p>
            <a:pPr marL="246888" indent="-246888" algn="just">
              <a:lnSpc>
                <a:spcPct val="150000"/>
              </a:lnSpc>
              <a:spcBef>
                <a:spcPts val="0"/>
              </a:spcBef>
              <a:spcAft>
                <a:spcPts val="300"/>
              </a:spcAft>
              <a:defRPr/>
            </a:pPr>
            <a:r>
              <a:rPr lang="en-US" sz="1200" b="1" cap="none" dirty="0">
                <a:solidFill>
                  <a:schemeClr val="bg1"/>
                </a:solidFill>
                <a:ea typeface="+mn-lt"/>
                <a:cs typeface="+mn-lt"/>
              </a:rPr>
              <a:t>	6.1.4 </a:t>
            </a:r>
            <a:r>
              <a:rPr lang="en-US" sz="1200" b="1" cap="none" dirty="0" err="1">
                <a:solidFill>
                  <a:schemeClr val="bg1"/>
                </a:solidFill>
                <a:ea typeface="+mn-lt"/>
                <a:cs typeface="+mn-lt"/>
              </a:rPr>
              <a:t>Hanyo</a:t>
            </a:r>
            <a:endParaRPr lang="en-US" sz="1200" b="1" cap="none" dirty="0">
              <a:solidFill>
                <a:schemeClr val="bg1"/>
              </a:solidFill>
              <a:ea typeface="+mn-lt"/>
              <a:cs typeface="+mn-lt"/>
            </a:endParaRPr>
          </a:p>
          <a:p>
            <a:pPr marL="246888" indent="-246888" algn="just">
              <a:lnSpc>
                <a:spcPct val="150000"/>
              </a:lnSpc>
              <a:spcBef>
                <a:spcPts val="0"/>
              </a:spcBef>
              <a:spcAft>
                <a:spcPts val="300"/>
              </a:spcAft>
              <a:defRPr/>
            </a:pPr>
            <a:r>
              <a:rPr lang="en-US" sz="1200" b="1" cap="none" dirty="0">
                <a:solidFill>
                  <a:schemeClr val="bg1"/>
                </a:solidFill>
                <a:ea typeface="+mn-lt"/>
                <a:cs typeface="+mn-lt"/>
              </a:rPr>
              <a:t>	6.1.5 Novelty Flooring Enterprise</a:t>
            </a:r>
          </a:p>
          <a:p>
            <a:pPr marL="246888" indent="-246888" algn="just">
              <a:lnSpc>
                <a:spcPct val="150000"/>
              </a:lnSpc>
              <a:spcBef>
                <a:spcPts val="0"/>
              </a:spcBef>
              <a:spcAft>
                <a:spcPts val="300"/>
              </a:spcAft>
              <a:defRPr/>
            </a:pPr>
            <a:r>
              <a:rPr lang="en-US" sz="1200" b="1" cap="none" dirty="0">
                <a:solidFill>
                  <a:schemeClr val="bg1"/>
                </a:solidFill>
                <a:ea typeface="+mn-lt"/>
                <a:cs typeface="+mn-lt"/>
              </a:rPr>
              <a:t>	6.1.6 APO Floors</a:t>
            </a:r>
          </a:p>
        </p:txBody>
      </p:sp>
    </p:spTree>
    <p:extLst>
      <p:ext uri="{BB962C8B-B14F-4D97-AF65-F5344CB8AC3E}">
        <p14:creationId xmlns:p14="http://schemas.microsoft.com/office/powerpoint/2010/main" val="3297089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AD2F1FA-202E-4A08-AC5E-EB5EF6330F98}"/>
              </a:ext>
            </a:extLst>
          </p:cNvPr>
          <p:cNvSpPr/>
          <p:nvPr/>
        </p:nvSpPr>
        <p:spPr>
          <a:xfrm>
            <a:off x="0" y="2373972"/>
            <a:ext cx="3398800" cy="1245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205316" y="2261581"/>
            <a:ext cx="3244776" cy="861774"/>
          </a:xfrm>
        </p:spPr>
        <p:txBody>
          <a:bodyPr vert="horz" wrap="square" lIns="0" tIns="0" rIns="0" bIns="0" rtlCol="0" anchor="b" anchorCtr="0">
            <a:spAutoFit/>
          </a:bodyPr>
          <a:lstStyle/>
          <a:p>
            <a:pPr marL="246888" indent="-246888">
              <a:spcBef>
                <a:spcPts val="0"/>
              </a:spcBef>
              <a:spcAft>
                <a:spcPts val="300"/>
              </a:spcAft>
              <a:buNone/>
              <a:defRPr/>
            </a:pPr>
            <a:r>
              <a:rPr lang="en-US" sz="2800" dirty="0">
                <a:ea typeface="+mn-lt"/>
                <a:cs typeface="+mn-lt"/>
              </a:rPr>
              <a:t>6</a:t>
            </a:r>
            <a:r>
              <a:rPr lang="en-US" sz="2800" dirty="0">
                <a:solidFill>
                  <a:schemeClr val="bg1"/>
                </a:solidFill>
                <a:ea typeface="+mn-lt"/>
                <a:cs typeface="+mn-lt"/>
              </a:rPr>
              <a:t>. COMPETITIVE LANDSCAPE</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10" name="TextBox 9">
            <a:extLst>
              <a:ext uri="{FF2B5EF4-FFF2-40B4-BE49-F238E27FC236}">
                <a16:creationId xmlns:a16="http://schemas.microsoft.com/office/drawing/2014/main" id="{EDC09B58-D428-4719-87B0-9E0F4F55BDCD}"/>
              </a:ext>
            </a:extLst>
          </p:cNvPr>
          <p:cNvSpPr txBox="1"/>
          <p:nvPr/>
        </p:nvSpPr>
        <p:spPr>
          <a:xfrm>
            <a:off x="154024" y="3264843"/>
            <a:ext cx="3545058" cy="1281313"/>
          </a:xfrm>
          <a:prstGeom prst="rect">
            <a:avLst/>
          </a:prstGeom>
          <a:noFill/>
        </p:spPr>
        <p:txBody>
          <a:bodyPr wrap="square">
            <a:spAutoFit/>
          </a:bodyPr>
          <a:lstStyle/>
          <a:p>
            <a:pPr marL="246888" indent="-246888" algn="just">
              <a:lnSpc>
                <a:spcPct val="150000"/>
              </a:lnSpc>
              <a:spcBef>
                <a:spcPts val="0"/>
              </a:spcBef>
              <a:spcAft>
                <a:spcPts val="300"/>
              </a:spcAft>
              <a:defRPr/>
            </a:pPr>
            <a:r>
              <a:rPr lang="en-US" sz="1200" b="1" cap="none" dirty="0">
                <a:solidFill>
                  <a:schemeClr val="bg1"/>
                </a:solidFill>
                <a:ea typeface="+mn-lt"/>
                <a:cs typeface="+mn-lt"/>
              </a:rPr>
              <a:t> 	6.1.7 The Horizon</a:t>
            </a:r>
          </a:p>
          <a:p>
            <a:pPr marL="246888" indent="-246888" algn="just">
              <a:lnSpc>
                <a:spcPct val="150000"/>
              </a:lnSpc>
              <a:spcBef>
                <a:spcPts val="0"/>
              </a:spcBef>
              <a:spcAft>
                <a:spcPts val="300"/>
              </a:spcAft>
              <a:defRPr/>
            </a:pPr>
            <a:r>
              <a:rPr lang="en-US" sz="1200" b="1" cap="none" dirty="0">
                <a:solidFill>
                  <a:schemeClr val="bg1"/>
                </a:solidFill>
                <a:ea typeface="+mn-lt"/>
                <a:cs typeface="+mn-lt"/>
              </a:rPr>
              <a:t>	6.1.8 Mannington Mills</a:t>
            </a:r>
          </a:p>
          <a:p>
            <a:pPr marL="246888" indent="-246888" algn="just">
              <a:lnSpc>
                <a:spcPct val="150000"/>
              </a:lnSpc>
              <a:spcBef>
                <a:spcPts val="0"/>
              </a:spcBef>
              <a:spcAft>
                <a:spcPts val="300"/>
              </a:spcAft>
              <a:defRPr/>
            </a:pPr>
            <a:r>
              <a:rPr lang="en-US" sz="1200" b="1" cap="none" dirty="0">
                <a:solidFill>
                  <a:schemeClr val="bg1"/>
                </a:solidFill>
                <a:ea typeface="+mn-lt"/>
                <a:cs typeface="+mn-lt"/>
              </a:rPr>
              <a:t>	6.1.9 Power </a:t>
            </a:r>
            <a:r>
              <a:rPr lang="en-US" sz="1200" b="1" cap="none" dirty="0" err="1">
                <a:solidFill>
                  <a:schemeClr val="bg1"/>
                </a:solidFill>
                <a:ea typeface="+mn-lt"/>
                <a:cs typeface="+mn-lt"/>
              </a:rPr>
              <a:t>Dekor</a:t>
            </a:r>
            <a:r>
              <a:rPr lang="en-US" sz="1200" b="1" cap="none" dirty="0">
                <a:solidFill>
                  <a:schemeClr val="bg1"/>
                </a:solidFill>
                <a:ea typeface="+mn-lt"/>
                <a:cs typeface="+mn-lt"/>
              </a:rPr>
              <a:t>*</a:t>
            </a:r>
          </a:p>
          <a:p>
            <a:pPr marL="246888" indent="-246888" algn="just">
              <a:lnSpc>
                <a:spcPct val="150000"/>
              </a:lnSpc>
              <a:spcBef>
                <a:spcPts val="0"/>
              </a:spcBef>
              <a:spcAft>
                <a:spcPts val="300"/>
              </a:spcAft>
              <a:defRPr/>
            </a:pPr>
            <a:r>
              <a:rPr lang="en-US" sz="1200" b="1" cap="none" dirty="0">
                <a:solidFill>
                  <a:schemeClr val="bg1"/>
                </a:solidFill>
                <a:ea typeface="+mn-lt"/>
                <a:cs typeface="+mn-lt"/>
              </a:rPr>
              <a:t>**List Not Exhaustive</a:t>
            </a:r>
            <a:endParaRPr lang="en-US" sz="1200" b="1" dirty="0">
              <a:solidFill>
                <a:schemeClr val="bg1"/>
              </a:solidFill>
              <a:ea typeface="+mn-lt"/>
              <a:cs typeface="+mn-lt"/>
            </a:endParaRPr>
          </a:p>
        </p:txBody>
      </p:sp>
    </p:spTree>
    <p:extLst>
      <p:ext uri="{BB962C8B-B14F-4D97-AF65-F5344CB8AC3E}">
        <p14:creationId xmlns:p14="http://schemas.microsoft.com/office/powerpoint/2010/main" val="2600344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92F4A4FC-5B6A-4814-AB41-F5F7CF9127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4" name="Object 43" hidden="1">
                        <a:extLst>
                          <a:ext uri="{FF2B5EF4-FFF2-40B4-BE49-F238E27FC236}">
                            <a16:creationId xmlns:a16="http://schemas.microsoft.com/office/drawing/2014/main" id="{92F4A4FC-5B6A-4814-AB41-F5F7CF912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7" name="Rectangle 126" hidden="1">
            <a:extLst>
              <a:ext uri="{FF2B5EF4-FFF2-40B4-BE49-F238E27FC236}">
                <a16:creationId xmlns:a16="http://schemas.microsoft.com/office/drawing/2014/main" id="{EBC4516A-39E4-4563-8667-BA7BE761CD1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20" name="Title 119">
            <a:extLst>
              <a:ext uri="{FF2B5EF4-FFF2-40B4-BE49-F238E27FC236}">
                <a16:creationId xmlns:a16="http://schemas.microsoft.com/office/drawing/2014/main" id="{69B26B70-A3DC-4D53-BBAD-81EDF2E36774}"/>
              </a:ext>
            </a:extLst>
          </p:cNvPr>
          <p:cNvSpPr>
            <a:spLocks noGrp="1"/>
          </p:cNvSpPr>
          <p:nvPr>
            <p:ph type="title"/>
          </p:nvPr>
        </p:nvSpPr>
        <p:spPr>
          <a:xfrm>
            <a:off x="335490" y="386899"/>
            <a:ext cx="11504762" cy="400110"/>
          </a:xfrm>
        </p:spPr>
        <p:txBody>
          <a:bodyPr/>
          <a:lstStyle/>
          <a:p>
            <a:r>
              <a:rPr lang="en-US" dirty="0"/>
              <a:t>6.2.1 KANO CORPORATION - OVERVIEW</a:t>
            </a:r>
          </a:p>
        </p:txBody>
      </p:sp>
      <p:sp>
        <p:nvSpPr>
          <p:cNvPr id="121" name="Text Placeholder 120">
            <a:extLst>
              <a:ext uri="{FF2B5EF4-FFF2-40B4-BE49-F238E27FC236}">
                <a16:creationId xmlns:a16="http://schemas.microsoft.com/office/drawing/2014/main" id="{7E4E9D07-99CE-4AB1-8812-5EC165C3707C}"/>
              </a:ext>
            </a:extLst>
          </p:cNvPr>
          <p:cNvSpPr>
            <a:spLocks noGrp="1"/>
          </p:cNvSpPr>
          <p:nvPr>
            <p:ph type="body" sz="quarter" idx="41"/>
          </p:nvPr>
        </p:nvSpPr>
        <p:spPr>
          <a:xfrm>
            <a:off x="335490" y="174600"/>
            <a:ext cx="11504762" cy="138499"/>
          </a:xfrm>
        </p:spPr>
        <p:txBody>
          <a:bodyPr/>
          <a:lstStyle/>
          <a:p>
            <a:r>
              <a:rPr lang="en-US" dirty="0"/>
              <a:t>6.2 Company Profiles</a:t>
            </a:r>
          </a:p>
        </p:txBody>
      </p:sp>
      <p:sp>
        <p:nvSpPr>
          <p:cNvPr id="48" name="Text Placeholder 47">
            <a:extLst>
              <a:ext uri="{FF2B5EF4-FFF2-40B4-BE49-F238E27FC236}">
                <a16:creationId xmlns:a16="http://schemas.microsoft.com/office/drawing/2014/main" id="{F2BC08C1-4196-4F36-B309-1044FFC29803}"/>
              </a:ext>
            </a:extLst>
          </p:cNvPr>
          <p:cNvSpPr>
            <a:spLocks noGrp="1"/>
          </p:cNvSpPr>
          <p:nvPr>
            <p:ph type="body" sz="quarter" idx="59"/>
          </p:nvPr>
        </p:nvSpPr>
        <p:spPr>
          <a:xfrm>
            <a:off x="519029" y="4359965"/>
            <a:ext cx="2808874" cy="1477328"/>
          </a:xfrm>
        </p:spPr>
        <p:txBody>
          <a:bodyPr/>
          <a:lstStyle/>
          <a:p>
            <a:r>
              <a:rPr lang="en-US" dirty="0">
                <a:solidFill>
                  <a:srgbClr val="EAEAEA"/>
                </a:solidFill>
              </a:rPr>
              <a:t>Brand of Distinction Award - The </a:t>
            </a:r>
            <a:r>
              <a:rPr lang="en-US" dirty="0" err="1">
                <a:solidFill>
                  <a:srgbClr val="EAEAEA"/>
                </a:solidFill>
              </a:rPr>
              <a:t>Brandlaureate</a:t>
            </a:r>
            <a:r>
              <a:rPr lang="en-US" dirty="0">
                <a:solidFill>
                  <a:srgbClr val="EAEAEA"/>
                </a:solidFill>
              </a:rPr>
              <a:t>, Malaysia.</a:t>
            </a:r>
          </a:p>
        </p:txBody>
      </p:sp>
      <p:sp>
        <p:nvSpPr>
          <p:cNvPr id="50" name="Text Placeholder 49">
            <a:extLst>
              <a:ext uri="{FF2B5EF4-FFF2-40B4-BE49-F238E27FC236}">
                <a16:creationId xmlns:a16="http://schemas.microsoft.com/office/drawing/2014/main" id="{7B1AC7EC-4988-4D7F-A43E-EC9F7EFD0DF9}"/>
              </a:ext>
            </a:extLst>
          </p:cNvPr>
          <p:cNvSpPr>
            <a:spLocks noGrp="1"/>
          </p:cNvSpPr>
          <p:nvPr>
            <p:ph type="body" sz="quarter" idx="61"/>
          </p:nvPr>
        </p:nvSpPr>
        <p:spPr>
          <a:xfrm>
            <a:off x="3885555" y="4845420"/>
            <a:ext cx="2808874" cy="738664"/>
          </a:xfrm>
        </p:spPr>
        <p:txBody>
          <a:bodyPr/>
          <a:lstStyle/>
          <a:p>
            <a:r>
              <a:rPr lang="en-US" dirty="0">
                <a:solidFill>
                  <a:srgbClr val="EAEAEA"/>
                </a:solidFill>
              </a:rPr>
              <a:t>Present in more than 10 Countries</a:t>
            </a:r>
          </a:p>
        </p:txBody>
      </p:sp>
      <p:sp>
        <p:nvSpPr>
          <p:cNvPr id="53" name="Text Placeholder 52">
            <a:extLst>
              <a:ext uri="{FF2B5EF4-FFF2-40B4-BE49-F238E27FC236}">
                <a16:creationId xmlns:a16="http://schemas.microsoft.com/office/drawing/2014/main" id="{0B16F707-7586-4139-B00D-0B7F4CDFBF62}"/>
              </a:ext>
            </a:extLst>
          </p:cNvPr>
          <p:cNvSpPr>
            <a:spLocks noGrp="1"/>
          </p:cNvSpPr>
          <p:nvPr>
            <p:ph type="body" sz="quarter" idx="64"/>
          </p:nvPr>
        </p:nvSpPr>
        <p:spPr/>
        <p:txBody>
          <a:bodyPr/>
          <a:lstStyle/>
          <a:p>
            <a:r>
              <a:rPr lang="en-US" dirty="0"/>
              <a:t>Founded in 1996</a:t>
            </a:r>
          </a:p>
        </p:txBody>
      </p:sp>
      <p:sp>
        <p:nvSpPr>
          <p:cNvPr id="55" name="Text Placeholder 54">
            <a:extLst>
              <a:ext uri="{FF2B5EF4-FFF2-40B4-BE49-F238E27FC236}">
                <a16:creationId xmlns:a16="http://schemas.microsoft.com/office/drawing/2014/main" id="{F86003A8-7995-48C0-A1ED-6B7EAC15FCA2}"/>
              </a:ext>
            </a:extLst>
          </p:cNvPr>
          <p:cNvSpPr>
            <a:spLocks noGrp="1"/>
          </p:cNvSpPr>
          <p:nvPr>
            <p:ph type="body" sz="quarter" idx="66"/>
          </p:nvPr>
        </p:nvSpPr>
        <p:spPr/>
        <p:txBody>
          <a:bodyPr/>
          <a:lstStyle/>
          <a:p>
            <a:r>
              <a:rPr lang="en-IN" dirty="0" err="1"/>
              <a:t>Bestari</a:t>
            </a:r>
            <a:r>
              <a:rPr lang="en-IN" dirty="0"/>
              <a:t> Jaya</a:t>
            </a:r>
            <a:r>
              <a:rPr lang="en-US" dirty="0"/>
              <a:t>, </a:t>
            </a:r>
            <a:r>
              <a:rPr lang="en-IN" dirty="0"/>
              <a:t>Kuala Lumpur</a:t>
            </a:r>
            <a:r>
              <a:rPr lang="en-US" dirty="0"/>
              <a:t>, Malaysia</a:t>
            </a:r>
          </a:p>
        </p:txBody>
      </p:sp>
      <p:sp>
        <p:nvSpPr>
          <p:cNvPr id="57" name="Text Placeholder 56">
            <a:extLst>
              <a:ext uri="{FF2B5EF4-FFF2-40B4-BE49-F238E27FC236}">
                <a16:creationId xmlns:a16="http://schemas.microsoft.com/office/drawing/2014/main" id="{FB4384AE-E6C1-4316-9A3A-2BAE2A0341C2}"/>
              </a:ext>
            </a:extLst>
          </p:cNvPr>
          <p:cNvSpPr>
            <a:spLocks noGrp="1"/>
          </p:cNvSpPr>
          <p:nvPr>
            <p:ph type="body" sz="quarter" idx="68"/>
          </p:nvPr>
        </p:nvSpPr>
        <p:spPr/>
        <p:txBody>
          <a:bodyPr/>
          <a:lstStyle/>
          <a:p>
            <a:r>
              <a:rPr lang="en-US" dirty="0"/>
              <a:t>https://inovarfloor.com</a:t>
            </a:r>
          </a:p>
        </p:txBody>
      </p:sp>
      <p:sp>
        <p:nvSpPr>
          <p:cNvPr id="59" name="Text Placeholder 58">
            <a:extLst>
              <a:ext uri="{FF2B5EF4-FFF2-40B4-BE49-F238E27FC236}">
                <a16:creationId xmlns:a16="http://schemas.microsoft.com/office/drawing/2014/main" id="{BA9FEF32-75A1-4C86-A3FF-201406D2A3A9}"/>
              </a:ext>
            </a:extLst>
          </p:cNvPr>
          <p:cNvSpPr>
            <a:spLocks noGrp="1"/>
          </p:cNvSpPr>
          <p:nvPr>
            <p:ph type="body" sz="quarter" idx="70"/>
          </p:nvPr>
        </p:nvSpPr>
        <p:spPr/>
        <p:txBody>
          <a:bodyPr/>
          <a:lstStyle/>
          <a:p>
            <a:r>
              <a:rPr lang="en-US" dirty="0"/>
              <a:t>+603 3271 7499</a:t>
            </a:r>
          </a:p>
        </p:txBody>
      </p:sp>
      <p:pic>
        <p:nvPicPr>
          <p:cNvPr id="80" name="Picture Placeholder 79">
            <a:extLst>
              <a:ext uri="{FF2B5EF4-FFF2-40B4-BE49-F238E27FC236}">
                <a16:creationId xmlns:a16="http://schemas.microsoft.com/office/drawing/2014/main" id="{DB4C3B39-3B78-46DF-82A9-1812DAFED130}"/>
              </a:ext>
            </a:extLst>
          </p:cNvPr>
          <p:cNvPicPr>
            <a:picLocks noGrp="1" noChangeAspect="1"/>
          </p:cNvPicPr>
          <p:nvPr>
            <p:ph type="pic" sz="quarter" idx="63"/>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373" b="373"/>
          <a:stretch>
            <a:fillRect/>
          </a:stretch>
        </p:blipFill>
        <p:spPr/>
      </p:pic>
      <p:pic>
        <p:nvPicPr>
          <p:cNvPr id="82" name="Picture Placeholder 81">
            <a:extLst>
              <a:ext uri="{FF2B5EF4-FFF2-40B4-BE49-F238E27FC236}">
                <a16:creationId xmlns:a16="http://schemas.microsoft.com/office/drawing/2014/main" id="{C206E34F-4CD3-4A71-B90F-6EE476495C8D}"/>
              </a:ext>
            </a:extLst>
          </p:cNvPr>
          <p:cNvPicPr>
            <a:picLocks noGrp="1" noChangeAspect="1"/>
          </p:cNvPicPr>
          <p:nvPr>
            <p:ph type="pic" sz="quarter" idx="65"/>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t="373" b="373"/>
          <a:stretch>
            <a:fillRect/>
          </a:stretch>
        </p:blipFill>
        <p:spPr/>
      </p:pic>
      <p:pic>
        <p:nvPicPr>
          <p:cNvPr id="84" name="Picture Placeholder 83">
            <a:extLst>
              <a:ext uri="{FF2B5EF4-FFF2-40B4-BE49-F238E27FC236}">
                <a16:creationId xmlns:a16="http://schemas.microsoft.com/office/drawing/2014/main" id="{658EC955-C30E-4140-9227-3770959379DD}"/>
              </a:ext>
            </a:extLst>
          </p:cNvPr>
          <p:cNvPicPr>
            <a:picLocks noGrp="1" noChangeAspect="1"/>
          </p:cNvPicPr>
          <p:nvPr>
            <p:ph type="pic" sz="quarter" idx="67"/>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336" r="336"/>
          <a:stretch>
            <a:fillRect/>
          </a:stretch>
        </p:blipFill>
        <p:spPr/>
      </p:pic>
      <p:pic>
        <p:nvPicPr>
          <p:cNvPr id="86" name="Picture Placeholder 85">
            <a:extLst>
              <a:ext uri="{FF2B5EF4-FFF2-40B4-BE49-F238E27FC236}">
                <a16:creationId xmlns:a16="http://schemas.microsoft.com/office/drawing/2014/main" id="{3925F14D-EEE2-4492-98D2-A5BF9936F3C7}"/>
              </a:ext>
            </a:extLst>
          </p:cNvPr>
          <p:cNvPicPr>
            <a:picLocks noGrp="1" noChangeAspect="1"/>
          </p:cNvPicPr>
          <p:nvPr>
            <p:ph type="pic" sz="quarter" idx="69"/>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p:pic>
      <p:sp>
        <p:nvSpPr>
          <p:cNvPr id="122" name="Text Placeholder 121">
            <a:extLst>
              <a:ext uri="{FF2B5EF4-FFF2-40B4-BE49-F238E27FC236}">
                <a16:creationId xmlns:a16="http://schemas.microsoft.com/office/drawing/2014/main" id="{F578F82D-37F9-4BEF-B618-0D19F02598EC}"/>
              </a:ext>
            </a:extLst>
          </p:cNvPr>
          <p:cNvSpPr>
            <a:spLocks noGrp="1"/>
          </p:cNvSpPr>
          <p:nvPr>
            <p:ph type="body" sz="quarter" idx="43"/>
          </p:nvPr>
        </p:nvSpPr>
        <p:spPr/>
        <p:txBody>
          <a:bodyPr/>
          <a:lstStyle/>
          <a:p>
            <a:r>
              <a:rPr lang="en-US" dirty="0"/>
              <a:t>Source: Mordor Intelligence</a:t>
            </a:r>
          </a:p>
        </p:txBody>
      </p:sp>
      <p:sp>
        <p:nvSpPr>
          <p:cNvPr id="27" name="Text Placeholder 26">
            <a:extLst>
              <a:ext uri="{FF2B5EF4-FFF2-40B4-BE49-F238E27FC236}">
                <a16:creationId xmlns:a16="http://schemas.microsoft.com/office/drawing/2014/main" id="{60C63CBC-C466-4B41-9996-12838B791393}"/>
              </a:ext>
            </a:extLst>
          </p:cNvPr>
          <p:cNvSpPr>
            <a:spLocks noGrp="1"/>
          </p:cNvSpPr>
          <p:nvPr>
            <p:ph type="body" sz="quarter" idx="74"/>
          </p:nvPr>
        </p:nvSpPr>
        <p:spPr>
          <a:xfrm>
            <a:off x="335490" y="1468666"/>
            <a:ext cx="6574511" cy="2109745"/>
          </a:xfrm>
        </p:spPr>
        <p:txBody>
          <a:bodyPr/>
          <a:lstStyle/>
          <a:p>
            <a:pPr>
              <a:lnSpc>
                <a:spcPct val="150000"/>
              </a:lnSpc>
              <a:buClr>
                <a:schemeClr val="accent1"/>
              </a:buClr>
            </a:pPr>
            <a:r>
              <a:rPr lang="en-US" dirty="0" err="1"/>
              <a:t>Inovar</a:t>
            </a:r>
            <a:r>
              <a:rPr lang="en-US" dirty="0"/>
              <a:t> is a known brand for durable and eco-friendly flooring solutions. As one of the market leaders in Asia Pacific, INOVAR has been setting the bar for flooring products that meets the needs of modern homes.</a:t>
            </a:r>
          </a:p>
          <a:p>
            <a:pPr>
              <a:lnSpc>
                <a:spcPct val="150000"/>
              </a:lnSpc>
              <a:buClr>
                <a:schemeClr val="accent1"/>
              </a:buClr>
            </a:pPr>
            <a:r>
              <a:rPr lang="en-IN" dirty="0"/>
              <a:t>With its flagship showroom in </a:t>
            </a:r>
            <a:r>
              <a:rPr lang="en-IN" dirty="0" err="1"/>
              <a:t>Petaling</a:t>
            </a:r>
            <a:r>
              <a:rPr lang="en-IN" dirty="0"/>
              <a:t> Jaya, Malaysia and regional offices in India, Thailand, Vietnam, Singapore, Taiwan and Australia. </a:t>
            </a:r>
          </a:p>
          <a:p>
            <a:pPr>
              <a:lnSpc>
                <a:spcPct val="150000"/>
              </a:lnSpc>
              <a:buClr>
                <a:schemeClr val="accent1"/>
              </a:buClr>
            </a:pPr>
            <a:r>
              <a:rPr lang="en-IN" dirty="0" err="1"/>
              <a:t>Inovar</a:t>
            </a:r>
            <a:r>
              <a:rPr lang="en-IN" dirty="0"/>
              <a:t> Floor has its headquarters in </a:t>
            </a:r>
            <a:r>
              <a:rPr lang="en-IN" dirty="0" err="1"/>
              <a:t>Bestari</a:t>
            </a:r>
            <a:r>
              <a:rPr lang="en-IN" dirty="0"/>
              <a:t> Jaya, about 60 km from Kuala Lumpur, with a well-equipped factory utilizing the latest German technology.</a:t>
            </a:r>
            <a:endParaRPr lang="en-US" dirty="0"/>
          </a:p>
        </p:txBody>
      </p:sp>
      <p:grpSp>
        <p:nvGrpSpPr>
          <p:cNvPr id="31" name="Group 30">
            <a:extLst>
              <a:ext uri="{FF2B5EF4-FFF2-40B4-BE49-F238E27FC236}">
                <a16:creationId xmlns:a16="http://schemas.microsoft.com/office/drawing/2014/main" id="{EA22272A-DBBB-45CB-99E9-C4482F47556A}"/>
              </a:ext>
            </a:extLst>
          </p:cNvPr>
          <p:cNvGrpSpPr/>
          <p:nvPr/>
        </p:nvGrpSpPr>
        <p:grpSpPr>
          <a:xfrm rot="5400000" flipH="1">
            <a:off x="8478683" y="2788804"/>
            <a:ext cx="2135468" cy="4593769"/>
            <a:chOff x="0" y="0"/>
            <a:chExt cx="3868997" cy="6858001"/>
          </a:xfrm>
        </p:grpSpPr>
        <p:sp>
          <p:nvSpPr>
            <p:cNvPr id="32" name="Right Triangle 31">
              <a:extLst>
                <a:ext uri="{FF2B5EF4-FFF2-40B4-BE49-F238E27FC236}">
                  <a16:creationId xmlns:a16="http://schemas.microsoft.com/office/drawing/2014/main" id="{9AAA4AB1-2D5F-4F5C-BC3A-6C24591AD9EE}"/>
                </a:ext>
              </a:extLst>
            </p:cNvPr>
            <p:cNvSpPr/>
            <p:nvPr/>
          </p:nvSpPr>
          <p:spPr>
            <a:xfrm>
              <a:off x="0" y="1"/>
              <a:ext cx="3749040" cy="68580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Isosceles Triangle 32">
              <a:extLst>
                <a:ext uri="{FF2B5EF4-FFF2-40B4-BE49-F238E27FC236}">
                  <a16:creationId xmlns:a16="http://schemas.microsoft.com/office/drawing/2014/main" id="{3BCDD8DE-7A9A-48B8-9DB0-B30123641D00}"/>
                </a:ext>
              </a:extLst>
            </p:cNvPr>
            <p:cNvSpPr/>
            <p:nvPr/>
          </p:nvSpPr>
          <p:spPr>
            <a:xfrm flipH="1" flipV="1">
              <a:off x="50800" y="0"/>
              <a:ext cx="3818197" cy="3046991"/>
            </a:xfrm>
            <a:prstGeom prst="triangle">
              <a:avLst>
                <a:gd name="adj" fmla="val 565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3" name="Picture 2">
            <a:extLst>
              <a:ext uri="{FF2B5EF4-FFF2-40B4-BE49-F238E27FC236}">
                <a16:creationId xmlns:a16="http://schemas.microsoft.com/office/drawing/2014/main" id="{E6C62DEE-62CF-4F9F-888A-B335DEFE5401}"/>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9234354" y="1083805"/>
            <a:ext cx="624122" cy="624122"/>
          </a:xfrm>
          <a:prstGeom prst="rect">
            <a:avLst/>
          </a:prstGeom>
        </p:spPr>
      </p:pic>
      <p:sp>
        <p:nvSpPr>
          <p:cNvPr id="24" name="Text Placeholder 11">
            <a:extLst>
              <a:ext uri="{FF2B5EF4-FFF2-40B4-BE49-F238E27FC236}">
                <a16:creationId xmlns:a16="http://schemas.microsoft.com/office/drawing/2014/main" id="{CAF51670-3522-44C0-A49F-2FCE3733BCFC}"/>
              </a:ext>
            </a:extLst>
          </p:cNvPr>
          <p:cNvSpPr txBox="1">
            <a:spLocks/>
          </p:cNvSpPr>
          <p:nvPr/>
        </p:nvSpPr>
        <p:spPr>
          <a:xfrm>
            <a:off x="3140759" y="6328570"/>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30558970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B194B-E556-4488-8BFD-DF4DA3B297D8}"/>
              </a:ext>
            </a:extLst>
          </p:cNvPr>
          <p:cNvSpPr>
            <a:spLocks noGrp="1"/>
          </p:cNvSpPr>
          <p:nvPr>
            <p:ph type="title"/>
          </p:nvPr>
        </p:nvSpPr>
        <p:spPr>
          <a:xfrm>
            <a:off x="4603747" y="386898"/>
            <a:ext cx="4554321" cy="400110"/>
          </a:xfrm>
        </p:spPr>
        <p:txBody>
          <a:bodyPr/>
          <a:lstStyle/>
          <a:p>
            <a:r>
              <a:rPr lang="en-US" dirty="0"/>
              <a:t>6.2.1 KANO CORPORATION</a:t>
            </a:r>
          </a:p>
        </p:txBody>
      </p:sp>
      <p:sp>
        <p:nvSpPr>
          <p:cNvPr id="3" name="Text Placeholder 2">
            <a:extLst>
              <a:ext uri="{FF2B5EF4-FFF2-40B4-BE49-F238E27FC236}">
                <a16:creationId xmlns:a16="http://schemas.microsoft.com/office/drawing/2014/main" id="{A085B518-C76A-49DD-AED9-8531501CE78B}"/>
              </a:ext>
            </a:extLst>
          </p:cNvPr>
          <p:cNvSpPr>
            <a:spLocks noGrp="1"/>
          </p:cNvSpPr>
          <p:nvPr>
            <p:ph type="body" sz="quarter" idx="41"/>
          </p:nvPr>
        </p:nvSpPr>
        <p:spPr>
          <a:xfrm>
            <a:off x="4603747" y="202735"/>
            <a:ext cx="1375022" cy="124650"/>
          </a:xfrm>
        </p:spPr>
        <p:txBody>
          <a:bodyPr/>
          <a:lstStyle/>
          <a:p>
            <a:r>
              <a:rPr lang="en-US" dirty="0"/>
              <a:t>6.2 Company Profiles</a:t>
            </a:r>
          </a:p>
        </p:txBody>
      </p:sp>
      <p:sp>
        <p:nvSpPr>
          <p:cNvPr id="4" name="Text Placeholder 3">
            <a:extLst>
              <a:ext uri="{FF2B5EF4-FFF2-40B4-BE49-F238E27FC236}">
                <a16:creationId xmlns:a16="http://schemas.microsoft.com/office/drawing/2014/main" id="{CB70ED74-FD2C-4324-8BEE-BD66A40A6CB3}"/>
              </a:ext>
            </a:extLst>
          </p:cNvPr>
          <p:cNvSpPr>
            <a:spLocks noGrp="1"/>
          </p:cNvSpPr>
          <p:nvPr>
            <p:ph type="body" sz="quarter" idx="44"/>
          </p:nvPr>
        </p:nvSpPr>
        <p:spPr>
          <a:xfrm>
            <a:off x="4582485" y="1493066"/>
            <a:ext cx="7254876" cy="3385542"/>
          </a:xfrm>
        </p:spPr>
        <p:txBody>
          <a:bodyPr anchor="ctr"/>
          <a:lstStyle/>
          <a:p>
            <a:pPr marL="0" indent="0">
              <a:lnSpc>
                <a:spcPct val="150000"/>
              </a:lnSpc>
              <a:buNone/>
            </a:pPr>
            <a:r>
              <a:rPr lang="en-US" b="1" dirty="0">
                <a:solidFill>
                  <a:schemeClr val="accent1">
                    <a:lumMod val="75000"/>
                  </a:schemeClr>
                </a:solidFill>
              </a:rPr>
              <a:t>RESILIENT FLOORING</a:t>
            </a:r>
          </a:p>
          <a:p>
            <a:pPr>
              <a:lnSpc>
                <a:spcPct val="150000"/>
              </a:lnSpc>
            </a:pPr>
            <a:r>
              <a:rPr lang="en-US" dirty="0"/>
              <a:t>Luxury Vinyl Tile categorically known as resilient flooring is made of PVC layers bonded together forming tile with unlimited designs.</a:t>
            </a:r>
          </a:p>
          <a:p>
            <a:pPr marL="0" indent="0">
              <a:lnSpc>
                <a:spcPct val="150000"/>
              </a:lnSpc>
              <a:buNone/>
            </a:pPr>
            <a:r>
              <a:rPr lang="en-US" b="1" dirty="0">
                <a:solidFill>
                  <a:schemeClr val="accent1">
                    <a:lumMod val="75000"/>
                  </a:schemeClr>
                </a:solidFill>
              </a:rPr>
              <a:t>LUXURY VINLY TILES – CLICK</a:t>
            </a:r>
          </a:p>
          <a:p>
            <a:pPr marL="0" indent="0">
              <a:lnSpc>
                <a:spcPct val="150000"/>
              </a:lnSpc>
              <a:buNone/>
            </a:pPr>
            <a:r>
              <a:rPr lang="en-US" b="1" dirty="0">
                <a:solidFill>
                  <a:schemeClr val="accent1">
                    <a:lumMod val="75000"/>
                  </a:schemeClr>
                </a:solidFill>
              </a:rPr>
              <a:t>LUXURY VINYL TILES – GLUE DOWN</a:t>
            </a:r>
            <a:endParaRPr lang="en-IN" b="1" dirty="0"/>
          </a:p>
          <a:p>
            <a:pPr>
              <a:lnSpc>
                <a:spcPct val="150000"/>
              </a:lnSpc>
            </a:pPr>
            <a:r>
              <a:rPr lang="en-US" b="0" i="0" dirty="0">
                <a:solidFill>
                  <a:srgbClr val="414042"/>
                </a:solidFill>
                <a:effectLst/>
                <a:latin typeface="Roboto-Light"/>
              </a:rPr>
              <a:t>Water &amp; Termite Shield - 100% water and termite proof vinyl core, that gives great sense of peace of mind.</a:t>
            </a:r>
            <a:endParaRPr lang="en-IN" dirty="0"/>
          </a:p>
          <a:p>
            <a:pPr>
              <a:lnSpc>
                <a:spcPct val="150000"/>
              </a:lnSpc>
            </a:pPr>
            <a:r>
              <a:rPr lang="en-IN" dirty="0">
                <a:solidFill>
                  <a:srgbClr val="414042"/>
                </a:solidFill>
                <a:latin typeface="Roboto-Light"/>
              </a:rPr>
              <a:t>Sustainable &amp; Green Product - </a:t>
            </a:r>
            <a:r>
              <a:rPr lang="en-US" dirty="0">
                <a:solidFill>
                  <a:srgbClr val="414042"/>
                </a:solidFill>
                <a:latin typeface="Roboto-Light"/>
              </a:rPr>
              <a:t>Made from more than 67% recyclable materials.</a:t>
            </a:r>
          </a:p>
          <a:p>
            <a:pPr>
              <a:lnSpc>
                <a:spcPct val="150000"/>
              </a:lnSpc>
            </a:pPr>
            <a:r>
              <a:rPr lang="en-IN" dirty="0">
                <a:solidFill>
                  <a:srgbClr val="414042"/>
                </a:solidFill>
                <a:latin typeface="Roboto-Light"/>
              </a:rPr>
              <a:t>Low </a:t>
            </a:r>
            <a:r>
              <a:rPr lang="en-IN" dirty="0" err="1">
                <a:solidFill>
                  <a:srgbClr val="414042"/>
                </a:solidFill>
                <a:latin typeface="Roboto-Light"/>
              </a:rPr>
              <a:t>Formaldehye</a:t>
            </a:r>
            <a:r>
              <a:rPr lang="en-IN" dirty="0">
                <a:solidFill>
                  <a:srgbClr val="414042"/>
                </a:solidFill>
                <a:latin typeface="Roboto-Light"/>
              </a:rPr>
              <a:t> Emission.</a:t>
            </a:r>
            <a:endParaRPr lang="en-US" dirty="0">
              <a:solidFill>
                <a:srgbClr val="414042"/>
              </a:solidFill>
              <a:latin typeface="Roboto-Light"/>
            </a:endParaRPr>
          </a:p>
        </p:txBody>
      </p:sp>
      <p:sp>
        <p:nvSpPr>
          <p:cNvPr id="5" name="Text Placeholder 11">
            <a:extLst>
              <a:ext uri="{FF2B5EF4-FFF2-40B4-BE49-F238E27FC236}">
                <a16:creationId xmlns:a16="http://schemas.microsoft.com/office/drawing/2014/main" id="{CAF51670-3522-44C0-A49F-2FCE3733BCFC}"/>
              </a:ext>
            </a:extLst>
          </p:cNvPr>
          <p:cNvSpPr txBox="1">
            <a:spLocks/>
          </p:cNvSpPr>
          <p:nvPr/>
        </p:nvSpPr>
        <p:spPr>
          <a:xfrm>
            <a:off x="1076486" y="6238582"/>
            <a:ext cx="3605286" cy="166199"/>
          </a:xfrm>
          <a:prstGeom prst="rect">
            <a:avLst/>
          </a:prstGeom>
          <a:noFill/>
        </p:spPr>
        <p:txBody>
          <a:bodyPr wrap="square" lIns="0" tIns="0" rIns="0" bIns="0" rtlCol="0">
            <a:sp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800" kern="1200">
                <a:solidFill>
                  <a:schemeClr val="tx1"/>
                </a:solidFill>
                <a:latin typeface="+mn-lt"/>
                <a:ea typeface="+mn-ea"/>
                <a:cs typeface="+mn-cs"/>
              </a:defRPr>
            </a:lvl1pPr>
            <a:lvl2pPr marL="520700" indent="-279400" algn="l" defTabSz="914400" rtl="0" eaLnBrk="1" latinLnBrk="0" hangingPunct="1">
              <a:lnSpc>
                <a:spcPct val="90000"/>
              </a:lnSpc>
              <a:spcBef>
                <a:spcPts val="500"/>
              </a:spcBef>
              <a:buClr>
                <a:schemeClr val="accent2"/>
              </a:buClr>
              <a:buFont typeface="Open Sans Light" panose="020B0306030504020204" pitchFamily="34" charset="0"/>
              <a:buChar char="−"/>
              <a:defRPr sz="1800" kern="1200">
                <a:solidFill>
                  <a:schemeClr val="tx1"/>
                </a:solidFill>
                <a:latin typeface="+mn-lt"/>
                <a:ea typeface="+mn-ea"/>
                <a:cs typeface="+mn-cs"/>
              </a:defRPr>
            </a:lvl2pPr>
            <a:lvl3pPr marL="812800" indent="-279400" algn="l" defTabSz="914400" rtl="0" eaLnBrk="1" latinLnBrk="0" hangingPunct="1">
              <a:lnSpc>
                <a:spcPct val="90000"/>
              </a:lnSpc>
              <a:spcBef>
                <a:spcPts val="500"/>
              </a:spcBef>
              <a:buClr>
                <a:schemeClr val="accent2"/>
              </a:buClr>
              <a:buSzPct val="74000"/>
              <a:buFont typeface="Courier New" panose="02070309020205020404" pitchFamily="49" charset="0"/>
              <a:buChar char="o"/>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B0D1"/>
              </a:buClr>
              <a:buSzTx/>
              <a:buFont typeface="Arial" panose="020B0604020202020204" pitchFamily="34" charset="0"/>
              <a:buNone/>
              <a:tabLst/>
              <a:defRPr/>
            </a:pPr>
            <a:r>
              <a:rPr kumimoji="0" lang="en-US" sz="1200" b="1" i="0" u="none" strike="noStrike" kern="1200" cap="none" spc="0" normalizeH="0" baseline="0" noProof="0" dirty="0">
                <a:ln>
                  <a:noFill/>
                </a:ln>
                <a:effectLst/>
                <a:uLnTx/>
                <a:uFillTx/>
                <a:ea typeface="+mn-ea"/>
                <a:cs typeface="+mn-cs"/>
              </a:rPr>
              <a:t>Complete analysis will be provided in the report</a:t>
            </a:r>
          </a:p>
        </p:txBody>
      </p:sp>
    </p:spTree>
    <p:extLst>
      <p:ext uri="{BB962C8B-B14F-4D97-AF65-F5344CB8AC3E}">
        <p14:creationId xmlns:p14="http://schemas.microsoft.com/office/powerpoint/2010/main" val="492587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5B7D3678-597D-4128-9E54-0E38557920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4" name="Object 33" hidden="1">
                        <a:extLst>
                          <a:ext uri="{FF2B5EF4-FFF2-40B4-BE49-F238E27FC236}">
                            <a16:creationId xmlns:a16="http://schemas.microsoft.com/office/drawing/2014/main" id="{5B7D3678-597D-4128-9E54-0E3855792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Rectangle 34" hidden="1">
            <a:extLst>
              <a:ext uri="{FF2B5EF4-FFF2-40B4-BE49-F238E27FC236}">
                <a16:creationId xmlns:a16="http://schemas.microsoft.com/office/drawing/2014/main" id="{B36D6F5D-7B39-44BC-B17B-F47CD96A09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4" name="Title 23">
            <a:extLst>
              <a:ext uri="{FF2B5EF4-FFF2-40B4-BE49-F238E27FC236}">
                <a16:creationId xmlns:a16="http://schemas.microsoft.com/office/drawing/2014/main" id="{FDBB0538-1505-4943-9D0C-CFEF1B5633B2}"/>
              </a:ext>
            </a:extLst>
          </p:cNvPr>
          <p:cNvSpPr>
            <a:spLocks noGrp="1"/>
          </p:cNvSpPr>
          <p:nvPr>
            <p:ph type="title"/>
          </p:nvPr>
        </p:nvSpPr>
        <p:spPr/>
        <p:txBody>
          <a:bodyPr/>
          <a:lstStyle/>
          <a:p>
            <a:r>
              <a:rPr lang="en-US" dirty="0"/>
              <a:t>FOR MORE INFORMATION, PLEASE CONTACT</a:t>
            </a:r>
          </a:p>
        </p:txBody>
      </p:sp>
      <p:sp>
        <p:nvSpPr>
          <p:cNvPr id="26" name="Text Placeholder 25">
            <a:extLst>
              <a:ext uri="{FF2B5EF4-FFF2-40B4-BE49-F238E27FC236}">
                <a16:creationId xmlns:a16="http://schemas.microsoft.com/office/drawing/2014/main" id="{434E0BFC-A766-4389-BA68-36CE1F84AA5C}"/>
              </a:ext>
            </a:extLst>
          </p:cNvPr>
          <p:cNvSpPr>
            <a:spLocks noGrp="1"/>
          </p:cNvSpPr>
          <p:nvPr>
            <p:ph type="body" sz="quarter" idx="51"/>
          </p:nvPr>
        </p:nvSpPr>
        <p:spPr/>
        <p:txBody>
          <a:bodyPr/>
          <a:lstStyle/>
          <a:p>
            <a:pPr>
              <a:lnSpc>
                <a:spcPct val="110000"/>
              </a:lnSpc>
            </a:pPr>
            <a:r>
              <a:rPr lang="en-US" dirty="0"/>
              <a:t>+1 617-765-2493</a:t>
            </a:r>
          </a:p>
        </p:txBody>
      </p:sp>
      <p:sp>
        <p:nvSpPr>
          <p:cNvPr id="27" name="Text Placeholder 26">
            <a:extLst>
              <a:ext uri="{FF2B5EF4-FFF2-40B4-BE49-F238E27FC236}">
                <a16:creationId xmlns:a16="http://schemas.microsoft.com/office/drawing/2014/main" id="{302DBEC8-513E-4CFD-9C60-FB2CBF02DA77}"/>
              </a:ext>
            </a:extLst>
          </p:cNvPr>
          <p:cNvSpPr>
            <a:spLocks noGrp="1"/>
          </p:cNvSpPr>
          <p:nvPr>
            <p:ph type="body" sz="quarter" idx="52"/>
          </p:nvPr>
        </p:nvSpPr>
        <p:spPr/>
        <p:txBody>
          <a:bodyPr/>
          <a:lstStyle/>
          <a:p>
            <a:pPr>
              <a:lnSpc>
                <a:spcPct val="110000"/>
              </a:lnSpc>
            </a:pPr>
            <a:r>
              <a:rPr lang="en-US" dirty="0"/>
              <a:t>info@mordorintelligence.com</a:t>
            </a:r>
          </a:p>
        </p:txBody>
      </p:sp>
      <p:sp>
        <p:nvSpPr>
          <p:cNvPr id="28" name="Text Placeholder 27">
            <a:extLst>
              <a:ext uri="{FF2B5EF4-FFF2-40B4-BE49-F238E27FC236}">
                <a16:creationId xmlns:a16="http://schemas.microsoft.com/office/drawing/2014/main" id="{0ED4D927-948B-46CE-A345-928BE9E0ACEF}"/>
              </a:ext>
            </a:extLst>
          </p:cNvPr>
          <p:cNvSpPr>
            <a:spLocks noGrp="1"/>
          </p:cNvSpPr>
          <p:nvPr>
            <p:ph type="body" sz="quarter" idx="53"/>
          </p:nvPr>
        </p:nvSpPr>
        <p:spPr/>
        <p:txBody>
          <a:bodyPr/>
          <a:lstStyle/>
          <a:p>
            <a:pPr>
              <a:lnSpc>
                <a:spcPct val="110000"/>
              </a:lnSpc>
            </a:pPr>
            <a:r>
              <a:rPr lang="en-US" dirty="0"/>
              <a:t>www.mordorintelligence.com</a:t>
            </a:r>
          </a:p>
        </p:txBody>
      </p:sp>
      <p:pic>
        <p:nvPicPr>
          <p:cNvPr id="42" name="Picture Placeholder 41">
            <a:extLst>
              <a:ext uri="{FF2B5EF4-FFF2-40B4-BE49-F238E27FC236}">
                <a16:creationId xmlns:a16="http://schemas.microsoft.com/office/drawing/2014/main" id="{9DB97C26-FDE8-48E8-BD91-41140A5E9872}"/>
              </a:ext>
            </a:extLst>
          </p:cNvPr>
          <p:cNvPicPr>
            <a:picLocks noGrp="1" noChangeAspect="1"/>
          </p:cNvPicPr>
          <p:nvPr>
            <p:ph type="pic" sz="quarter" idx="54"/>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24" b="424"/>
          <a:stretch>
            <a:fillRect/>
          </a:stretch>
        </p:blipFill>
        <p:spPr/>
      </p:pic>
      <p:pic>
        <p:nvPicPr>
          <p:cNvPr id="50" name="Picture Placeholder 49">
            <a:extLst>
              <a:ext uri="{FF2B5EF4-FFF2-40B4-BE49-F238E27FC236}">
                <a16:creationId xmlns:a16="http://schemas.microsoft.com/office/drawing/2014/main" id="{438CADDF-CB67-4E1D-A753-9623D18934E8}"/>
              </a:ext>
            </a:extLst>
          </p:cNvPr>
          <p:cNvPicPr>
            <a:picLocks noGrp="1" noChangeAspect="1"/>
          </p:cNvPicPr>
          <p:nvPr>
            <p:ph type="pic" sz="quarter" idx="55"/>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p:pic>
      <p:pic>
        <p:nvPicPr>
          <p:cNvPr id="46" name="Picture Placeholder 45">
            <a:extLst>
              <a:ext uri="{FF2B5EF4-FFF2-40B4-BE49-F238E27FC236}">
                <a16:creationId xmlns:a16="http://schemas.microsoft.com/office/drawing/2014/main" id="{395E1F11-405F-466A-9727-54C036BD957D}"/>
              </a:ext>
            </a:extLst>
          </p:cNvPr>
          <p:cNvPicPr>
            <a:picLocks noGrp="1" noChangeAspect="1"/>
          </p:cNvPicPr>
          <p:nvPr>
            <p:ph type="pic" sz="quarter" idx="56"/>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t="463" b="463"/>
          <a:stretch>
            <a:fillRect/>
          </a:stretch>
        </p:blipFill>
        <p:spPr/>
      </p:pic>
      <p:pic>
        <p:nvPicPr>
          <p:cNvPr id="48" name="Picture Placeholder 47">
            <a:extLst>
              <a:ext uri="{FF2B5EF4-FFF2-40B4-BE49-F238E27FC236}">
                <a16:creationId xmlns:a16="http://schemas.microsoft.com/office/drawing/2014/main" id="{3DA63CA7-0C97-4991-95FE-41A34A1A31EB}"/>
              </a:ext>
            </a:extLst>
          </p:cNvPr>
          <p:cNvPicPr>
            <a:picLocks noGrp="1" noChangeAspect="1"/>
          </p:cNvPicPr>
          <p:nvPr>
            <p:ph type="pic" sz="quarter" idx="57"/>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t="472" b="472"/>
          <a:stretch>
            <a:fillRect/>
          </a:stretch>
        </p:blipFill>
        <p:spPr/>
      </p:pic>
      <p:sp>
        <p:nvSpPr>
          <p:cNvPr id="33" name="Text Placeholder 32">
            <a:extLst>
              <a:ext uri="{FF2B5EF4-FFF2-40B4-BE49-F238E27FC236}">
                <a16:creationId xmlns:a16="http://schemas.microsoft.com/office/drawing/2014/main" id="{0E8B9C74-D86A-47CB-BF28-8F094725E656}"/>
              </a:ext>
            </a:extLst>
          </p:cNvPr>
          <p:cNvSpPr>
            <a:spLocks noGrp="1"/>
          </p:cNvSpPr>
          <p:nvPr>
            <p:ph type="body" sz="quarter" idx="58"/>
          </p:nvPr>
        </p:nvSpPr>
        <p:spPr>
          <a:xfrm>
            <a:off x="6793166" y="6219148"/>
            <a:ext cx="4741683" cy="419089"/>
          </a:xfrm>
        </p:spPr>
        <p:txBody>
          <a:bodyPr/>
          <a:lstStyle/>
          <a:p>
            <a:r>
              <a:rPr lang="en-US" sz="1050" dirty="0"/>
              <a:t>Industry Reports | Consulting | Intelligence Centre</a:t>
            </a:r>
          </a:p>
          <a:p>
            <a:r>
              <a:rPr lang="en-US" sz="1050" dirty="0"/>
              <a:t>+1 617 765 2493 | info@mordorintelligence.com | www.mordorintelligence.com</a:t>
            </a:r>
          </a:p>
        </p:txBody>
      </p:sp>
      <p:sp>
        <p:nvSpPr>
          <p:cNvPr id="16" name="Text Placeholder 15">
            <a:extLst>
              <a:ext uri="{FF2B5EF4-FFF2-40B4-BE49-F238E27FC236}">
                <a16:creationId xmlns:a16="http://schemas.microsoft.com/office/drawing/2014/main" id="{904544E0-6C67-4D57-A969-861F437B1226}"/>
              </a:ext>
            </a:extLst>
          </p:cNvPr>
          <p:cNvSpPr>
            <a:spLocks noGrp="1"/>
          </p:cNvSpPr>
          <p:nvPr>
            <p:ph type="body" sz="quarter" idx="50"/>
          </p:nvPr>
        </p:nvSpPr>
        <p:spPr>
          <a:xfrm>
            <a:off x="982242" y="1762671"/>
            <a:ext cx="2906918" cy="593432"/>
          </a:xfrm>
        </p:spPr>
        <p:txBody>
          <a:bodyPr/>
          <a:lstStyle/>
          <a:p>
            <a:pPr>
              <a:lnSpc>
                <a:spcPct val="110000"/>
              </a:lnSpc>
            </a:pPr>
            <a:r>
              <a:rPr lang="en-US" dirty="0">
                <a:latin typeface="+mj-lt"/>
              </a:rPr>
              <a:t>5th Floor, Rajapushpa Summit, Financial District, Gachibowli, Hyderabad – 500032, India</a:t>
            </a:r>
          </a:p>
        </p:txBody>
      </p:sp>
    </p:spTree>
    <p:extLst>
      <p:ext uri="{BB962C8B-B14F-4D97-AF65-F5344CB8AC3E}">
        <p14:creationId xmlns:p14="http://schemas.microsoft.com/office/powerpoint/2010/main" val="395009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C7CE2-AA2B-4E5A-AA05-0EAB46CF70C4}"/>
              </a:ext>
            </a:extLst>
          </p:cNvPr>
          <p:cNvSpPr>
            <a:spLocks noGrp="1"/>
          </p:cNvSpPr>
          <p:nvPr>
            <p:ph type="title"/>
          </p:nvPr>
        </p:nvSpPr>
        <p:spPr/>
        <p:txBody>
          <a:bodyPr/>
          <a:lstStyle/>
          <a:p>
            <a:r>
              <a:rPr lang="en-US" dirty="0"/>
              <a:t>TABLE OF CONTENTS</a:t>
            </a:r>
          </a:p>
        </p:txBody>
      </p:sp>
      <p:sp>
        <p:nvSpPr>
          <p:cNvPr id="3" name="Content Placeholder 2">
            <a:extLst>
              <a:ext uri="{FF2B5EF4-FFF2-40B4-BE49-F238E27FC236}">
                <a16:creationId xmlns:a16="http://schemas.microsoft.com/office/drawing/2014/main" id="{4BDE7838-58D8-40AE-880A-AB2E25930AF4}"/>
              </a:ext>
            </a:extLst>
          </p:cNvPr>
          <p:cNvSpPr>
            <a:spLocks noGrp="1"/>
          </p:cNvSpPr>
          <p:nvPr>
            <p:ph idx="14"/>
          </p:nvPr>
        </p:nvSpPr>
        <p:spPr>
          <a:xfrm>
            <a:off x="3167108" y="855319"/>
            <a:ext cx="4154749" cy="5275676"/>
          </a:xfrm>
        </p:spPr>
        <p:txBody>
          <a:bodyPr anchor="t"/>
          <a:lstStyle/>
          <a:p>
            <a:pPr marL="246888" indent="-246888">
              <a:lnSpc>
                <a:spcPct val="135000"/>
              </a:lnSpc>
              <a:spcAft>
                <a:spcPts val="0"/>
              </a:spcAft>
            </a:pPr>
            <a:r>
              <a:rPr lang="en-US" sz="1100" cap="none" dirty="0"/>
              <a:t>6. COMPETITIVE LANDSCAPE</a:t>
            </a:r>
          </a:p>
          <a:p>
            <a:pPr marL="246888" indent="-246888">
              <a:lnSpc>
                <a:spcPct val="135000"/>
              </a:lnSpc>
              <a:spcAft>
                <a:spcPts val="0"/>
              </a:spcAft>
            </a:pPr>
            <a:r>
              <a:rPr lang="en-US" sz="1100" b="0" cap="none" dirty="0">
                <a:solidFill>
                  <a:schemeClr val="tx1"/>
                </a:solidFill>
              </a:rPr>
              <a:t>6.1 Market Concentration Overview</a:t>
            </a:r>
          </a:p>
          <a:p>
            <a:pPr marL="246888" indent="-246888">
              <a:lnSpc>
                <a:spcPct val="135000"/>
              </a:lnSpc>
              <a:spcAft>
                <a:spcPts val="0"/>
              </a:spcAft>
            </a:pPr>
            <a:r>
              <a:rPr lang="en-US" sz="1100" b="0" cap="none" dirty="0">
                <a:solidFill>
                  <a:schemeClr val="tx1"/>
                </a:solidFill>
              </a:rPr>
              <a:t>6.2 Company Profiles</a:t>
            </a:r>
          </a:p>
          <a:p>
            <a:pPr marL="463550" indent="-238125">
              <a:lnSpc>
                <a:spcPct val="135000"/>
              </a:lnSpc>
              <a:spcAft>
                <a:spcPts val="0"/>
              </a:spcAft>
            </a:pPr>
            <a:r>
              <a:rPr lang="en-US" sz="1100" b="0" cap="none" dirty="0">
                <a:solidFill>
                  <a:schemeClr val="tx1"/>
                </a:solidFill>
              </a:rPr>
              <a:t>	6.1.1 </a:t>
            </a:r>
            <a:r>
              <a:rPr lang="en-US" sz="1100" b="0" cap="none" dirty="0" err="1">
                <a:solidFill>
                  <a:schemeClr val="tx1"/>
                </a:solidFill>
              </a:rPr>
              <a:t>Inovar</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2 </a:t>
            </a:r>
            <a:r>
              <a:rPr lang="en-IN" sz="1100" b="0" cap="none" dirty="0" err="1">
                <a:solidFill>
                  <a:schemeClr val="tx1"/>
                </a:solidFill>
              </a:rPr>
              <a:t>Rumah</a:t>
            </a:r>
            <a:r>
              <a:rPr lang="en-IN" sz="1100" b="0" cap="none" dirty="0">
                <a:solidFill>
                  <a:schemeClr val="tx1"/>
                </a:solidFill>
              </a:rPr>
              <a:t> </a:t>
            </a:r>
            <a:r>
              <a:rPr lang="en-IN" sz="1100" b="0" cap="none" dirty="0" err="1">
                <a:solidFill>
                  <a:schemeClr val="tx1"/>
                </a:solidFill>
              </a:rPr>
              <a:t>Lantai</a:t>
            </a:r>
            <a:r>
              <a:rPr lang="en-IN" sz="1100" b="0" cap="none" dirty="0">
                <a:solidFill>
                  <a:schemeClr val="tx1"/>
                </a:solidFill>
              </a:rPr>
              <a:t> Indonesia</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3 </a:t>
            </a:r>
            <a:r>
              <a:rPr lang="en-IN" sz="1100" b="0" cap="none" dirty="0" err="1">
                <a:solidFill>
                  <a:schemeClr val="tx1"/>
                </a:solidFill>
              </a:rPr>
              <a:t>Polyflor</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4 </a:t>
            </a:r>
            <a:r>
              <a:rPr lang="en-IN" sz="1100" b="0" cap="none" dirty="0" err="1">
                <a:solidFill>
                  <a:schemeClr val="tx1"/>
                </a:solidFill>
              </a:rPr>
              <a:t>Hanyo</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5 </a:t>
            </a:r>
            <a:r>
              <a:rPr lang="en-IN" sz="1100" b="0" cap="none" dirty="0">
                <a:solidFill>
                  <a:schemeClr val="tx1"/>
                </a:solidFill>
              </a:rPr>
              <a:t>Novelty Flooring Enterprise</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6 </a:t>
            </a:r>
            <a:r>
              <a:rPr lang="en-IN" sz="1100" b="0" cap="none" dirty="0">
                <a:solidFill>
                  <a:schemeClr val="tx1"/>
                </a:solidFill>
              </a:rPr>
              <a:t>APO Floors</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7 </a:t>
            </a:r>
            <a:r>
              <a:rPr lang="en-IN" sz="1100" b="0" cap="none" dirty="0">
                <a:solidFill>
                  <a:schemeClr val="tx1"/>
                </a:solidFill>
              </a:rPr>
              <a:t>The Horizon</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8 </a:t>
            </a:r>
            <a:r>
              <a:rPr lang="en-IN" sz="1100" b="0" cap="none" dirty="0">
                <a:solidFill>
                  <a:schemeClr val="tx1"/>
                </a:solidFill>
              </a:rPr>
              <a:t>Mannington Mills</a:t>
            </a:r>
            <a:endParaRPr lang="en-US" sz="1100" b="0" cap="none" dirty="0">
              <a:solidFill>
                <a:schemeClr val="tx1"/>
              </a:solidFill>
            </a:endParaRPr>
          </a:p>
          <a:p>
            <a:pPr marL="463550" indent="-238125">
              <a:lnSpc>
                <a:spcPct val="135000"/>
              </a:lnSpc>
              <a:spcAft>
                <a:spcPts val="0"/>
              </a:spcAft>
            </a:pPr>
            <a:r>
              <a:rPr lang="en-US" sz="1100" b="0" cap="none" dirty="0">
                <a:solidFill>
                  <a:schemeClr val="tx1"/>
                </a:solidFill>
              </a:rPr>
              <a:t>	6.1.9 </a:t>
            </a:r>
            <a:r>
              <a:rPr lang="en-IN" sz="1100" b="0" cap="none" dirty="0">
                <a:solidFill>
                  <a:schemeClr val="tx1"/>
                </a:solidFill>
              </a:rPr>
              <a:t>Power </a:t>
            </a:r>
            <a:r>
              <a:rPr lang="en-IN" sz="1100" b="0" cap="none" dirty="0" err="1">
                <a:solidFill>
                  <a:schemeClr val="tx1"/>
                </a:solidFill>
              </a:rPr>
              <a:t>Dekor</a:t>
            </a:r>
            <a:r>
              <a:rPr lang="en-US" sz="1100" b="0" cap="none" dirty="0">
                <a:solidFill>
                  <a:schemeClr val="tx1"/>
                </a:solidFill>
              </a:rPr>
              <a:t> *</a:t>
            </a:r>
          </a:p>
          <a:p>
            <a:pPr marL="246888" indent="-246888">
              <a:lnSpc>
                <a:spcPct val="135000"/>
              </a:lnSpc>
              <a:spcAft>
                <a:spcPts val="0"/>
              </a:spcAft>
            </a:pPr>
            <a:r>
              <a:rPr lang="en-US" sz="1100" b="0" cap="none" dirty="0">
                <a:solidFill>
                  <a:schemeClr val="tx1"/>
                </a:solidFill>
              </a:rPr>
              <a:t>*List Not Exhaustive</a:t>
            </a:r>
          </a:p>
          <a:p>
            <a:pPr marL="246888" indent="-246888">
              <a:lnSpc>
                <a:spcPct val="135000"/>
              </a:lnSpc>
              <a:spcAft>
                <a:spcPts val="300"/>
              </a:spcAft>
            </a:pPr>
            <a:r>
              <a:rPr lang="en-US" sz="1100" dirty="0"/>
              <a:t>7. Market Opportunities and Future Trends</a:t>
            </a:r>
          </a:p>
          <a:p>
            <a:pPr marL="246888" indent="-246888">
              <a:lnSpc>
                <a:spcPct val="135000"/>
              </a:lnSpc>
              <a:spcAft>
                <a:spcPts val="300"/>
              </a:spcAft>
            </a:pPr>
            <a:r>
              <a:rPr lang="en-US" sz="1100" dirty="0"/>
              <a:t>8. DISCLAIMER</a:t>
            </a:r>
          </a:p>
          <a:p>
            <a:pPr marL="246888" indent="-246888">
              <a:lnSpc>
                <a:spcPct val="135000"/>
              </a:lnSpc>
              <a:spcAft>
                <a:spcPts val="0"/>
              </a:spcAft>
            </a:pPr>
            <a:endParaRPr lang="en-US" sz="1100" b="0" cap="none" dirty="0">
              <a:solidFill>
                <a:schemeClr val="tx1"/>
              </a:solidFill>
            </a:endParaRPr>
          </a:p>
        </p:txBody>
      </p:sp>
      <p:sp>
        <p:nvSpPr>
          <p:cNvPr id="4" name="Content Placeholder 3">
            <a:extLst>
              <a:ext uri="{FF2B5EF4-FFF2-40B4-BE49-F238E27FC236}">
                <a16:creationId xmlns:a16="http://schemas.microsoft.com/office/drawing/2014/main" id="{1F5DCBF4-C561-4354-AF7F-A7AB12BE283D}"/>
              </a:ext>
            </a:extLst>
          </p:cNvPr>
          <p:cNvSpPr>
            <a:spLocks noGrp="1"/>
          </p:cNvSpPr>
          <p:nvPr>
            <p:ph idx="4294967295"/>
          </p:nvPr>
        </p:nvSpPr>
        <p:spPr>
          <a:xfrm>
            <a:off x="7625918" y="855319"/>
            <a:ext cx="4043996" cy="222369"/>
          </a:xfrm>
        </p:spPr>
        <p:txBody>
          <a:bodyPr anchor="t"/>
          <a:lstStyle/>
          <a:p>
            <a:pPr marL="0" indent="0">
              <a:lnSpc>
                <a:spcPct val="150000"/>
              </a:lnSpc>
              <a:spcBef>
                <a:spcPts val="0"/>
              </a:spcBef>
              <a:spcAft>
                <a:spcPts val="300"/>
              </a:spcAft>
              <a:buNone/>
            </a:pPr>
            <a:endParaRPr lang="en-US" sz="1100" cap="none" dirty="0"/>
          </a:p>
        </p:txBody>
      </p:sp>
      <p:sp>
        <p:nvSpPr>
          <p:cNvPr id="5" name="Rectangle 4">
            <a:extLst>
              <a:ext uri="{FF2B5EF4-FFF2-40B4-BE49-F238E27FC236}">
                <a16:creationId xmlns:a16="http://schemas.microsoft.com/office/drawing/2014/main" id="{0D57D90D-199B-46F2-911A-7B50329A3DCB}"/>
              </a:ext>
            </a:extLst>
          </p:cNvPr>
          <p:cNvSpPr/>
          <p:nvPr/>
        </p:nvSpPr>
        <p:spPr>
          <a:xfrm>
            <a:off x="7484012" y="659516"/>
            <a:ext cx="4473526" cy="57553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0087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130870" y="2684070"/>
            <a:ext cx="3244776" cy="369332"/>
          </a:xfrm>
        </p:spPr>
        <p:txBody>
          <a:bodyPr vert="horz" wrap="square" lIns="0" tIns="0" rIns="0" bIns="0" rtlCol="0" anchor="b" anchorCtr="0">
            <a:spAutoFit/>
          </a:bodyPr>
          <a:lstStyle/>
          <a:p>
            <a:r>
              <a:rPr lang="en-US" dirty="0"/>
              <a:t>1. INTRODUCTION</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
        <p:nvSpPr>
          <p:cNvPr id="2" name="Rectangle 1">
            <a:extLst>
              <a:ext uri="{FF2B5EF4-FFF2-40B4-BE49-F238E27FC236}">
                <a16:creationId xmlns:a16="http://schemas.microsoft.com/office/drawing/2014/main" id="{932E0661-8501-4D03-B752-F7263F423DB3}"/>
              </a:ext>
            </a:extLst>
          </p:cNvPr>
          <p:cNvSpPr/>
          <p:nvPr/>
        </p:nvSpPr>
        <p:spPr>
          <a:xfrm>
            <a:off x="61724" y="3281943"/>
            <a:ext cx="3481576" cy="650371"/>
          </a:xfrm>
          <a:prstGeom prst="rect">
            <a:avLst/>
          </a:prstGeom>
        </p:spPr>
        <p:txBody>
          <a:bodyPr wrap="square" lIns="91440" tIns="45720" rIns="91440" bIns="45720" anchor="t">
            <a:spAutoFit/>
          </a:bodyPr>
          <a:lstStyle/>
          <a:p>
            <a:pPr marL="246380" indent="-246380" algn="just">
              <a:lnSpc>
                <a:spcPct val="150000"/>
              </a:lnSpc>
              <a:spcAft>
                <a:spcPts val="300"/>
              </a:spcAft>
              <a:defRPr/>
            </a:pPr>
            <a:r>
              <a:rPr lang="en-US" sz="1200" b="1" dirty="0">
                <a:solidFill>
                  <a:schemeClr val="bg1"/>
                </a:solidFill>
              </a:rPr>
              <a:t>1.1 Study Assumptions and Market Definition</a:t>
            </a:r>
          </a:p>
          <a:p>
            <a:pPr marL="246380" marR="0" lvl="0" indent="-246380" algn="just" defTabSz="914400">
              <a:lnSpc>
                <a:spcPct val="150000"/>
              </a:lnSpc>
              <a:spcBef>
                <a:spcPts val="0"/>
              </a:spcBef>
              <a:spcAft>
                <a:spcPts val="300"/>
              </a:spcAft>
              <a:buNone/>
              <a:tabLst/>
              <a:defRPr/>
            </a:pPr>
            <a:r>
              <a:rPr lang="en-US" sz="1200" b="1" dirty="0">
                <a:solidFill>
                  <a:schemeClr val="bg1"/>
                </a:solidFill>
              </a:rPr>
              <a:t>1.2 Scope of the Study</a:t>
            </a:r>
          </a:p>
        </p:txBody>
      </p:sp>
    </p:spTree>
    <p:extLst>
      <p:ext uri="{BB962C8B-B14F-4D97-AF65-F5344CB8AC3E}">
        <p14:creationId xmlns:p14="http://schemas.microsoft.com/office/powerpoint/2010/main" val="3254463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97F8C75-6C0C-456A-B0E3-5AE3424A11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16" name="Object 15" hidden="1">
                        <a:extLst>
                          <a:ext uri="{FF2B5EF4-FFF2-40B4-BE49-F238E27FC236}">
                            <a16:creationId xmlns:a16="http://schemas.microsoft.com/office/drawing/2014/main" id="{B97F8C75-6C0C-456A-B0E3-5AE3424A1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16E86C30-25FE-4605-9F2C-867E1CC169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22" name="Title 21">
            <a:extLst>
              <a:ext uri="{FF2B5EF4-FFF2-40B4-BE49-F238E27FC236}">
                <a16:creationId xmlns:a16="http://schemas.microsoft.com/office/drawing/2014/main" id="{5BD51619-A3DA-4DE0-BADA-B2E9BCCDCF48}"/>
              </a:ext>
            </a:extLst>
          </p:cNvPr>
          <p:cNvSpPr>
            <a:spLocks noGrp="1"/>
          </p:cNvSpPr>
          <p:nvPr>
            <p:ph type="title"/>
          </p:nvPr>
        </p:nvSpPr>
        <p:spPr>
          <a:xfrm>
            <a:off x="335490" y="386899"/>
            <a:ext cx="10601790" cy="369332"/>
          </a:xfrm>
        </p:spPr>
        <p:txBody>
          <a:bodyPr/>
          <a:lstStyle/>
          <a:p>
            <a:r>
              <a:rPr lang="en-US" sz="2400" dirty="0">
                <a:solidFill>
                  <a:srgbClr val="FFFFFF"/>
                </a:solidFill>
                <a:latin typeface="Lato Black"/>
              </a:rPr>
              <a:t>1.1 Study Assumptions and Market Definition</a:t>
            </a:r>
            <a:endParaRPr lang="en-US" dirty="0">
              <a:solidFill>
                <a:srgbClr val="FFFFFF"/>
              </a:solidFill>
            </a:endParaRPr>
          </a:p>
        </p:txBody>
      </p:sp>
      <p:sp>
        <p:nvSpPr>
          <p:cNvPr id="23" name="Content Placeholder 22">
            <a:extLst>
              <a:ext uri="{FF2B5EF4-FFF2-40B4-BE49-F238E27FC236}">
                <a16:creationId xmlns:a16="http://schemas.microsoft.com/office/drawing/2014/main" id="{DA9A4E7E-2064-4C26-8CAB-84D88BEB537B}"/>
              </a:ext>
            </a:extLst>
          </p:cNvPr>
          <p:cNvSpPr>
            <a:spLocks noGrp="1"/>
          </p:cNvSpPr>
          <p:nvPr>
            <p:ph idx="25"/>
          </p:nvPr>
        </p:nvSpPr>
        <p:spPr/>
        <p:txBody>
          <a:bodyPr/>
          <a:lstStyle/>
          <a:p>
            <a:r>
              <a:rPr lang="en-US" dirty="0"/>
              <a:t>STUDY ASSUMPTIONS</a:t>
            </a:r>
          </a:p>
        </p:txBody>
      </p:sp>
      <p:sp>
        <p:nvSpPr>
          <p:cNvPr id="24" name="Content Placeholder 23">
            <a:extLst>
              <a:ext uri="{FF2B5EF4-FFF2-40B4-BE49-F238E27FC236}">
                <a16:creationId xmlns:a16="http://schemas.microsoft.com/office/drawing/2014/main" id="{035294FC-EDA5-4BDA-8F4E-6BC1B7634BE5}"/>
              </a:ext>
            </a:extLst>
          </p:cNvPr>
          <p:cNvSpPr>
            <a:spLocks noGrp="1"/>
          </p:cNvSpPr>
          <p:nvPr>
            <p:ph idx="26"/>
          </p:nvPr>
        </p:nvSpPr>
        <p:spPr>
          <a:xfrm>
            <a:off x="6257401" y="1136557"/>
            <a:ext cx="5594354" cy="246221"/>
          </a:xfrm>
        </p:spPr>
        <p:txBody>
          <a:bodyPr/>
          <a:lstStyle/>
          <a:p>
            <a:r>
              <a:rPr lang="en-US" dirty="0"/>
              <a:t>MARKET DEFINITION</a:t>
            </a:r>
          </a:p>
        </p:txBody>
      </p:sp>
      <p:sp>
        <p:nvSpPr>
          <p:cNvPr id="26" name="Text Placeholder 25">
            <a:extLst>
              <a:ext uri="{FF2B5EF4-FFF2-40B4-BE49-F238E27FC236}">
                <a16:creationId xmlns:a16="http://schemas.microsoft.com/office/drawing/2014/main" id="{2124E700-173F-4D15-85C3-225A60EFE46C}"/>
              </a:ext>
            </a:extLst>
          </p:cNvPr>
          <p:cNvSpPr>
            <a:spLocks noGrp="1"/>
          </p:cNvSpPr>
          <p:nvPr>
            <p:ph type="body" sz="quarter" idx="32"/>
          </p:nvPr>
        </p:nvSpPr>
        <p:spPr/>
        <p:txBody>
          <a:bodyPr/>
          <a:lstStyle/>
          <a:p>
            <a:r>
              <a:rPr lang="en-US" dirty="0"/>
              <a:t>1. INTRODUCTION</a:t>
            </a:r>
          </a:p>
        </p:txBody>
      </p:sp>
      <p:sp>
        <p:nvSpPr>
          <p:cNvPr id="28" name="Text Placeholder 27">
            <a:extLst>
              <a:ext uri="{FF2B5EF4-FFF2-40B4-BE49-F238E27FC236}">
                <a16:creationId xmlns:a16="http://schemas.microsoft.com/office/drawing/2014/main" id="{510F726F-5BCA-43AD-9355-81A37481EB8C}"/>
              </a:ext>
            </a:extLst>
          </p:cNvPr>
          <p:cNvSpPr>
            <a:spLocks noGrp="1"/>
          </p:cNvSpPr>
          <p:nvPr>
            <p:ph type="body" sz="quarter" idx="34"/>
          </p:nvPr>
        </p:nvSpPr>
        <p:spPr>
          <a:xfrm>
            <a:off x="6377788" y="1540923"/>
            <a:ext cx="5353576" cy="1981504"/>
          </a:xfrm>
        </p:spPr>
        <p:txBody>
          <a:bodyPr/>
          <a:lstStyle/>
          <a:p>
            <a:pPr marL="237490" indent="-237490" algn="just" fontAlgn="base">
              <a:lnSpc>
                <a:spcPct val="150000"/>
              </a:lnSpc>
              <a:spcAft>
                <a:spcPts val="600"/>
              </a:spcAft>
              <a:buClr>
                <a:srgbClr val="54B8BD"/>
              </a:buClr>
              <a:buSzPct val="100000"/>
              <a:buFont typeface="Wingdings" panose="05030102010509060703" pitchFamily="18" charset="2"/>
              <a:buChar char="n"/>
              <a:defRPr/>
            </a:pPr>
            <a:r>
              <a:rPr lang="en-US" dirty="0">
                <a:solidFill>
                  <a:srgbClr val="292827"/>
                </a:solidFill>
              </a:rPr>
              <a:t>The current study captures the value of the ASEAN Luxury Vinyl (LVT) market. The market is segmented by Product type, application, end user, distribution channel, and Geography.</a:t>
            </a:r>
          </a:p>
          <a:p>
            <a:pPr marL="237490" lvl="0" indent="-237490" algn="just" fontAlgn="base">
              <a:lnSpc>
                <a:spcPct val="150000"/>
              </a:lnSpc>
              <a:spcAft>
                <a:spcPts val="600"/>
              </a:spcAft>
              <a:buClr>
                <a:srgbClr val="54B8BD"/>
              </a:buClr>
              <a:buSzPct val="100000"/>
              <a:buFont typeface="Wingdings" panose="05030102010509060703" pitchFamily="18" charset="2"/>
              <a:buChar char="n"/>
              <a:defRPr/>
            </a:pPr>
            <a:r>
              <a:rPr lang="en-US" dirty="0">
                <a:solidFill>
                  <a:srgbClr val="292827"/>
                </a:solidFill>
              </a:rPr>
              <a:t>The study provides a country-level analysis, along with an overview of the dynamics and trends in the market. It also provides an overview of the major players operating in the market, including an overview of their financials, service offerings, recent developments, and key strategies. ​</a:t>
            </a:r>
          </a:p>
        </p:txBody>
      </p:sp>
      <p:sp>
        <p:nvSpPr>
          <p:cNvPr id="2" name="Text Placeholder 1">
            <a:extLst>
              <a:ext uri="{FF2B5EF4-FFF2-40B4-BE49-F238E27FC236}">
                <a16:creationId xmlns:a16="http://schemas.microsoft.com/office/drawing/2014/main" id="{EFEEAC8F-5477-4A87-AB94-5630F1628372}"/>
              </a:ext>
            </a:extLst>
          </p:cNvPr>
          <p:cNvSpPr>
            <a:spLocks noGrp="1"/>
          </p:cNvSpPr>
          <p:nvPr>
            <p:ph type="body" sz="quarter" idx="35"/>
          </p:nvPr>
        </p:nvSpPr>
        <p:spPr>
          <a:xfrm>
            <a:off x="460636" y="1540923"/>
            <a:ext cx="5353576" cy="4151329"/>
          </a:xfrm>
        </p:spPr>
        <p:txBody>
          <a:bodyPr vert="horz" wrap="square" lIns="0" tIns="0" rIns="0" bIns="0" rtlCol="0" anchor="t">
            <a:spAutoFit/>
          </a:bodyPr>
          <a:lstStyle/>
          <a:p>
            <a:pPr marL="237490" indent="-237490" algn="just">
              <a:lnSpc>
                <a:spcPct val="150000"/>
              </a:lnSpc>
              <a:spcAft>
                <a:spcPts val="600"/>
              </a:spcAft>
              <a:buSzPct val="100000"/>
              <a:buFont typeface="Webdings" panose="05030102010509060703" pitchFamily="18" charset="2"/>
              <a:buChar char="&lt;"/>
            </a:pPr>
            <a:r>
              <a:rPr lang="en-US" dirty="0"/>
              <a:t>The base currency considered was the US Dollar (USD). The conversion of other currencies to USD was considered based on the average exchange rate for the respective years of the review period. The exchange rate conversion for forecast period was determined according to the base year’s conversion rates.</a:t>
            </a:r>
          </a:p>
          <a:p>
            <a:pPr marL="237490" indent="-237490" algn="just">
              <a:lnSpc>
                <a:spcPct val="150000"/>
              </a:lnSpc>
              <a:spcAft>
                <a:spcPts val="600"/>
              </a:spcAft>
              <a:buSzPct val="100000"/>
              <a:buFont typeface="Webdings" panose="05030102010509060703" pitchFamily="18" charset="2"/>
              <a:buChar char="&lt;"/>
            </a:pPr>
            <a:r>
              <a:rPr lang="en-US" dirty="0"/>
              <a:t>The base year was identified based on the availability of annual reports and secondary information. The base year considered for this study is 2020.</a:t>
            </a:r>
          </a:p>
          <a:p>
            <a:pPr marL="237490" indent="-237490" algn="just">
              <a:lnSpc>
                <a:spcPct val="150000"/>
              </a:lnSpc>
              <a:spcAft>
                <a:spcPts val="600"/>
              </a:spcAft>
              <a:buSzPct val="100000"/>
              <a:buFont typeface="Webdings" panose="05030102010509060703" pitchFamily="18" charset="2"/>
              <a:buChar char="&lt;"/>
            </a:pPr>
            <a:r>
              <a:rPr lang="en-US" dirty="0"/>
              <a:t>The review period considered for this study is 2017-2020. The CAGR considered is for the period of 2020-2026.</a:t>
            </a:r>
          </a:p>
          <a:p>
            <a:pPr marL="237490" indent="-237490" algn="just">
              <a:lnSpc>
                <a:spcPct val="150000"/>
              </a:lnSpc>
              <a:spcAft>
                <a:spcPts val="600"/>
              </a:spcAft>
              <a:buSzPct val="100000"/>
              <a:buFont typeface="Webdings" panose="05030102010509060703" pitchFamily="18" charset="2"/>
              <a:buChar char="&lt;"/>
            </a:pPr>
            <a:r>
              <a:rPr lang="en-US" dirty="0"/>
              <a:t>The distribution of primary interviews conducted was based on the regional share of the market and the presence of the key players in each region. </a:t>
            </a:r>
          </a:p>
          <a:p>
            <a:pPr marL="237490" indent="-237490" algn="just">
              <a:lnSpc>
                <a:spcPct val="150000"/>
              </a:lnSpc>
              <a:spcAft>
                <a:spcPts val="600"/>
              </a:spcAft>
              <a:buSzPct val="100000"/>
              <a:buFont typeface="Webdings" panose="05030102010509060703" pitchFamily="18" charset="2"/>
              <a:buChar char="&lt;"/>
            </a:pPr>
            <a:r>
              <a:rPr lang="en-US" dirty="0"/>
              <a:t>As a result of data triangulation through multiple methodologies and approaches, the weighted averages of resulting estimates were considered as the final values.</a:t>
            </a:r>
          </a:p>
        </p:txBody>
      </p:sp>
    </p:spTree>
    <p:extLst>
      <p:ext uri="{BB962C8B-B14F-4D97-AF65-F5344CB8AC3E}">
        <p14:creationId xmlns:p14="http://schemas.microsoft.com/office/powerpoint/2010/main" val="1289444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A8B15-C89F-4BE4-9BFD-1374D738A438}"/>
              </a:ext>
            </a:extLst>
          </p:cNvPr>
          <p:cNvSpPr>
            <a:spLocks noGrp="1"/>
          </p:cNvSpPr>
          <p:nvPr>
            <p:ph type="title"/>
          </p:nvPr>
        </p:nvSpPr>
        <p:spPr/>
        <p:txBody>
          <a:bodyPr/>
          <a:lstStyle/>
          <a:p>
            <a:r>
              <a:rPr lang="en-US" dirty="0">
                <a:latin typeface="Lato Black"/>
              </a:rPr>
              <a:t>1.2 SCOPE OF THE STUDY</a:t>
            </a:r>
          </a:p>
        </p:txBody>
      </p:sp>
      <p:sp>
        <p:nvSpPr>
          <p:cNvPr id="6" name="Text Placeholder 5">
            <a:extLst>
              <a:ext uri="{FF2B5EF4-FFF2-40B4-BE49-F238E27FC236}">
                <a16:creationId xmlns:a16="http://schemas.microsoft.com/office/drawing/2014/main" id="{7E774244-093B-451B-A388-C659E5D8B95F}"/>
              </a:ext>
            </a:extLst>
          </p:cNvPr>
          <p:cNvSpPr>
            <a:spLocks noGrp="1"/>
          </p:cNvSpPr>
          <p:nvPr>
            <p:ph type="body" sz="quarter" idx="33"/>
          </p:nvPr>
        </p:nvSpPr>
        <p:spPr>
          <a:xfrm>
            <a:off x="540440" y="2897128"/>
            <a:ext cx="2404010" cy="600164"/>
          </a:xfrm>
        </p:spPr>
        <p:txBody>
          <a:bodyPr/>
          <a:lstStyle/>
          <a:p>
            <a:r>
              <a:rPr lang="en-US" b="1" dirty="0"/>
              <a:t>Rigid</a:t>
            </a:r>
          </a:p>
          <a:p>
            <a:r>
              <a:rPr lang="en-US" b="1" dirty="0"/>
              <a:t>Flexible</a:t>
            </a:r>
          </a:p>
        </p:txBody>
      </p:sp>
      <p:sp>
        <p:nvSpPr>
          <p:cNvPr id="7" name="Text Placeholder 6">
            <a:extLst>
              <a:ext uri="{FF2B5EF4-FFF2-40B4-BE49-F238E27FC236}">
                <a16:creationId xmlns:a16="http://schemas.microsoft.com/office/drawing/2014/main" id="{69ECAAA0-24C7-46E6-9282-AD50C90A8C68}"/>
              </a:ext>
            </a:extLst>
          </p:cNvPr>
          <p:cNvSpPr>
            <a:spLocks noGrp="1"/>
          </p:cNvSpPr>
          <p:nvPr>
            <p:ph type="body" sz="quarter" idx="34"/>
          </p:nvPr>
        </p:nvSpPr>
        <p:spPr>
          <a:xfrm>
            <a:off x="540440" y="2448042"/>
            <a:ext cx="2404010" cy="221599"/>
          </a:xfrm>
        </p:spPr>
        <p:txBody>
          <a:bodyPr/>
          <a:lstStyle/>
          <a:p>
            <a:r>
              <a:rPr lang="en-US" dirty="0"/>
              <a:t>BY PRODUCT Type</a:t>
            </a:r>
          </a:p>
        </p:txBody>
      </p:sp>
      <p:sp>
        <p:nvSpPr>
          <p:cNvPr id="8" name="Text Placeholder 7">
            <a:extLst>
              <a:ext uri="{FF2B5EF4-FFF2-40B4-BE49-F238E27FC236}">
                <a16:creationId xmlns:a16="http://schemas.microsoft.com/office/drawing/2014/main" id="{9882FD29-C5FF-47A6-90AB-34463640AE7D}"/>
              </a:ext>
            </a:extLst>
          </p:cNvPr>
          <p:cNvSpPr>
            <a:spLocks noGrp="1"/>
          </p:cNvSpPr>
          <p:nvPr>
            <p:ph type="body" sz="quarter" idx="35"/>
          </p:nvPr>
        </p:nvSpPr>
        <p:spPr>
          <a:xfrm>
            <a:off x="3442810" y="2822011"/>
            <a:ext cx="2404010" cy="750398"/>
          </a:xfrm>
        </p:spPr>
        <p:txBody>
          <a:bodyPr/>
          <a:lstStyle/>
          <a:p>
            <a:pPr>
              <a:lnSpc>
                <a:spcPct val="150000"/>
              </a:lnSpc>
            </a:pPr>
            <a:r>
              <a:rPr lang="en-US" b="1" dirty="0"/>
              <a:t>Residential</a:t>
            </a:r>
          </a:p>
          <a:p>
            <a:pPr>
              <a:lnSpc>
                <a:spcPct val="150000"/>
              </a:lnSpc>
            </a:pPr>
            <a:r>
              <a:rPr lang="en-US" b="1" dirty="0"/>
              <a:t> Commercial</a:t>
            </a:r>
          </a:p>
        </p:txBody>
      </p:sp>
      <p:sp>
        <p:nvSpPr>
          <p:cNvPr id="9" name="Text Placeholder 8">
            <a:extLst>
              <a:ext uri="{FF2B5EF4-FFF2-40B4-BE49-F238E27FC236}">
                <a16:creationId xmlns:a16="http://schemas.microsoft.com/office/drawing/2014/main" id="{9E9BFC92-4E52-4D4E-A49C-7F151F1F3265}"/>
              </a:ext>
            </a:extLst>
          </p:cNvPr>
          <p:cNvSpPr>
            <a:spLocks noGrp="1"/>
          </p:cNvSpPr>
          <p:nvPr>
            <p:ph type="body" sz="quarter" idx="36"/>
          </p:nvPr>
        </p:nvSpPr>
        <p:spPr>
          <a:xfrm>
            <a:off x="3442810" y="2448042"/>
            <a:ext cx="2404010" cy="221599"/>
          </a:xfrm>
        </p:spPr>
        <p:txBody>
          <a:bodyPr/>
          <a:lstStyle/>
          <a:p>
            <a:r>
              <a:rPr lang="en-US" dirty="0"/>
              <a:t>By END USER</a:t>
            </a:r>
          </a:p>
        </p:txBody>
      </p:sp>
      <p:sp>
        <p:nvSpPr>
          <p:cNvPr id="10" name="Text Placeholder 9">
            <a:extLst>
              <a:ext uri="{FF2B5EF4-FFF2-40B4-BE49-F238E27FC236}">
                <a16:creationId xmlns:a16="http://schemas.microsoft.com/office/drawing/2014/main" id="{14E71BD9-9FFE-4040-AC24-84F1D5B82CDF}"/>
              </a:ext>
            </a:extLst>
          </p:cNvPr>
          <p:cNvSpPr>
            <a:spLocks noGrp="1"/>
          </p:cNvSpPr>
          <p:nvPr>
            <p:ph type="body" sz="quarter" idx="37"/>
          </p:nvPr>
        </p:nvSpPr>
        <p:spPr>
          <a:xfrm>
            <a:off x="6345180" y="2822011"/>
            <a:ext cx="2404010" cy="750398"/>
          </a:xfrm>
        </p:spPr>
        <p:txBody>
          <a:bodyPr/>
          <a:lstStyle/>
          <a:p>
            <a:pPr>
              <a:lnSpc>
                <a:spcPct val="150000"/>
              </a:lnSpc>
            </a:pPr>
            <a:endParaRPr lang="en-US" b="1" dirty="0"/>
          </a:p>
          <a:p>
            <a:pPr>
              <a:lnSpc>
                <a:spcPct val="150000"/>
              </a:lnSpc>
            </a:pPr>
            <a:endParaRPr lang="en-US" b="1" dirty="0"/>
          </a:p>
        </p:txBody>
      </p:sp>
      <p:sp>
        <p:nvSpPr>
          <p:cNvPr id="11" name="Text Placeholder 10">
            <a:extLst>
              <a:ext uri="{FF2B5EF4-FFF2-40B4-BE49-F238E27FC236}">
                <a16:creationId xmlns:a16="http://schemas.microsoft.com/office/drawing/2014/main" id="{DE589061-C885-4C6D-86B7-D217FCE75790}"/>
              </a:ext>
            </a:extLst>
          </p:cNvPr>
          <p:cNvSpPr>
            <a:spLocks noGrp="1"/>
          </p:cNvSpPr>
          <p:nvPr>
            <p:ph type="body" sz="quarter" idx="38"/>
          </p:nvPr>
        </p:nvSpPr>
        <p:spPr>
          <a:xfrm>
            <a:off x="6345180" y="2226444"/>
            <a:ext cx="2404010" cy="492443"/>
          </a:xfrm>
        </p:spPr>
        <p:txBody>
          <a:bodyPr/>
          <a:lstStyle/>
          <a:p>
            <a:r>
              <a:rPr lang="en-US" dirty="0"/>
              <a:t>BY Distribution Channel</a:t>
            </a:r>
          </a:p>
        </p:txBody>
      </p:sp>
      <p:sp>
        <p:nvSpPr>
          <p:cNvPr id="12" name="Text Placeholder 11">
            <a:extLst>
              <a:ext uri="{FF2B5EF4-FFF2-40B4-BE49-F238E27FC236}">
                <a16:creationId xmlns:a16="http://schemas.microsoft.com/office/drawing/2014/main" id="{C15A7944-4A21-4CC6-803E-01B04863BB9C}"/>
              </a:ext>
            </a:extLst>
          </p:cNvPr>
          <p:cNvSpPr>
            <a:spLocks noGrp="1"/>
          </p:cNvSpPr>
          <p:nvPr>
            <p:ph type="body" sz="quarter" idx="39"/>
          </p:nvPr>
        </p:nvSpPr>
        <p:spPr>
          <a:xfrm>
            <a:off x="6334539" y="2981738"/>
            <a:ext cx="2414651" cy="2099057"/>
          </a:xfrm>
        </p:spPr>
        <p:txBody>
          <a:bodyPr/>
          <a:lstStyle/>
          <a:p>
            <a:pPr>
              <a:lnSpc>
                <a:spcPct val="200000"/>
              </a:lnSpc>
            </a:pPr>
            <a:r>
              <a:rPr lang="en-US" b="1" dirty="0"/>
              <a:t>Manufacturer Owned Stores</a:t>
            </a:r>
          </a:p>
          <a:p>
            <a:pPr>
              <a:lnSpc>
                <a:spcPct val="200000"/>
              </a:lnSpc>
            </a:pPr>
            <a:r>
              <a:rPr lang="en-IN" sz="1200" b="1" dirty="0"/>
              <a:t>Speciality Stores</a:t>
            </a:r>
            <a:endParaRPr lang="en-US" b="1" dirty="0"/>
          </a:p>
          <a:p>
            <a:pPr>
              <a:lnSpc>
                <a:spcPct val="200000"/>
              </a:lnSpc>
            </a:pPr>
            <a:r>
              <a:rPr lang="en-US" b="1" dirty="0"/>
              <a:t>Online Stores</a:t>
            </a:r>
          </a:p>
          <a:p>
            <a:pPr>
              <a:lnSpc>
                <a:spcPct val="200000"/>
              </a:lnSpc>
            </a:pPr>
            <a:r>
              <a:rPr lang="en-US" b="1" dirty="0"/>
              <a:t>Other Distribution Channels </a:t>
            </a:r>
          </a:p>
        </p:txBody>
      </p:sp>
      <p:sp>
        <p:nvSpPr>
          <p:cNvPr id="13" name="Text Placeholder 12">
            <a:extLst>
              <a:ext uri="{FF2B5EF4-FFF2-40B4-BE49-F238E27FC236}">
                <a16:creationId xmlns:a16="http://schemas.microsoft.com/office/drawing/2014/main" id="{DAD9F4C7-3A9A-4350-8480-6616CDAAEDAF}"/>
              </a:ext>
            </a:extLst>
          </p:cNvPr>
          <p:cNvSpPr>
            <a:spLocks noGrp="1"/>
          </p:cNvSpPr>
          <p:nvPr>
            <p:ph type="body" sz="quarter" idx="40"/>
          </p:nvPr>
        </p:nvSpPr>
        <p:spPr>
          <a:xfrm>
            <a:off x="9247550" y="2472666"/>
            <a:ext cx="2404010" cy="246221"/>
          </a:xfrm>
        </p:spPr>
        <p:txBody>
          <a:bodyPr/>
          <a:lstStyle/>
          <a:p>
            <a:r>
              <a:rPr lang="en-US" dirty="0"/>
              <a:t>By GEOGRAPHY</a:t>
            </a:r>
          </a:p>
        </p:txBody>
      </p:sp>
      <p:sp>
        <p:nvSpPr>
          <p:cNvPr id="14" name="Text Placeholder 13">
            <a:extLst>
              <a:ext uri="{FF2B5EF4-FFF2-40B4-BE49-F238E27FC236}">
                <a16:creationId xmlns:a16="http://schemas.microsoft.com/office/drawing/2014/main" id="{ACC95075-1CD9-40CC-BE67-B0E1FE869B3A}"/>
              </a:ext>
            </a:extLst>
          </p:cNvPr>
          <p:cNvSpPr>
            <a:spLocks noGrp="1"/>
          </p:cNvSpPr>
          <p:nvPr>
            <p:ph type="body" sz="quarter" idx="41"/>
          </p:nvPr>
        </p:nvSpPr>
        <p:spPr>
          <a:xfrm>
            <a:off x="335490" y="174600"/>
            <a:ext cx="10601790" cy="138499"/>
          </a:xfrm>
        </p:spPr>
        <p:txBody>
          <a:bodyPr vert="horz" wrap="square" lIns="0" tIns="0" rIns="0" bIns="0" rtlCol="0" anchor="t">
            <a:spAutoFit/>
          </a:bodyPr>
          <a:lstStyle/>
          <a:p>
            <a:r>
              <a:rPr lang="en-US" dirty="0">
                <a:latin typeface="Lato Black"/>
              </a:rPr>
              <a:t>1. INTRODUCTION</a:t>
            </a:r>
          </a:p>
        </p:txBody>
      </p:sp>
      <p:pic>
        <p:nvPicPr>
          <p:cNvPr id="16" name="Graphic 15">
            <a:extLst>
              <a:ext uri="{FF2B5EF4-FFF2-40B4-BE49-F238E27FC236}">
                <a16:creationId xmlns:a16="http://schemas.microsoft.com/office/drawing/2014/main" id="{06E32E80-F297-46E4-A802-A0F88DB78CB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47185" y="1818199"/>
            <a:ext cx="305280" cy="305280"/>
          </a:xfrm>
          <a:prstGeom prst="rect">
            <a:avLst/>
          </a:prstGeom>
        </p:spPr>
      </p:pic>
      <p:pic>
        <p:nvPicPr>
          <p:cNvPr id="87046" name="Picture 6">
            <a:extLst>
              <a:ext uri="{FF2B5EF4-FFF2-40B4-BE49-F238E27FC236}">
                <a16:creationId xmlns:a16="http://schemas.microsoft.com/office/drawing/2014/main" id="{AAF6BB46-9041-440E-A40C-E413A123B092}"/>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95194" y="1927153"/>
            <a:ext cx="499241" cy="499241"/>
          </a:xfrm>
          <a:prstGeom prst="rect">
            <a:avLst/>
          </a:prstGeom>
          <a:noFill/>
          <a:extLst>
            <a:ext uri="{909E8E84-426E-40DD-AFC4-6F175D3DCCD1}">
              <a14:hiddenFill xmlns:a14="http://schemas.microsoft.com/office/drawing/2010/main">
                <a:solidFill>
                  <a:srgbClr val="FFFFFF"/>
                </a:solidFill>
              </a14:hiddenFill>
            </a:ext>
          </a:extLst>
        </p:spPr>
      </p:pic>
      <p:pic>
        <p:nvPicPr>
          <p:cNvPr id="89090" name="Picture 2">
            <a:extLst>
              <a:ext uri="{FF2B5EF4-FFF2-40B4-BE49-F238E27FC236}">
                <a16:creationId xmlns:a16="http://schemas.microsoft.com/office/drawing/2014/main" id="{2D3B30EC-62D3-408F-9D88-DB9D0B4B6915}"/>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23207" y="1768738"/>
            <a:ext cx="638474" cy="638474"/>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B19254F0-A832-4E02-8108-A9B1C845F0C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flipH="1">
            <a:off x="7119443" y="1818101"/>
            <a:ext cx="305280" cy="305280"/>
          </a:xfrm>
          <a:prstGeom prst="rect">
            <a:avLst/>
          </a:prstGeom>
        </p:spPr>
      </p:pic>
      <p:pic>
        <p:nvPicPr>
          <p:cNvPr id="19" name="Graphic 18">
            <a:extLst>
              <a:ext uri="{FF2B5EF4-FFF2-40B4-BE49-F238E27FC236}">
                <a16:creationId xmlns:a16="http://schemas.microsoft.com/office/drawing/2014/main" id="{15984061-B281-420B-BE82-3ABF82736ABA}"/>
              </a:ext>
            </a:extLst>
          </p:cNvPr>
          <p:cNvPicPr>
            <a:picLocks noGrp="1"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a:off x="10124071" y="1776122"/>
            <a:ext cx="519112" cy="519112"/>
          </a:xfrm>
          <a:prstGeom prst="ellipse">
            <a:avLst/>
          </a:prstGeom>
        </p:spPr>
      </p:pic>
      <p:sp>
        <p:nvSpPr>
          <p:cNvPr id="26" name="TextBox 25">
            <a:extLst>
              <a:ext uri="{FF2B5EF4-FFF2-40B4-BE49-F238E27FC236}">
                <a16:creationId xmlns:a16="http://schemas.microsoft.com/office/drawing/2014/main" id="{60AC5BCE-ED52-4BBD-9FCB-1701EC494803}"/>
              </a:ext>
            </a:extLst>
          </p:cNvPr>
          <p:cNvSpPr txBox="1"/>
          <p:nvPr/>
        </p:nvSpPr>
        <p:spPr>
          <a:xfrm>
            <a:off x="9236909" y="2669641"/>
            <a:ext cx="2414651" cy="3520387"/>
          </a:xfrm>
          <a:prstGeom prst="rect">
            <a:avLst/>
          </a:prstGeom>
          <a:noFill/>
        </p:spPr>
        <p:txBody>
          <a:bodyPr wrap="square">
            <a:spAutoFit/>
          </a:bodyPr>
          <a:lstStyle/>
          <a:p>
            <a:pPr algn="ctr">
              <a:lnSpc>
                <a:spcPct val="150000"/>
              </a:lnSpc>
              <a:spcAft>
                <a:spcPts val="1800"/>
              </a:spcAft>
              <a:buClr>
                <a:schemeClr val="accent2"/>
              </a:buClr>
            </a:pPr>
            <a:r>
              <a:rPr lang="en-US" sz="1800" dirty="0"/>
              <a:t> </a:t>
            </a:r>
            <a:r>
              <a:rPr lang="en-US" sz="1200" b="1" dirty="0">
                <a:solidFill>
                  <a:schemeClr val="bg1"/>
                </a:solidFill>
              </a:rPr>
              <a:t>Indonesia</a:t>
            </a:r>
          </a:p>
          <a:p>
            <a:pPr algn="ctr">
              <a:lnSpc>
                <a:spcPct val="150000"/>
              </a:lnSpc>
              <a:spcAft>
                <a:spcPts val="1800"/>
              </a:spcAft>
              <a:buClr>
                <a:schemeClr val="accent2"/>
              </a:buClr>
            </a:pPr>
            <a:r>
              <a:rPr lang="en-US" sz="1200" b="1" dirty="0">
                <a:solidFill>
                  <a:schemeClr val="bg1"/>
                </a:solidFill>
              </a:rPr>
              <a:t>Malaysia</a:t>
            </a:r>
          </a:p>
          <a:p>
            <a:pPr algn="ctr">
              <a:lnSpc>
                <a:spcPct val="150000"/>
              </a:lnSpc>
              <a:spcAft>
                <a:spcPts val="1800"/>
              </a:spcAft>
              <a:buClr>
                <a:schemeClr val="accent2"/>
              </a:buClr>
            </a:pPr>
            <a:r>
              <a:rPr lang="en-US" sz="1200" b="1" dirty="0">
                <a:solidFill>
                  <a:schemeClr val="bg1"/>
                </a:solidFill>
              </a:rPr>
              <a:t>Philippines</a:t>
            </a:r>
          </a:p>
          <a:p>
            <a:pPr algn="ctr">
              <a:lnSpc>
                <a:spcPct val="150000"/>
              </a:lnSpc>
              <a:spcAft>
                <a:spcPts val="1800"/>
              </a:spcAft>
              <a:buClr>
                <a:schemeClr val="accent2"/>
              </a:buClr>
            </a:pPr>
            <a:r>
              <a:rPr lang="en-US" sz="1200" b="1" dirty="0">
                <a:solidFill>
                  <a:schemeClr val="bg1"/>
                </a:solidFill>
              </a:rPr>
              <a:t>Singapore</a:t>
            </a:r>
          </a:p>
          <a:p>
            <a:pPr algn="ctr">
              <a:lnSpc>
                <a:spcPct val="150000"/>
              </a:lnSpc>
              <a:spcAft>
                <a:spcPts val="1800"/>
              </a:spcAft>
              <a:buClr>
                <a:schemeClr val="accent2"/>
              </a:buClr>
            </a:pPr>
            <a:r>
              <a:rPr lang="en-US" sz="1200" b="1" dirty="0">
                <a:solidFill>
                  <a:schemeClr val="bg1"/>
                </a:solidFill>
              </a:rPr>
              <a:t> Thailand</a:t>
            </a:r>
          </a:p>
          <a:p>
            <a:pPr algn="ctr">
              <a:lnSpc>
                <a:spcPct val="150000"/>
              </a:lnSpc>
              <a:spcAft>
                <a:spcPts val="1800"/>
              </a:spcAft>
              <a:buClr>
                <a:schemeClr val="accent2"/>
              </a:buClr>
            </a:pPr>
            <a:r>
              <a:rPr lang="en-US" sz="1200" b="1" dirty="0">
                <a:solidFill>
                  <a:schemeClr val="bg1"/>
                </a:solidFill>
              </a:rPr>
              <a:t> Vietnam </a:t>
            </a:r>
          </a:p>
          <a:p>
            <a:pPr algn="ctr">
              <a:lnSpc>
                <a:spcPct val="150000"/>
              </a:lnSpc>
              <a:spcAft>
                <a:spcPts val="1800"/>
              </a:spcAft>
              <a:buClr>
                <a:schemeClr val="accent2"/>
              </a:buClr>
            </a:pPr>
            <a:r>
              <a:rPr lang="en-US" sz="1200" b="1" dirty="0">
                <a:solidFill>
                  <a:schemeClr val="bg1"/>
                </a:solidFill>
              </a:rPr>
              <a:t>Other Countries</a:t>
            </a:r>
          </a:p>
        </p:txBody>
      </p:sp>
    </p:spTree>
    <p:extLst>
      <p:ext uri="{BB962C8B-B14F-4D97-AF65-F5344CB8AC3E}">
        <p14:creationId xmlns:p14="http://schemas.microsoft.com/office/powerpoint/2010/main" val="4227136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EB150F-701D-4E79-893C-DBE7C5F34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7" name="Object 6" hidden="1">
                        <a:extLst>
                          <a:ext uri="{FF2B5EF4-FFF2-40B4-BE49-F238E27FC236}">
                            <a16:creationId xmlns:a16="http://schemas.microsoft.com/office/drawing/2014/main" id="{6BEB150F-701D-4E79-893C-DBE7C5F34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C04F0E-EED2-4D98-B8BC-7431EF4958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8" name="Content Placeholder 7">
            <a:extLst>
              <a:ext uri="{FF2B5EF4-FFF2-40B4-BE49-F238E27FC236}">
                <a16:creationId xmlns:a16="http://schemas.microsoft.com/office/drawing/2014/main" id="{D1866510-A76A-40B1-BD0B-7CF51577F30F}"/>
              </a:ext>
            </a:extLst>
          </p:cNvPr>
          <p:cNvSpPr>
            <a:spLocks noGrp="1"/>
          </p:cNvSpPr>
          <p:nvPr>
            <p:ph idx="19"/>
          </p:nvPr>
        </p:nvSpPr>
        <p:spPr>
          <a:xfrm>
            <a:off x="108001" y="2438561"/>
            <a:ext cx="3244776" cy="738664"/>
          </a:xfrm>
        </p:spPr>
        <p:txBody>
          <a:bodyPr vert="horz" wrap="square" lIns="0" tIns="0" rIns="0" bIns="0" rtlCol="0" anchor="b" anchorCtr="0">
            <a:spAutoFit/>
          </a:bodyPr>
          <a:lstStyle/>
          <a:p>
            <a:r>
              <a:rPr lang="en-US" sz="2400" dirty="0"/>
              <a:t>2. Research methodology</a:t>
            </a:r>
          </a:p>
        </p:txBody>
      </p:sp>
      <p:sp>
        <p:nvSpPr>
          <p:cNvPr id="6" name="Slide Number Placeholder 5">
            <a:extLst>
              <a:ext uri="{FF2B5EF4-FFF2-40B4-BE49-F238E27FC236}">
                <a16:creationId xmlns:a16="http://schemas.microsoft.com/office/drawing/2014/main" id="{94B7A64E-5170-4729-81DB-37B87B668222}"/>
              </a:ext>
            </a:extLst>
          </p:cNvPr>
          <p:cNvSpPr txBox="1">
            <a:spLocks/>
          </p:cNvSpPr>
          <p:nvPr/>
        </p:nvSpPr>
        <p:spPr>
          <a:xfrm>
            <a:off x="205316" y="6598847"/>
            <a:ext cx="247649" cy="138499"/>
          </a:xfrm>
          <a:prstGeom prst="rect">
            <a:avLst/>
          </a:prstGeom>
        </p:spPr>
        <p:txBody>
          <a:bodyPr lIns="0" tIns="0" rIns="0" bIns="0">
            <a:spAutoFit/>
          </a:bodyPr>
          <a:lstStyle>
            <a:defPPr>
              <a:defRPr lang="fr-FR"/>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1EAEB50-A066-45AB-BA9F-ED56D3A46F93}" type="slidenum">
              <a:rPr kumimoji="0" lang="fr-FR" sz="900" b="0" i="0" u="none" strike="noStrike" kern="1200" cap="none" spc="0" normalizeH="0" baseline="0" noProof="0" smtClean="0">
                <a:ln>
                  <a:noFill/>
                </a:ln>
                <a:solidFill>
                  <a:srgbClr val="292827"/>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fr-FR" sz="900" b="0" i="0" u="none" strike="noStrike" kern="1200" cap="none" spc="0" normalizeH="0" baseline="0" noProof="0" dirty="0">
              <a:ln>
                <a:noFill/>
              </a:ln>
              <a:solidFill>
                <a:srgbClr val="292827"/>
              </a:solidFill>
              <a:effectLst/>
              <a:uLnTx/>
              <a:uFillTx/>
              <a:latin typeface="Lato"/>
              <a:ea typeface="+mn-ea"/>
              <a:cs typeface="+mn-cs"/>
            </a:endParaRPr>
          </a:p>
        </p:txBody>
      </p:sp>
      <p:pic>
        <p:nvPicPr>
          <p:cNvPr id="9" name="Graphic 8">
            <a:hlinkClick r:id="" action="ppaction://noaction"/>
            <a:extLst>
              <a:ext uri="{FF2B5EF4-FFF2-40B4-BE49-F238E27FC236}">
                <a16:creationId xmlns:a16="http://schemas.microsoft.com/office/drawing/2014/main" id="{701B5160-C810-4D61-973F-3CB58FE3BC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2816" y="6559597"/>
            <a:ext cx="187558" cy="187558"/>
          </a:xfrm>
          <a:prstGeom prst="rect">
            <a:avLst/>
          </a:prstGeom>
        </p:spPr>
      </p:pic>
    </p:spTree>
    <p:extLst>
      <p:ext uri="{BB962C8B-B14F-4D97-AF65-F5344CB8AC3E}">
        <p14:creationId xmlns:p14="http://schemas.microsoft.com/office/powerpoint/2010/main" val="1691490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779AEEE6-9A48-477A-B115-AD9544373B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9" name="Object 38" hidden="1">
                        <a:extLst>
                          <a:ext uri="{FF2B5EF4-FFF2-40B4-BE49-F238E27FC236}">
                            <a16:creationId xmlns:a16="http://schemas.microsoft.com/office/drawing/2014/main" id="{779AEEE6-9A48-477A-B115-AD9544373B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8B034630-D2F8-471C-A31C-F972E9E7A53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1" i="0" u="none" strike="noStrike" kern="1200" cap="none" spc="0" normalizeH="0" baseline="0" noProof="0" dirty="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sym typeface="Lato Black" panose="020F0502020204030203" pitchFamily="34" charset="0"/>
            </a:endParaRPr>
          </a:p>
        </p:txBody>
      </p:sp>
      <p:sp>
        <p:nvSpPr>
          <p:cNvPr id="13" name="Title 12">
            <a:extLst>
              <a:ext uri="{FF2B5EF4-FFF2-40B4-BE49-F238E27FC236}">
                <a16:creationId xmlns:a16="http://schemas.microsoft.com/office/drawing/2014/main" id="{D8FD4D29-80BC-4082-A85A-6D1B5B9CB8FD}"/>
              </a:ext>
            </a:extLst>
          </p:cNvPr>
          <p:cNvSpPr>
            <a:spLocks noGrp="1"/>
          </p:cNvSpPr>
          <p:nvPr>
            <p:ph type="title"/>
          </p:nvPr>
        </p:nvSpPr>
        <p:spPr>
          <a:xfrm>
            <a:off x="346991" y="286173"/>
            <a:ext cx="11504762" cy="430887"/>
          </a:xfrm>
        </p:spPr>
        <p:txBody>
          <a:bodyPr/>
          <a:lstStyle/>
          <a:p>
            <a:r>
              <a:rPr lang="en-US" sz="2800" dirty="0"/>
              <a:t>2. RESEARCH METHODOLOGY</a:t>
            </a:r>
          </a:p>
        </p:txBody>
      </p:sp>
      <p:sp>
        <p:nvSpPr>
          <p:cNvPr id="14" name="Text Placeholder 13">
            <a:extLst>
              <a:ext uri="{FF2B5EF4-FFF2-40B4-BE49-F238E27FC236}">
                <a16:creationId xmlns:a16="http://schemas.microsoft.com/office/drawing/2014/main" id="{11216B08-E4AA-4A7F-A219-5BE60230BDB7}"/>
              </a:ext>
            </a:extLst>
          </p:cNvPr>
          <p:cNvSpPr>
            <a:spLocks noGrp="1"/>
          </p:cNvSpPr>
          <p:nvPr>
            <p:ph type="body" sz="quarter" idx="34"/>
          </p:nvPr>
        </p:nvSpPr>
        <p:spPr>
          <a:xfrm>
            <a:off x="1777438" y="1346583"/>
            <a:ext cx="9881162" cy="901209"/>
          </a:xfrm>
        </p:spPr>
        <p:txBody>
          <a:bodyPr/>
          <a:lstStyle/>
          <a:p>
            <a:pPr marL="247650" indent="-247650" algn="just">
              <a:spcBef>
                <a:spcPts val="0"/>
              </a:spcBef>
              <a:buClr>
                <a:schemeClr val="accent1"/>
              </a:buClr>
              <a:buFontTx/>
              <a:buChar char="■"/>
            </a:pPr>
            <a:r>
              <a:rPr lang="en-US" dirty="0"/>
              <a:t>Mordor Intelligence (MI) advocates an appropriate mix of secondary and primary research to meet client’s objectives.</a:t>
            </a:r>
          </a:p>
          <a:p>
            <a:pPr marL="247650" indent="-247650" algn="just">
              <a:spcBef>
                <a:spcPts val="0"/>
              </a:spcBef>
              <a:buClr>
                <a:schemeClr val="accent1"/>
              </a:buClr>
              <a:buFontTx/>
              <a:buChar char="■"/>
            </a:pPr>
            <a:r>
              <a:rPr lang="en-US" dirty="0"/>
              <a:t>MI translates market insights (market dynamics, competition, varying consumer demands, and regulations) into actionable business insights. </a:t>
            </a:r>
          </a:p>
          <a:p>
            <a:pPr marL="247650" indent="-247650" algn="just">
              <a:spcBef>
                <a:spcPts val="0"/>
              </a:spcBef>
              <a:buClr>
                <a:schemeClr val="accent1"/>
              </a:buClr>
              <a:buFontTx/>
              <a:buChar char="■"/>
            </a:pPr>
            <a:r>
              <a:rPr lang="en-US" dirty="0"/>
              <a:t>The following phases are practiced at Mordor for efficient delivery of various syndicated and consulting assignments:</a:t>
            </a:r>
          </a:p>
        </p:txBody>
      </p:sp>
      <p:pic>
        <p:nvPicPr>
          <p:cNvPr id="120" name="Picture Placeholder 119">
            <a:extLst>
              <a:ext uri="{FF2B5EF4-FFF2-40B4-BE49-F238E27FC236}">
                <a16:creationId xmlns:a16="http://schemas.microsoft.com/office/drawing/2014/main" id="{1361163E-FD1B-43A3-A532-D6C335DB4159}"/>
              </a:ext>
            </a:extLst>
          </p:cNvPr>
          <p:cNvPicPr>
            <a:picLocks noGrp="1" noChangeAspect="1"/>
          </p:cNvPicPr>
          <p:nvPr>
            <p:ph type="pic" sz="quarter" idx="35"/>
          </p:nvPr>
        </p:nvPicPr>
        <p:blipFill>
          <a:blip r:embed="rId7" cstate="email">
            <a:extLst>
              <a:ext uri="{28A0092B-C50C-407E-A947-70E740481C1C}">
                <a14:useLocalDpi xmlns:a14="http://schemas.microsoft.com/office/drawing/2010/main"/>
              </a:ext>
            </a:extLst>
          </a:blip>
          <a:srcRect t="182" b="182"/>
          <a:stretch>
            <a:fillRect/>
          </a:stretch>
        </p:blipFill>
        <p:spPr/>
      </p:pic>
      <p:sp>
        <p:nvSpPr>
          <p:cNvPr id="96" name="Text Placeholder 95">
            <a:extLst>
              <a:ext uri="{FF2B5EF4-FFF2-40B4-BE49-F238E27FC236}">
                <a16:creationId xmlns:a16="http://schemas.microsoft.com/office/drawing/2014/main" id="{ACE107D3-BBBF-4884-80DC-95CCCBE91015}"/>
              </a:ext>
            </a:extLst>
          </p:cNvPr>
          <p:cNvSpPr>
            <a:spLocks noGrp="1"/>
          </p:cNvSpPr>
          <p:nvPr>
            <p:ph type="body" sz="quarter" idx="36"/>
          </p:nvPr>
        </p:nvSpPr>
        <p:spPr>
          <a:xfrm>
            <a:off x="545995" y="2764949"/>
            <a:ext cx="3518902" cy="430887"/>
          </a:xfrm>
        </p:spPr>
        <p:txBody>
          <a:bodyPr/>
          <a:lstStyle/>
          <a:p>
            <a:r>
              <a:rPr lang="en-US" dirty="0"/>
              <a:t>STEP 1 </a:t>
            </a:r>
            <a:br>
              <a:rPr lang="en-US" dirty="0"/>
            </a:br>
            <a:r>
              <a:rPr lang="en-US" dirty="0"/>
              <a:t>SCOPING/ PROJECT INITIATION</a:t>
            </a:r>
          </a:p>
        </p:txBody>
      </p:sp>
      <p:sp>
        <p:nvSpPr>
          <p:cNvPr id="97" name="Text Placeholder 96">
            <a:extLst>
              <a:ext uri="{FF2B5EF4-FFF2-40B4-BE49-F238E27FC236}">
                <a16:creationId xmlns:a16="http://schemas.microsoft.com/office/drawing/2014/main" id="{2771F288-062E-4F23-B57B-C885F4775E69}"/>
              </a:ext>
            </a:extLst>
          </p:cNvPr>
          <p:cNvSpPr>
            <a:spLocks noGrp="1"/>
          </p:cNvSpPr>
          <p:nvPr>
            <p:ph type="body" sz="quarter" idx="37"/>
          </p:nvPr>
        </p:nvSpPr>
        <p:spPr>
          <a:xfrm>
            <a:off x="4390268" y="2764949"/>
            <a:ext cx="3449565" cy="430887"/>
          </a:xfrm>
        </p:spPr>
        <p:txBody>
          <a:bodyPr/>
          <a:lstStyle/>
          <a:p>
            <a:r>
              <a:rPr lang="en-US" dirty="0"/>
              <a:t>STEP 2</a:t>
            </a:r>
            <a:br>
              <a:rPr lang="en-US" dirty="0"/>
            </a:br>
            <a:r>
              <a:rPr lang="en-US" dirty="0"/>
              <a:t>MARKET ANALYSIS</a:t>
            </a:r>
          </a:p>
        </p:txBody>
      </p:sp>
      <p:sp>
        <p:nvSpPr>
          <p:cNvPr id="98" name="Text Placeholder 97">
            <a:extLst>
              <a:ext uri="{FF2B5EF4-FFF2-40B4-BE49-F238E27FC236}">
                <a16:creationId xmlns:a16="http://schemas.microsoft.com/office/drawing/2014/main" id="{558A68F7-D73A-4155-99DD-C802497928F1}"/>
              </a:ext>
            </a:extLst>
          </p:cNvPr>
          <p:cNvSpPr>
            <a:spLocks noGrp="1"/>
          </p:cNvSpPr>
          <p:nvPr>
            <p:ph type="body" sz="quarter" idx="38"/>
          </p:nvPr>
        </p:nvSpPr>
        <p:spPr>
          <a:xfrm>
            <a:off x="8180821" y="2764949"/>
            <a:ext cx="3449565" cy="430887"/>
          </a:xfrm>
        </p:spPr>
        <p:txBody>
          <a:bodyPr/>
          <a:lstStyle/>
          <a:p>
            <a:r>
              <a:rPr lang="en-US" dirty="0"/>
              <a:t>STEP 3</a:t>
            </a:r>
            <a:br>
              <a:rPr lang="en-US" dirty="0"/>
            </a:br>
            <a:r>
              <a:rPr lang="en-US" dirty="0"/>
              <a:t>PROJECT DELIVERY</a:t>
            </a:r>
          </a:p>
        </p:txBody>
      </p:sp>
      <p:pic>
        <p:nvPicPr>
          <p:cNvPr id="122" name="Picture Placeholder 121">
            <a:extLst>
              <a:ext uri="{FF2B5EF4-FFF2-40B4-BE49-F238E27FC236}">
                <a16:creationId xmlns:a16="http://schemas.microsoft.com/office/drawing/2014/main" id="{DC56EDCE-1E1E-4A30-9722-9249A5E8D41E}"/>
              </a:ext>
            </a:extLst>
          </p:cNvPr>
          <p:cNvPicPr>
            <a:picLocks noGrp="1" noChangeAspect="1"/>
          </p:cNvPicPr>
          <p:nvPr>
            <p:ph type="pic" sz="quarter" idx="63"/>
          </p:nvPr>
        </p:nvPicPr>
        <p:blipFill>
          <a:blip r:embed="rId8" cstate="email">
            <a:extLst>
              <a:ext uri="{28A0092B-C50C-407E-A947-70E740481C1C}">
                <a14:useLocalDpi xmlns:a14="http://schemas.microsoft.com/office/drawing/2010/main"/>
              </a:ext>
            </a:extLst>
          </a:blip>
          <a:srcRect/>
          <a:stretch>
            <a:fillRect/>
          </a:stretch>
        </p:blipFill>
        <p:spPr/>
      </p:pic>
      <p:sp>
        <p:nvSpPr>
          <p:cNvPr id="100" name="Text Placeholder 99">
            <a:extLst>
              <a:ext uri="{FF2B5EF4-FFF2-40B4-BE49-F238E27FC236}">
                <a16:creationId xmlns:a16="http://schemas.microsoft.com/office/drawing/2014/main" id="{177895C3-B1D9-4960-82C6-80EC0F989DE9}"/>
              </a:ext>
            </a:extLst>
          </p:cNvPr>
          <p:cNvSpPr>
            <a:spLocks noGrp="1"/>
          </p:cNvSpPr>
          <p:nvPr>
            <p:ph type="body" sz="quarter" idx="64"/>
          </p:nvPr>
        </p:nvSpPr>
        <p:spPr>
          <a:xfrm>
            <a:off x="967813" y="3434288"/>
            <a:ext cx="3040307" cy="369332"/>
          </a:xfrm>
        </p:spPr>
        <p:txBody>
          <a:bodyPr/>
          <a:lstStyle/>
          <a:p>
            <a:pPr algn="l"/>
            <a:r>
              <a:rPr lang="en-US" dirty="0"/>
              <a:t>Decipher the </a:t>
            </a:r>
            <a:r>
              <a:rPr lang="en-US" i="1" dirty="0"/>
              <a:t>client’s requirements</a:t>
            </a:r>
            <a:r>
              <a:rPr lang="en-US" dirty="0"/>
              <a:t>/ market to be studied</a:t>
            </a:r>
          </a:p>
        </p:txBody>
      </p:sp>
      <p:pic>
        <p:nvPicPr>
          <p:cNvPr id="124" name="Picture Placeholder 123">
            <a:extLst>
              <a:ext uri="{FF2B5EF4-FFF2-40B4-BE49-F238E27FC236}">
                <a16:creationId xmlns:a16="http://schemas.microsoft.com/office/drawing/2014/main" id="{BA03C925-2308-45CD-8ABB-7C2899092DE6}"/>
              </a:ext>
            </a:extLst>
          </p:cNvPr>
          <p:cNvPicPr>
            <a:picLocks noGrp="1" noChangeAspect="1"/>
          </p:cNvPicPr>
          <p:nvPr>
            <p:ph type="pic" sz="quarter" idx="65"/>
          </p:nvPr>
        </p:nvPicPr>
        <p:blipFill>
          <a:blip r:embed="rId9" cstate="email">
            <a:extLst>
              <a:ext uri="{28A0092B-C50C-407E-A947-70E740481C1C}">
                <a14:useLocalDpi xmlns:a14="http://schemas.microsoft.com/office/drawing/2010/main"/>
              </a:ext>
            </a:extLst>
          </a:blip>
          <a:srcRect/>
          <a:stretch>
            <a:fillRect/>
          </a:stretch>
        </p:blipFill>
        <p:spPr/>
      </p:pic>
      <p:sp>
        <p:nvSpPr>
          <p:cNvPr id="102" name="Text Placeholder 101">
            <a:extLst>
              <a:ext uri="{FF2B5EF4-FFF2-40B4-BE49-F238E27FC236}">
                <a16:creationId xmlns:a16="http://schemas.microsoft.com/office/drawing/2014/main" id="{163D9CE9-B1A1-4EBA-9184-62DD5960E15E}"/>
              </a:ext>
            </a:extLst>
          </p:cNvPr>
          <p:cNvSpPr>
            <a:spLocks noGrp="1"/>
          </p:cNvSpPr>
          <p:nvPr>
            <p:ph type="body" sz="quarter" idx="66"/>
          </p:nvPr>
        </p:nvSpPr>
        <p:spPr>
          <a:xfrm>
            <a:off x="967813" y="3999262"/>
            <a:ext cx="3040307" cy="369332"/>
          </a:xfrm>
        </p:spPr>
        <p:txBody>
          <a:bodyPr/>
          <a:lstStyle/>
          <a:p>
            <a:pPr algn="l"/>
            <a:r>
              <a:rPr lang="en-US" i="1" dirty="0"/>
              <a:t>Tailor-made research approach </a:t>
            </a:r>
            <a:r>
              <a:rPr lang="en-US" dirty="0"/>
              <a:t>for </a:t>
            </a:r>
            <a:br>
              <a:rPr lang="en-US" dirty="0"/>
            </a:br>
            <a:r>
              <a:rPr lang="en-US" dirty="0"/>
              <a:t>customized reports</a:t>
            </a:r>
          </a:p>
        </p:txBody>
      </p:sp>
      <p:pic>
        <p:nvPicPr>
          <p:cNvPr id="126" name="Picture Placeholder 125">
            <a:extLst>
              <a:ext uri="{FF2B5EF4-FFF2-40B4-BE49-F238E27FC236}">
                <a16:creationId xmlns:a16="http://schemas.microsoft.com/office/drawing/2014/main" id="{CA90CAB9-533C-49FF-99F4-C5995B6B6AFD}"/>
              </a:ext>
            </a:extLst>
          </p:cNvPr>
          <p:cNvPicPr>
            <a:picLocks noGrp="1" noChangeAspect="1"/>
          </p:cNvPicPr>
          <p:nvPr>
            <p:ph type="pic" sz="quarter" idx="67"/>
          </p:nvPr>
        </p:nvPicPr>
        <p:blipFill>
          <a:blip r:embed="rId10" cstate="email">
            <a:extLst>
              <a:ext uri="{28A0092B-C50C-407E-A947-70E740481C1C}">
                <a14:useLocalDpi xmlns:a14="http://schemas.microsoft.com/office/drawing/2010/main"/>
              </a:ext>
            </a:extLst>
          </a:blip>
          <a:srcRect l="1255" r="1255"/>
          <a:stretch>
            <a:fillRect/>
          </a:stretch>
        </p:blipFill>
        <p:spPr/>
      </p:pic>
      <p:sp>
        <p:nvSpPr>
          <p:cNvPr id="104" name="Text Placeholder 103">
            <a:extLst>
              <a:ext uri="{FF2B5EF4-FFF2-40B4-BE49-F238E27FC236}">
                <a16:creationId xmlns:a16="http://schemas.microsoft.com/office/drawing/2014/main" id="{9B7C441D-674A-47E8-BD93-92BBBA3B4E2F}"/>
              </a:ext>
            </a:extLst>
          </p:cNvPr>
          <p:cNvSpPr>
            <a:spLocks noGrp="1"/>
          </p:cNvSpPr>
          <p:nvPr>
            <p:ph type="body" sz="quarter" idx="68"/>
          </p:nvPr>
        </p:nvSpPr>
        <p:spPr>
          <a:xfrm>
            <a:off x="967813" y="4564236"/>
            <a:ext cx="3040307" cy="369332"/>
          </a:xfrm>
        </p:spPr>
        <p:txBody>
          <a:bodyPr/>
          <a:lstStyle/>
          <a:p>
            <a:pPr algn="l"/>
            <a:r>
              <a:rPr lang="en-US" dirty="0"/>
              <a:t>Effective use of </a:t>
            </a:r>
            <a:r>
              <a:rPr lang="en-US" i="1" dirty="0"/>
              <a:t>Mordor’s knowledge repository</a:t>
            </a:r>
            <a:r>
              <a:rPr lang="en-US" dirty="0"/>
              <a:t> to gather relevant insights</a:t>
            </a:r>
          </a:p>
        </p:txBody>
      </p:sp>
      <p:pic>
        <p:nvPicPr>
          <p:cNvPr id="128" name="Picture Placeholder 127">
            <a:extLst>
              <a:ext uri="{FF2B5EF4-FFF2-40B4-BE49-F238E27FC236}">
                <a16:creationId xmlns:a16="http://schemas.microsoft.com/office/drawing/2014/main" id="{CB7D410F-8068-4E21-9687-D274FF74C2EF}"/>
              </a:ext>
            </a:extLst>
          </p:cNvPr>
          <p:cNvPicPr>
            <a:picLocks noGrp="1" noChangeAspect="1"/>
          </p:cNvPicPr>
          <p:nvPr>
            <p:ph type="pic" sz="quarter" idx="69"/>
          </p:nvPr>
        </p:nvPicPr>
        <p:blipFill>
          <a:blip r:embed="rId11" cstate="email">
            <a:extLst>
              <a:ext uri="{28A0092B-C50C-407E-A947-70E740481C1C}">
                <a14:useLocalDpi xmlns:a14="http://schemas.microsoft.com/office/drawing/2010/main"/>
              </a:ext>
            </a:extLst>
          </a:blip>
          <a:srcRect/>
          <a:stretch>
            <a:fillRect/>
          </a:stretch>
        </p:blipFill>
        <p:spPr/>
      </p:pic>
      <p:sp>
        <p:nvSpPr>
          <p:cNvPr id="106" name="Text Placeholder 105">
            <a:extLst>
              <a:ext uri="{FF2B5EF4-FFF2-40B4-BE49-F238E27FC236}">
                <a16:creationId xmlns:a16="http://schemas.microsoft.com/office/drawing/2014/main" id="{E0F12765-BD75-4DE9-9859-89F55DF61B86}"/>
              </a:ext>
            </a:extLst>
          </p:cNvPr>
          <p:cNvSpPr>
            <a:spLocks noGrp="1"/>
          </p:cNvSpPr>
          <p:nvPr>
            <p:ph type="body" sz="quarter" idx="70"/>
          </p:nvPr>
        </p:nvSpPr>
        <p:spPr>
          <a:xfrm>
            <a:off x="967813" y="5129211"/>
            <a:ext cx="3040307" cy="369332"/>
          </a:xfrm>
        </p:spPr>
        <p:txBody>
          <a:bodyPr/>
          <a:lstStyle/>
          <a:p>
            <a:pPr algn="l"/>
            <a:r>
              <a:rPr lang="en-US" i="1" dirty="0"/>
              <a:t>Confirm the objectives </a:t>
            </a:r>
            <a:r>
              <a:rPr lang="en-US" dirty="0"/>
              <a:t>of the assignment with the client</a:t>
            </a:r>
          </a:p>
        </p:txBody>
      </p:sp>
      <p:pic>
        <p:nvPicPr>
          <p:cNvPr id="130" name="Picture Placeholder 129">
            <a:extLst>
              <a:ext uri="{FF2B5EF4-FFF2-40B4-BE49-F238E27FC236}">
                <a16:creationId xmlns:a16="http://schemas.microsoft.com/office/drawing/2014/main" id="{667817C8-69AF-42E4-8BBE-F4CDDC728171}"/>
              </a:ext>
            </a:extLst>
          </p:cNvPr>
          <p:cNvPicPr>
            <a:picLocks noGrp="1" noChangeAspect="1"/>
          </p:cNvPicPr>
          <p:nvPr>
            <p:ph type="pic" sz="quarter" idx="71"/>
          </p:nvPr>
        </p:nvPicPr>
        <p:blipFill>
          <a:blip r:embed="rId12" cstate="email">
            <a:extLst>
              <a:ext uri="{28A0092B-C50C-407E-A947-70E740481C1C}">
                <a14:useLocalDpi xmlns:a14="http://schemas.microsoft.com/office/drawing/2010/main"/>
              </a:ext>
            </a:extLst>
          </a:blip>
          <a:srcRect/>
          <a:stretch>
            <a:fillRect/>
          </a:stretch>
        </p:blipFill>
        <p:spPr/>
      </p:pic>
      <p:sp>
        <p:nvSpPr>
          <p:cNvPr id="108" name="Text Placeholder 107">
            <a:extLst>
              <a:ext uri="{FF2B5EF4-FFF2-40B4-BE49-F238E27FC236}">
                <a16:creationId xmlns:a16="http://schemas.microsoft.com/office/drawing/2014/main" id="{55A72475-76D8-49A7-9EC4-F28027948070}"/>
              </a:ext>
            </a:extLst>
          </p:cNvPr>
          <p:cNvSpPr>
            <a:spLocks noGrp="1"/>
          </p:cNvSpPr>
          <p:nvPr>
            <p:ph type="body" sz="quarter" idx="72"/>
          </p:nvPr>
        </p:nvSpPr>
        <p:spPr/>
        <p:txBody>
          <a:bodyPr/>
          <a:lstStyle/>
          <a:p>
            <a:pPr algn="l"/>
            <a:r>
              <a:rPr lang="en-US" dirty="0"/>
              <a:t>Extensive desk research to identify most relevant secondary information available</a:t>
            </a:r>
          </a:p>
        </p:txBody>
      </p:sp>
      <p:pic>
        <p:nvPicPr>
          <p:cNvPr id="132" name="Picture Placeholder 131">
            <a:extLst>
              <a:ext uri="{FF2B5EF4-FFF2-40B4-BE49-F238E27FC236}">
                <a16:creationId xmlns:a16="http://schemas.microsoft.com/office/drawing/2014/main" id="{127F48CC-9C8E-4D9A-9F52-EE145DE8ACAE}"/>
              </a:ext>
            </a:extLst>
          </p:cNvPr>
          <p:cNvPicPr>
            <a:picLocks noGrp="1" noChangeAspect="1"/>
          </p:cNvPicPr>
          <p:nvPr>
            <p:ph type="pic" sz="quarter" idx="73"/>
          </p:nvPr>
        </p:nvPicPr>
        <p:blipFill>
          <a:blip r:embed="rId13" cstate="email">
            <a:extLst>
              <a:ext uri="{28A0092B-C50C-407E-A947-70E740481C1C}">
                <a14:useLocalDpi xmlns:a14="http://schemas.microsoft.com/office/drawing/2010/main"/>
              </a:ext>
            </a:extLst>
          </a:blip>
          <a:srcRect/>
          <a:stretch>
            <a:fillRect/>
          </a:stretch>
        </p:blipFill>
        <p:spPr/>
      </p:pic>
      <p:sp>
        <p:nvSpPr>
          <p:cNvPr id="110" name="Text Placeholder 109">
            <a:extLst>
              <a:ext uri="{FF2B5EF4-FFF2-40B4-BE49-F238E27FC236}">
                <a16:creationId xmlns:a16="http://schemas.microsoft.com/office/drawing/2014/main" id="{6FA12CFF-BFD8-461C-862B-52784151C01D}"/>
              </a:ext>
            </a:extLst>
          </p:cNvPr>
          <p:cNvSpPr>
            <a:spLocks noGrp="1"/>
          </p:cNvSpPr>
          <p:nvPr>
            <p:ph type="body" sz="quarter" idx="74"/>
          </p:nvPr>
        </p:nvSpPr>
        <p:spPr/>
        <p:txBody>
          <a:bodyPr/>
          <a:lstStyle/>
          <a:p>
            <a:pPr algn="l"/>
            <a:r>
              <a:rPr lang="en-US" dirty="0"/>
              <a:t>Contact Mordor’s empaneled experts and identify industry experts across the market</a:t>
            </a:r>
          </a:p>
        </p:txBody>
      </p:sp>
      <p:pic>
        <p:nvPicPr>
          <p:cNvPr id="134" name="Picture Placeholder 133">
            <a:extLst>
              <a:ext uri="{FF2B5EF4-FFF2-40B4-BE49-F238E27FC236}">
                <a16:creationId xmlns:a16="http://schemas.microsoft.com/office/drawing/2014/main" id="{8A059945-944D-49EC-B192-7774E75A807B}"/>
              </a:ext>
            </a:extLst>
          </p:cNvPr>
          <p:cNvPicPr>
            <a:picLocks noGrp="1" noChangeAspect="1"/>
          </p:cNvPicPr>
          <p:nvPr>
            <p:ph type="pic" sz="quarter" idx="75"/>
          </p:nvPr>
        </p:nvPicPr>
        <p:blipFill>
          <a:blip r:embed="rId14" cstate="email">
            <a:extLst>
              <a:ext uri="{28A0092B-C50C-407E-A947-70E740481C1C}">
                <a14:useLocalDpi xmlns:a14="http://schemas.microsoft.com/office/drawing/2010/main"/>
              </a:ext>
            </a:extLst>
          </a:blip>
          <a:srcRect l="1255" r="1255"/>
          <a:stretch>
            <a:fillRect/>
          </a:stretch>
        </p:blipFill>
        <p:spPr/>
      </p:pic>
      <p:sp>
        <p:nvSpPr>
          <p:cNvPr id="112" name="Text Placeholder 111">
            <a:extLst>
              <a:ext uri="{FF2B5EF4-FFF2-40B4-BE49-F238E27FC236}">
                <a16:creationId xmlns:a16="http://schemas.microsoft.com/office/drawing/2014/main" id="{2E89BC37-B8FF-4E49-BE5F-227ED91642CD}"/>
              </a:ext>
            </a:extLst>
          </p:cNvPr>
          <p:cNvSpPr>
            <a:spLocks noGrp="1"/>
          </p:cNvSpPr>
          <p:nvPr>
            <p:ph type="body" sz="quarter" idx="76"/>
          </p:nvPr>
        </p:nvSpPr>
        <p:spPr/>
        <p:txBody>
          <a:bodyPr/>
          <a:lstStyle/>
          <a:p>
            <a:pPr algn="l"/>
            <a:r>
              <a:rPr lang="en-US" dirty="0"/>
              <a:t>Conduct primaries and surveys to gather qualitative and quantitative insights</a:t>
            </a:r>
          </a:p>
        </p:txBody>
      </p:sp>
      <p:pic>
        <p:nvPicPr>
          <p:cNvPr id="136" name="Picture Placeholder 135">
            <a:extLst>
              <a:ext uri="{FF2B5EF4-FFF2-40B4-BE49-F238E27FC236}">
                <a16:creationId xmlns:a16="http://schemas.microsoft.com/office/drawing/2014/main" id="{03F23F90-9AE5-4E4B-8A20-365F5AD0CAEC}"/>
              </a:ext>
            </a:extLst>
          </p:cNvPr>
          <p:cNvPicPr>
            <a:picLocks noGrp="1" noChangeAspect="1"/>
          </p:cNvPicPr>
          <p:nvPr>
            <p:ph type="pic" sz="quarter" idx="77"/>
          </p:nvPr>
        </p:nvPicPr>
        <p:blipFill>
          <a:blip r:embed="rId15" cstate="email">
            <a:extLst>
              <a:ext uri="{28A0092B-C50C-407E-A947-70E740481C1C}">
                <a14:useLocalDpi xmlns:a14="http://schemas.microsoft.com/office/drawing/2010/main"/>
              </a:ext>
            </a:extLst>
          </a:blip>
          <a:srcRect/>
          <a:stretch>
            <a:fillRect/>
          </a:stretch>
        </p:blipFill>
        <p:spPr/>
      </p:pic>
      <p:sp>
        <p:nvSpPr>
          <p:cNvPr id="114" name="Text Placeholder 113">
            <a:extLst>
              <a:ext uri="{FF2B5EF4-FFF2-40B4-BE49-F238E27FC236}">
                <a16:creationId xmlns:a16="http://schemas.microsoft.com/office/drawing/2014/main" id="{1C8EA32C-F138-4CE6-A709-F284D0E786D6}"/>
              </a:ext>
            </a:extLst>
          </p:cNvPr>
          <p:cNvSpPr>
            <a:spLocks noGrp="1"/>
          </p:cNvSpPr>
          <p:nvPr>
            <p:ph type="body" sz="quarter" idx="78"/>
          </p:nvPr>
        </p:nvSpPr>
        <p:spPr/>
        <p:txBody>
          <a:bodyPr/>
          <a:lstStyle/>
          <a:p>
            <a:pPr algn="l"/>
            <a:r>
              <a:rPr lang="en-US" dirty="0"/>
              <a:t>Triangulate and analyze data to finalize actionable business insights</a:t>
            </a:r>
          </a:p>
        </p:txBody>
      </p:sp>
      <p:sp>
        <p:nvSpPr>
          <p:cNvPr id="115" name="Text Placeholder 114">
            <a:extLst>
              <a:ext uri="{FF2B5EF4-FFF2-40B4-BE49-F238E27FC236}">
                <a16:creationId xmlns:a16="http://schemas.microsoft.com/office/drawing/2014/main" id="{04818616-6CE1-4F8E-909E-3376B3A0BA80}"/>
              </a:ext>
            </a:extLst>
          </p:cNvPr>
          <p:cNvSpPr>
            <a:spLocks noGrp="1"/>
          </p:cNvSpPr>
          <p:nvPr>
            <p:ph type="body" sz="quarter" idx="79"/>
          </p:nvPr>
        </p:nvSpPr>
        <p:spPr>
          <a:xfrm>
            <a:off x="1151679" y="5796422"/>
            <a:ext cx="2535208" cy="369332"/>
          </a:xfrm>
        </p:spPr>
        <p:txBody>
          <a:bodyPr/>
          <a:lstStyle/>
          <a:p>
            <a:r>
              <a:rPr lang="en-US" i="1" dirty="0"/>
              <a:t>Finalize report content </a:t>
            </a:r>
            <a:r>
              <a:rPr lang="en-US" dirty="0"/>
              <a:t>and establish a deliverable format</a:t>
            </a:r>
          </a:p>
        </p:txBody>
      </p:sp>
      <p:pic>
        <p:nvPicPr>
          <p:cNvPr id="140" name="Picture Placeholder 139">
            <a:extLst>
              <a:ext uri="{FF2B5EF4-FFF2-40B4-BE49-F238E27FC236}">
                <a16:creationId xmlns:a16="http://schemas.microsoft.com/office/drawing/2014/main" id="{2220BC45-8798-48F4-8B0B-DB34670EE2C2}"/>
              </a:ext>
            </a:extLst>
          </p:cNvPr>
          <p:cNvPicPr>
            <a:picLocks noGrp="1" noChangeAspect="1"/>
          </p:cNvPicPr>
          <p:nvPr>
            <p:ph type="pic" sz="quarter" idx="80"/>
          </p:nvPr>
        </p:nvPicPr>
        <p:blipFill>
          <a:blip r:embed="rId16" cstate="email">
            <a:extLst>
              <a:ext uri="{28A0092B-C50C-407E-A947-70E740481C1C}">
                <a14:useLocalDpi xmlns:a14="http://schemas.microsoft.com/office/drawing/2010/main"/>
              </a:ext>
            </a:extLst>
          </a:blip>
          <a:srcRect t="452" b="452"/>
          <a:stretch>
            <a:fillRect/>
          </a:stretch>
        </p:blipFill>
        <p:spPr/>
      </p:pic>
      <p:sp>
        <p:nvSpPr>
          <p:cNvPr id="117" name="Text Placeholder 116">
            <a:extLst>
              <a:ext uri="{FF2B5EF4-FFF2-40B4-BE49-F238E27FC236}">
                <a16:creationId xmlns:a16="http://schemas.microsoft.com/office/drawing/2014/main" id="{806FF300-234E-4BF4-A970-746E417B7EF8}"/>
              </a:ext>
            </a:extLst>
          </p:cNvPr>
          <p:cNvSpPr>
            <a:spLocks noGrp="1"/>
          </p:cNvSpPr>
          <p:nvPr>
            <p:ph type="body" sz="quarter" idx="81"/>
          </p:nvPr>
        </p:nvSpPr>
        <p:spPr>
          <a:xfrm>
            <a:off x="5033197" y="5796422"/>
            <a:ext cx="6556823" cy="369332"/>
          </a:xfrm>
        </p:spPr>
        <p:txBody>
          <a:bodyPr/>
          <a:lstStyle/>
          <a:p>
            <a:pPr algn="l"/>
            <a:r>
              <a:rPr lang="en-US" dirty="0"/>
              <a:t>Report delivery with high quality market insights, competitive landscape, etc., </a:t>
            </a:r>
            <a:br>
              <a:rPr lang="en-US" dirty="0"/>
            </a:br>
            <a:r>
              <a:rPr lang="en-US" dirty="0"/>
              <a:t>as per the proposed content</a:t>
            </a:r>
          </a:p>
        </p:txBody>
      </p:sp>
      <p:pic>
        <p:nvPicPr>
          <p:cNvPr id="138" name="Picture Placeholder 137">
            <a:extLst>
              <a:ext uri="{FF2B5EF4-FFF2-40B4-BE49-F238E27FC236}">
                <a16:creationId xmlns:a16="http://schemas.microsoft.com/office/drawing/2014/main" id="{3C33AD8C-6EC7-4C95-9D6B-B6703A96BB56}"/>
              </a:ext>
            </a:extLst>
          </p:cNvPr>
          <p:cNvPicPr>
            <a:picLocks noGrp="1" noChangeAspect="1"/>
          </p:cNvPicPr>
          <p:nvPr>
            <p:ph type="pic" sz="quarter" idx="82"/>
          </p:nvPr>
        </p:nvPicPr>
        <p:blipFill>
          <a:blip r:embed="rId17" cstate="email">
            <a:extLst>
              <a:ext uri="{28A0092B-C50C-407E-A947-70E740481C1C}">
                <a14:useLocalDpi xmlns:a14="http://schemas.microsoft.com/office/drawing/2010/main"/>
              </a:ext>
            </a:extLst>
          </a:blip>
          <a:srcRect t="241" b="241"/>
          <a:stretch>
            <a:fillRect/>
          </a:stretch>
        </p:blipFill>
        <p:spPr/>
      </p:pic>
    </p:spTree>
    <p:extLst>
      <p:ext uri="{BB962C8B-B14F-4D97-AF65-F5344CB8AC3E}">
        <p14:creationId xmlns:p14="http://schemas.microsoft.com/office/powerpoint/2010/main" val="2388035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BONdBtDIkQfia9907_L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Qtsuy7YMSb50aOJaZklx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0grOmIXwtZjUG59SgSL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kSv5Fe98O3wfEOwowdT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aFPpKYUcjcq6QZxfL7o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9OAwyeMnB6NreP32fiak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oMO4CbpnaMzepuQDNf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Q49MxTUvlhJdcLAjf4jJ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rZq0WTf9jxgKwRy9.6p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QEJFAtx0h9HLCVjkkU6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mpRJCQr7OD735C6xD557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rZq0WTf9jxgKwRy9.6ps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mpRJCQr7OD735C6xD557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mpRJCQr7OD735C6xD557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SpbKEu_gZiI6kgZWBda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I.SDlJz_qMukxspsUvRm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vWtMGx7VKqTQ33vF4ll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i0GcqGS2QxCIXDkr2gv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WAg0cl4Y0ahGVzS_s.g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Zj641itomG1mwGUqFV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YYb6BMZfWsbjBaxlA5D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PSEn0INofuhW1Gs6jXZ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PSEn0INofuhW1Gs6jXZ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PSEn0INofuhW1Gs6jXZ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PSEn0INofuhW1Gs6jXZ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8alrERUJfmhQ7dN2Q6wj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epjOGh3j3TcRrqV4oDz4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
      <a:dk1>
        <a:srgbClr val="292827"/>
      </a:dk1>
      <a:lt1>
        <a:sysClr val="window" lastClr="FFFFFF"/>
      </a:lt1>
      <a:dk2>
        <a:srgbClr val="292827"/>
      </a:dk2>
      <a:lt2>
        <a:srgbClr val="D0CECE"/>
      </a:lt2>
      <a:accent1>
        <a:srgbClr val="54B8BD"/>
      </a:accent1>
      <a:accent2>
        <a:srgbClr val="00B0D1"/>
      </a:accent2>
      <a:accent3>
        <a:srgbClr val="2E82B5"/>
      </a:accent3>
      <a:accent4>
        <a:srgbClr val="236288"/>
      </a:accent4>
      <a:accent5>
        <a:srgbClr val="293B85"/>
      </a:accent5>
      <a:accent6>
        <a:srgbClr val="E8C921"/>
      </a:accent6>
      <a:hlink>
        <a:srgbClr val="0563C1"/>
      </a:hlink>
      <a:folHlink>
        <a:srgbClr val="954F72"/>
      </a:folHlink>
    </a:clrScheme>
    <a:fontScheme name="Custom 33">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D097A01141E54FB97906F9CEF188FE" ma:contentTypeVersion="5" ma:contentTypeDescription="Create a new document." ma:contentTypeScope="" ma:versionID="351654cda994ba4e1ce1d54fd419bcaf">
  <xsd:schema xmlns:xsd="http://www.w3.org/2001/XMLSchema" xmlns:xs="http://www.w3.org/2001/XMLSchema" xmlns:p="http://schemas.microsoft.com/office/2006/metadata/properties" xmlns:ns3="366e4343-ae9c-4c92-8d1c-84ad3b891c9f" xmlns:ns4="001060b4-14ad-4fc3-9282-d92c198cf9ef" targetNamespace="http://schemas.microsoft.com/office/2006/metadata/properties" ma:root="true" ma:fieldsID="444f46ad294af127713355f06dceeeae" ns3:_="" ns4:_="">
    <xsd:import namespace="366e4343-ae9c-4c92-8d1c-84ad3b891c9f"/>
    <xsd:import namespace="001060b4-14ad-4fc3-9282-d92c198cf9e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6e4343-ae9c-4c92-8d1c-84ad3b891c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01060b4-14ad-4fc3-9282-d92c198cf9e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8DA351-94CB-4F89-BC06-D33ED69964ED}">
  <ds:schemaRefs>
    <ds:schemaRef ds:uri="http://schemas.microsoft.com/sharepoint/v3/contenttype/forms"/>
  </ds:schemaRefs>
</ds:datastoreItem>
</file>

<file path=customXml/itemProps2.xml><?xml version="1.0" encoding="utf-8"?>
<ds:datastoreItem xmlns:ds="http://schemas.openxmlformats.org/officeDocument/2006/customXml" ds:itemID="{59362C8C-3289-4FE3-80B3-F6F957B8091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F2E761B-0D25-453D-AD99-2E11B40A29BB}">
  <ds:schemaRefs>
    <ds:schemaRef ds:uri="001060b4-14ad-4fc3-9282-d92c198cf9ef"/>
    <ds:schemaRef ds:uri="366e4343-ae9c-4c92-8d1c-84ad3b891c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174</TotalTime>
  <Words>4272</Words>
  <Application>Microsoft Office PowerPoint</Application>
  <PresentationFormat>Widescreen</PresentationFormat>
  <Paragraphs>598</Paragraphs>
  <Slides>34</Slides>
  <Notes>14</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34</vt:i4>
      </vt:variant>
    </vt:vector>
  </HeadingPairs>
  <TitlesOfParts>
    <vt:vector size="53" baseType="lpstr">
      <vt:lpstr>Abadi</vt:lpstr>
      <vt:lpstr>Arial</vt:lpstr>
      <vt:lpstr>Calibri</vt:lpstr>
      <vt:lpstr>Calibri Light</vt:lpstr>
      <vt:lpstr>Courier New</vt:lpstr>
      <vt:lpstr>Lato</vt:lpstr>
      <vt:lpstr>Lato Black</vt:lpstr>
      <vt:lpstr>Open Sans Light</vt:lpstr>
      <vt:lpstr>regular_medium</vt:lpstr>
      <vt:lpstr>Roboto-Light</vt:lpstr>
      <vt:lpstr>Webdings</vt:lpstr>
      <vt:lpstr>Wingdings</vt:lpstr>
      <vt:lpstr>1_Office Theme</vt:lpstr>
      <vt:lpstr>1_Custom Design</vt:lpstr>
      <vt:lpstr>Custom Design</vt:lpstr>
      <vt:lpstr>7_Custom Design</vt:lpstr>
      <vt:lpstr>6_Custom Design</vt:lpstr>
      <vt:lpstr>2_Custom Design</vt:lpstr>
      <vt:lpstr>think-cell Slide</vt:lpstr>
      <vt:lpstr>ASEAN LUXURY VINYL TILE (LVT) MARKET  (2021 - 2026)</vt:lpstr>
      <vt:lpstr>PowerPoint Presentation</vt:lpstr>
      <vt:lpstr>TABLE OF CONTENTS</vt:lpstr>
      <vt:lpstr>TABLE OF CONTENTS</vt:lpstr>
      <vt:lpstr>PowerPoint Presentation</vt:lpstr>
      <vt:lpstr>1.1 Study Assumptions and Market Definition</vt:lpstr>
      <vt:lpstr>1.2 SCOPE OF THE STUDY</vt:lpstr>
      <vt:lpstr>PowerPoint Presentation</vt:lpstr>
      <vt:lpstr>2. RESEARCH METHODOLOGY</vt:lpstr>
      <vt:lpstr>2. ANALYSIS METHODOLOGY</vt:lpstr>
      <vt:lpstr>2. RESEARCH PHASES</vt:lpstr>
      <vt:lpstr>2. RESEARCH PHASES EXPLAINED</vt:lpstr>
      <vt:lpstr>2. RESEARCH PHASES</vt:lpstr>
      <vt:lpstr>PowerPoint Presentation</vt:lpstr>
      <vt:lpstr>3. EXECUTIVE SUMMARY</vt:lpstr>
      <vt:lpstr>PowerPoint Presentation</vt:lpstr>
      <vt:lpstr>4.1 market overview</vt:lpstr>
      <vt:lpstr>4.1 market overview</vt:lpstr>
      <vt:lpstr>4.1 MARKET OVERVIEW</vt:lpstr>
      <vt:lpstr>PowerPoint Presentation</vt:lpstr>
      <vt:lpstr>4.5 Porter’s FIVE Forces Analysis</vt:lpstr>
      <vt:lpstr>4.7 Impact of the COVID-19 on the Market</vt:lpstr>
      <vt:lpstr>PowerPoint Presentation</vt:lpstr>
      <vt:lpstr>PowerPoint Presentation</vt:lpstr>
      <vt:lpstr>PowerPoint Presentation</vt:lpstr>
      <vt:lpstr>5.1 BY PRODUCT Type</vt:lpstr>
      <vt:lpstr>5.1.2 Flexible</vt:lpstr>
      <vt:lpstr> 5.2 By End User</vt:lpstr>
      <vt:lpstr> 5.3 By Distribution Channel</vt:lpstr>
      <vt:lpstr>PowerPoint Presentation</vt:lpstr>
      <vt:lpstr>PowerPoint Presentation</vt:lpstr>
      <vt:lpstr>6.2.1 KANO CORPORATION - OVERVIEW</vt:lpstr>
      <vt:lpstr>6.2.1 KANO CORPORATION</vt:lpstr>
      <vt:lpstr>FOR MORE INFORMATION, PLEASE 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 Japan Ceramic Tiles Market_Updated</dc:title>
  <dc:creator>Amoghsiddhi Urne</dc:creator>
  <cp:lastModifiedBy>Geedipally Supritha Reddy</cp:lastModifiedBy>
  <cp:revision>203</cp:revision>
  <dcterms:created xsi:type="dcterms:W3CDTF">2019-12-27T09:16:11Z</dcterms:created>
  <dcterms:modified xsi:type="dcterms:W3CDTF">2021-05-06T16: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D097A01141E54FB97906F9CEF188FE</vt:lpwstr>
  </property>
</Properties>
</file>